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38" r:id="rId4"/>
  </p:sldMasterIdLst>
  <p:notesMasterIdLst>
    <p:notesMasterId r:id="rId96"/>
  </p:notesMasterIdLst>
  <p:handoutMasterIdLst>
    <p:handoutMasterId r:id="rId97"/>
  </p:handoutMasterIdLst>
  <p:sldIdLst>
    <p:sldId id="359" r:id="rId5"/>
    <p:sldId id="360" r:id="rId6"/>
    <p:sldId id="361" r:id="rId7"/>
    <p:sldId id="362" r:id="rId8"/>
    <p:sldId id="363" r:id="rId9"/>
    <p:sldId id="364" r:id="rId10"/>
    <p:sldId id="365" r:id="rId11"/>
    <p:sldId id="366" r:id="rId12"/>
    <p:sldId id="367" r:id="rId13"/>
    <p:sldId id="368" r:id="rId14"/>
    <p:sldId id="440" r:id="rId15"/>
    <p:sldId id="369" r:id="rId16"/>
    <p:sldId id="379" r:id="rId17"/>
    <p:sldId id="380" r:id="rId18"/>
    <p:sldId id="381" r:id="rId19"/>
    <p:sldId id="382" r:id="rId20"/>
    <p:sldId id="383" r:id="rId21"/>
    <p:sldId id="384" r:id="rId22"/>
    <p:sldId id="385" r:id="rId23"/>
    <p:sldId id="386" r:id="rId24"/>
    <p:sldId id="387" r:id="rId25"/>
    <p:sldId id="388" r:id="rId26"/>
    <p:sldId id="389" r:id="rId27"/>
    <p:sldId id="372" r:id="rId28"/>
    <p:sldId id="391" r:id="rId29"/>
    <p:sldId id="392" r:id="rId30"/>
    <p:sldId id="393" r:id="rId31"/>
    <p:sldId id="394" r:id="rId32"/>
    <p:sldId id="395" r:id="rId33"/>
    <p:sldId id="396" r:id="rId34"/>
    <p:sldId id="397" r:id="rId35"/>
    <p:sldId id="398" r:id="rId36"/>
    <p:sldId id="401" r:id="rId37"/>
    <p:sldId id="403" r:id="rId38"/>
    <p:sldId id="404" r:id="rId39"/>
    <p:sldId id="405" r:id="rId40"/>
    <p:sldId id="406" r:id="rId41"/>
    <p:sldId id="407" r:id="rId42"/>
    <p:sldId id="408" r:id="rId43"/>
    <p:sldId id="409" r:id="rId44"/>
    <p:sldId id="410" r:id="rId45"/>
    <p:sldId id="411" r:id="rId46"/>
    <p:sldId id="412" r:id="rId47"/>
    <p:sldId id="413" r:id="rId48"/>
    <p:sldId id="414" r:id="rId49"/>
    <p:sldId id="415" r:id="rId50"/>
    <p:sldId id="416" r:id="rId51"/>
    <p:sldId id="417" r:id="rId52"/>
    <p:sldId id="418" r:id="rId53"/>
    <p:sldId id="419" r:id="rId54"/>
    <p:sldId id="420" r:id="rId55"/>
    <p:sldId id="421" r:id="rId56"/>
    <p:sldId id="422" r:id="rId57"/>
    <p:sldId id="423" r:id="rId58"/>
    <p:sldId id="424" r:id="rId59"/>
    <p:sldId id="425" r:id="rId60"/>
    <p:sldId id="441" r:id="rId61"/>
    <p:sldId id="442" r:id="rId62"/>
    <p:sldId id="443" r:id="rId63"/>
    <p:sldId id="444" r:id="rId64"/>
    <p:sldId id="445" r:id="rId65"/>
    <p:sldId id="446" r:id="rId66"/>
    <p:sldId id="447" r:id="rId67"/>
    <p:sldId id="448" r:id="rId68"/>
    <p:sldId id="371" r:id="rId69"/>
    <p:sldId id="426" r:id="rId70"/>
    <p:sldId id="427" r:id="rId71"/>
    <p:sldId id="428" r:id="rId72"/>
    <p:sldId id="429" r:id="rId73"/>
    <p:sldId id="430" r:id="rId74"/>
    <p:sldId id="431" r:id="rId75"/>
    <p:sldId id="432" r:id="rId76"/>
    <p:sldId id="433" r:id="rId77"/>
    <p:sldId id="434" r:id="rId78"/>
    <p:sldId id="435" r:id="rId79"/>
    <p:sldId id="436" r:id="rId80"/>
    <p:sldId id="438" r:id="rId81"/>
    <p:sldId id="439" r:id="rId82"/>
    <p:sldId id="370" r:id="rId83"/>
    <p:sldId id="377" r:id="rId84"/>
    <p:sldId id="376" r:id="rId85"/>
    <p:sldId id="375" r:id="rId86"/>
    <p:sldId id="450" r:id="rId87"/>
    <p:sldId id="451" r:id="rId88"/>
    <p:sldId id="452" r:id="rId89"/>
    <p:sldId id="453" r:id="rId90"/>
    <p:sldId id="454" r:id="rId91"/>
    <p:sldId id="455" r:id="rId92"/>
    <p:sldId id="374" r:id="rId93"/>
    <p:sldId id="449" r:id="rId94"/>
    <p:sldId id="373" r:id="rId95"/>
  </p:sldIdLst>
  <p:sldSz cx="12192000" cy="6858000"/>
  <p:notesSz cx="7104063" cy="102346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0 Introduction" id="{9B39C30B-4AC0-491A-8C6F-7BE4FD331E1C}">
          <p14:sldIdLst>
            <p14:sldId id="359"/>
          </p14:sldIdLst>
        </p14:section>
        <p14:section name="1 Power BI 簡介以及 Power BI 家族" id="{79F06DD3-4B59-4EEE-B11A-C6B7632518E3}">
          <p14:sldIdLst>
            <p14:sldId id="360"/>
            <p14:sldId id="361"/>
            <p14:sldId id="362"/>
            <p14:sldId id="363"/>
            <p14:sldId id="364"/>
            <p14:sldId id="365"/>
            <p14:sldId id="366"/>
            <p14:sldId id="367"/>
            <p14:sldId id="368"/>
            <p14:sldId id="440"/>
          </p14:sldIdLst>
        </p14:section>
        <p14:section name="2 認識並建立資料集" id="{83596066-A6AC-4292-B4B7-9F71255A4DFB}">
          <p14:sldIdLst>
            <p14:sldId id="369"/>
            <p14:sldId id="379"/>
            <p14:sldId id="380"/>
            <p14:sldId id="381"/>
            <p14:sldId id="382"/>
            <p14:sldId id="383"/>
            <p14:sldId id="384"/>
            <p14:sldId id="385"/>
            <p14:sldId id="386"/>
            <p14:sldId id="387"/>
            <p14:sldId id="388"/>
            <p14:sldId id="389"/>
          </p14:sldIdLst>
        </p14:section>
        <p14:section name="3 從資料集拉出報表" id="{4A2024FA-A8EB-4F98-8C67-4B101696E7B3}">
          <p14:sldIdLst>
            <p14:sldId id="372"/>
            <p14:sldId id="391"/>
            <p14:sldId id="392"/>
            <p14:sldId id="393"/>
            <p14:sldId id="394"/>
            <p14:sldId id="395"/>
            <p14:sldId id="396"/>
            <p14:sldId id="397"/>
            <p14:sldId id="398"/>
            <p14:sldId id="401"/>
            <p14:sldId id="403"/>
            <p14:sldId id="404"/>
            <p14:sldId id="405"/>
            <p14:sldId id="406"/>
            <p14:sldId id="407"/>
            <p14:sldId id="408"/>
            <p14:sldId id="409"/>
            <p14:sldId id="410"/>
            <p14:sldId id="411"/>
            <p14:sldId id="412"/>
            <p14:sldId id="413"/>
            <p14:sldId id="414"/>
            <p14:sldId id="415"/>
            <p14:sldId id="416"/>
            <p14:sldId id="417"/>
            <p14:sldId id="418"/>
            <p14:sldId id="419"/>
            <p14:sldId id="420"/>
            <p14:sldId id="421"/>
            <p14:sldId id="422"/>
            <p14:sldId id="423"/>
            <p14:sldId id="424"/>
            <p14:sldId id="425"/>
            <p14:sldId id="441"/>
            <p14:sldId id="442"/>
            <p14:sldId id="443"/>
            <p14:sldId id="444"/>
            <p14:sldId id="445"/>
            <p14:sldId id="446"/>
            <p14:sldId id="447"/>
            <p14:sldId id="448"/>
          </p14:sldIdLst>
        </p14:section>
        <p14:section name="4 Power BI Embedded" id="{7D4A12E0-37EF-410F-B337-34D3A2795CE4}">
          <p14:sldIdLst>
            <p14:sldId id="371"/>
            <p14:sldId id="426"/>
            <p14:sldId id="427"/>
            <p14:sldId id="428"/>
            <p14:sldId id="429"/>
            <p14:sldId id="430"/>
            <p14:sldId id="431"/>
            <p14:sldId id="432"/>
            <p14:sldId id="433"/>
            <p14:sldId id="434"/>
            <p14:sldId id="435"/>
            <p14:sldId id="436"/>
            <p14:sldId id="438"/>
            <p14:sldId id="439"/>
          </p14:sldIdLst>
        </p14:section>
        <p14:section name="5 Power BI Embedded" id="{5886950B-D4B2-4769-A792-ADE64BDF9B74}">
          <p14:sldIdLst>
            <p14:sldId id="370"/>
            <p14:sldId id="377"/>
            <p14:sldId id="376"/>
            <p14:sldId id="375"/>
            <p14:sldId id="450"/>
            <p14:sldId id="451"/>
            <p14:sldId id="452"/>
            <p14:sldId id="453"/>
            <p14:sldId id="454"/>
            <p14:sldId id="455"/>
          </p14:sldIdLst>
        </p14:section>
        <p14:section name="X Outro" id="{36E893F7-81D8-414D-BBBC-431502575F84}">
          <p14:sldIdLst>
            <p14:sldId id="374"/>
            <p14:sldId id="449"/>
            <p14:sldId id="37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6" name="作者"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C812"/>
    <a:srgbClr val="DEEBF7"/>
    <a:srgbClr val="000000"/>
    <a:srgbClr val="EDC30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846" autoAdjust="0"/>
    <p:restoredTop sz="84925" autoAdjust="0"/>
  </p:normalViewPr>
  <p:slideViewPr>
    <p:cSldViewPr snapToGrid="0">
      <p:cViewPr varScale="1">
        <p:scale>
          <a:sx n="85" d="100"/>
          <a:sy n="85" d="100"/>
        </p:scale>
        <p:origin x="54" y="30"/>
      </p:cViewPr>
      <p:guideLst/>
    </p:cSldViewPr>
  </p:slideViewPr>
  <p:notesTextViewPr>
    <p:cViewPr>
      <p:scale>
        <a:sx n="1" d="1"/>
        <a:sy n="1" d="1"/>
      </p:scale>
      <p:origin x="0" y="0"/>
    </p:cViewPr>
  </p:notesTextViewPr>
  <p:sorterViewPr>
    <p:cViewPr varScale="1">
      <p:scale>
        <a:sx n="1" d="1"/>
        <a:sy n="1" d="1"/>
      </p:scale>
      <p:origin x="0" y="-4320"/>
    </p:cViewPr>
  </p:sorterViewPr>
  <p:notesViewPr>
    <p:cSldViewPr snapToGrid="0">
      <p:cViewPr varScale="1">
        <p:scale>
          <a:sx n="66" d="100"/>
          <a:sy n="66" d="100"/>
        </p:scale>
        <p:origin x="2198" y="62"/>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slide" Target="slides/slide72.xml"/><Relationship Id="rId84" Type="http://schemas.openxmlformats.org/officeDocument/2006/relationships/slide" Target="slides/slide80.xml"/><Relationship Id="rId89" Type="http://schemas.openxmlformats.org/officeDocument/2006/relationships/slide" Target="slides/slide85.xml"/><Relationship Id="rId97" Type="http://schemas.openxmlformats.org/officeDocument/2006/relationships/handoutMaster" Target="handoutMasters/handoutMaster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slide" Target="slides/slide83.xml"/><Relationship Id="rId102" Type="http://schemas.openxmlformats.org/officeDocument/2006/relationships/tableStyles" Target="tableStyles.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90" Type="http://schemas.openxmlformats.org/officeDocument/2006/relationships/slide" Target="slides/slide86.xml"/><Relationship Id="rId95" Type="http://schemas.openxmlformats.org/officeDocument/2006/relationships/slide" Target="slides/slide9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100"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slide" Target="slides/slide89.xml"/><Relationship Id="rId98"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presProps" Target="presProps.xml"/><Relationship Id="rId10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7CC98BD-8323-43D0-8DE2-C0420E7D1812}" type="doc">
      <dgm:prSet loTypeId="urn:microsoft.com/office/officeart/2005/8/layout/hChevron3" loCatId="process" qsTypeId="urn:microsoft.com/office/officeart/2005/8/quickstyle/simple1" qsCatId="simple" csTypeId="urn:microsoft.com/office/officeart/2005/8/colors/accent1_2" csCatId="accent1" phldr="1"/>
      <dgm:spPr/>
    </dgm:pt>
    <dgm:pt modelId="{200FE610-2FC7-44A2-BCD0-F48F19895886}">
      <dgm:prSet phldrT="[Text]"/>
      <dgm:spPr/>
      <dgm:t>
        <a:bodyPr/>
        <a:lstStyle/>
        <a:p>
          <a:r>
            <a:rPr lang="en-AU" dirty="0">
              <a:solidFill>
                <a:schemeClr val="tx1"/>
              </a:solidFill>
            </a:rPr>
            <a:t>Create </a:t>
          </a:r>
          <a:br>
            <a:rPr lang="en-AU" dirty="0">
              <a:solidFill>
                <a:schemeClr val="tx1"/>
              </a:solidFill>
            </a:rPr>
          </a:br>
          <a:r>
            <a:rPr lang="en-AU" dirty="0">
              <a:solidFill>
                <a:schemeClr val="tx1"/>
              </a:solidFill>
            </a:rPr>
            <a:t>queries</a:t>
          </a:r>
          <a:endParaRPr lang="en-US" dirty="0">
            <a:solidFill>
              <a:schemeClr val="tx1"/>
            </a:solidFill>
          </a:endParaRPr>
        </a:p>
      </dgm:t>
    </dgm:pt>
    <dgm:pt modelId="{B84F0008-9309-4447-80CF-DBE10A748444}" type="parTrans" cxnId="{E1F84C2C-0264-4E00-84F1-266B6DCC4799}">
      <dgm:prSet/>
      <dgm:spPr/>
      <dgm:t>
        <a:bodyPr/>
        <a:lstStyle/>
        <a:p>
          <a:endParaRPr lang="en-US">
            <a:solidFill>
              <a:schemeClr val="tx1"/>
            </a:solidFill>
          </a:endParaRPr>
        </a:p>
      </dgm:t>
    </dgm:pt>
    <dgm:pt modelId="{3583B078-FA2C-4975-894B-9CBF0E7F8A7E}" type="sibTrans" cxnId="{E1F84C2C-0264-4E00-84F1-266B6DCC4799}">
      <dgm:prSet/>
      <dgm:spPr/>
      <dgm:t>
        <a:bodyPr/>
        <a:lstStyle/>
        <a:p>
          <a:endParaRPr lang="en-US">
            <a:solidFill>
              <a:schemeClr val="tx1"/>
            </a:solidFill>
          </a:endParaRPr>
        </a:p>
      </dgm:t>
    </dgm:pt>
    <dgm:pt modelId="{698339C6-DFFB-44F5-8535-435AF45121B5}">
      <dgm:prSet phldrT="[Text]"/>
      <dgm:spPr/>
      <dgm:t>
        <a:bodyPr/>
        <a:lstStyle/>
        <a:p>
          <a:r>
            <a:rPr lang="en-AU" dirty="0">
              <a:solidFill>
                <a:schemeClr val="tx1"/>
              </a:solidFill>
            </a:rPr>
            <a:t>Configure relationships</a:t>
          </a:r>
          <a:endParaRPr lang="en-US" dirty="0">
            <a:solidFill>
              <a:schemeClr val="tx1"/>
            </a:solidFill>
          </a:endParaRPr>
        </a:p>
      </dgm:t>
    </dgm:pt>
    <dgm:pt modelId="{BC9F25DB-799C-49BD-A510-955EF4C9F2CB}" type="parTrans" cxnId="{B383455D-6F63-466F-A5F2-542C7B470663}">
      <dgm:prSet/>
      <dgm:spPr/>
      <dgm:t>
        <a:bodyPr/>
        <a:lstStyle/>
        <a:p>
          <a:endParaRPr lang="en-US">
            <a:solidFill>
              <a:schemeClr val="tx1"/>
            </a:solidFill>
          </a:endParaRPr>
        </a:p>
      </dgm:t>
    </dgm:pt>
    <dgm:pt modelId="{773F8119-1B09-49AA-A131-45E6F8AAF428}" type="sibTrans" cxnId="{B383455D-6F63-466F-A5F2-542C7B470663}">
      <dgm:prSet/>
      <dgm:spPr/>
      <dgm:t>
        <a:bodyPr/>
        <a:lstStyle/>
        <a:p>
          <a:endParaRPr lang="en-US">
            <a:solidFill>
              <a:schemeClr val="tx1"/>
            </a:solidFill>
          </a:endParaRPr>
        </a:p>
      </dgm:t>
    </dgm:pt>
    <dgm:pt modelId="{1A1C5199-AAB0-451E-9C4B-E39596CF7AC7}">
      <dgm:prSet phldrT="[Text]"/>
      <dgm:spPr/>
      <dgm:t>
        <a:bodyPr/>
        <a:lstStyle/>
        <a:p>
          <a:r>
            <a:rPr lang="en-AU" dirty="0">
              <a:solidFill>
                <a:schemeClr val="tx1"/>
              </a:solidFill>
            </a:rPr>
            <a:t>Enhance the model</a:t>
          </a:r>
          <a:endParaRPr lang="en-US" dirty="0">
            <a:solidFill>
              <a:schemeClr val="tx1"/>
            </a:solidFill>
          </a:endParaRPr>
        </a:p>
      </dgm:t>
    </dgm:pt>
    <dgm:pt modelId="{CD7A2D38-1AE2-4B36-8261-B35B8D1AD607}" type="parTrans" cxnId="{ACA92FAD-8A3E-4258-A6D1-6321AD37F454}">
      <dgm:prSet/>
      <dgm:spPr/>
      <dgm:t>
        <a:bodyPr/>
        <a:lstStyle/>
        <a:p>
          <a:endParaRPr lang="en-US">
            <a:solidFill>
              <a:schemeClr val="tx1"/>
            </a:solidFill>
          </a:endParaRPr>
        </a:p>
      </dgm:t>
    </dgm:pt>
    <dgm:pt modelId="{26A5CFB2-67AF-403B-AF03-E265B76BAD45}" type="sibTrans" cxnId="{ACA92FAD-8A3E-4258-A6D1-6321AD37F454}">
      <dgm:prSet/>
      <dgm:spPr/>
      <dgm:t>
        <a:bodyPr/>
        <a:lstStyle/>
        <a:p>
          <a:endParaRPr lang="en-US">
            <a:solidFill>
              <a:schemeClr val="tx1"/>
            </a:solidFill>
          </a:endParaRPr>
        </a:p>
      </dgm:t>
    </dgm:pt>
    <dgm:pt modelId="{334FA073-4421-4C28-BE17-750C44613534}">
      <dgm:prSet phldrT="[Text]"/>
      <dgm:spPr/>
      <dgm:t>
        <a:bodyPr/>
        <a:lstStyle/>
        <a:p>
          <a:r>
            <a:rPr lang="en-AU" dirty="0">
              <a:solidFill>
                <a:schemeClr val="tx1"/>
              </a:solidFill>
            </a:rPr>
            <a:t>Design reports</a:t>
          </a:r>
          <a:endParaRPr lang="en-US" dirty="0">
            <a:solidFill>
              <a:schemeClr val="tx1"/>
            </a:solidFill>
          </a:endParaRPr>
        </a:p>
      </dgm:t>
    </dgm:pt>
    <dgm:pt modelId="{ED794177-0090-4A2D-A0CC-495332957E96}" type="parTrans" cxnId="{6DA88136-AE06-4229-B0B7-2CA6499D2B44}">
      <dgm:prSet/>
      <dgm:spPr/>
      <dgm:t>
        <a:bodyPr/>
        <a:lstStyle/>
        <a:p>
          <a:endParaRPr lang="en-US">
            <a:solidFill>
              <a:schemeClr val="tx1"/>
            </a:solidFill>
          </a:endParaRPr>
        </a:p>
      </dgm:t>
    </dgm:pt>
    <dgm:pt modelId="{D2F5A671-5C4F-4A92-B61B-1464FB632CFD}" type="sibTrans" cxnId="{6DA88136-AE06-4229-B0B7-2CA6499D2B44}">
      <dgm:prSet/>
      <dgm:spPr/>
      <dgm:t>
        <a:bodyPr/>
        <a:lstStyle/>
        <a:p>
          <a:endParaRPr lang="en-US">
            <a:solidFill>
              <a:schemeClr val="tx1"/>
            </a:solidFill>
          </a:endParaRPr>
        </a:p>
      </dgm:t>
    </dgm:pt>
    <dgm:pt modelId="{83E11522-A02B-4057-A54E-16391FD74C2E}">
      <dgm:prSet phldrT="[Text]"/>
      <dgm:spPr/>
      <dgm:t>
        <a:bodyPr/>
        <a:lstStyle/>
        <a:p>
          <a:r>
            <a:rPr lang="en-AU" dirty="0">
              <a:solidFill>
                <a:schemeClr val="tx1"/>
              </a:solidFill>
            </a:rPr>
            <a:t>Publish to Power BI</a:t>
          </a:r>
          <a:endParaRPr lang="en-US" dirty="0">
            <a:solidFill>
              <a:schemeClr val="tx1"/>
            </a:solidFill>
          </a:endParaRPr>
        </a:p>
      </dgm:t>
    </dgm:pt>
    <dgm:pt modelId="{E8CD118F-7F06-42B8-9ABD-D77A7DFCAF92}" type="parTrans" cxnId="{3B790106-5F1E-4A17-B42E-4E2121EB0FBE}">
      <dgm:prSet/>
      <dgm:spPr/>
      <dgm:t>
        <a:bodyPr/>
        <a:lstStyle/>
        <a:p>
          <a:endParaRPr lang="en-US">
            <a:solidFill>
              <a:schemeClr val="tx1"/>
            </a:solidFill>
          </a:endParaRPr>
        </a:p>
      </dgm:t>
    </dgm:pt>
    <dgm:pt modelId="{B4510547-F3C3-41AD-BDF9-8079B319D8A6}" type="sibTrans" cxnId="{3B790106-5F1E-4A17-B42E-4E2121EB0FBE}">
      <dgm:prSet/>
      <dgm:spPr/>
      <dgm:t>
        <a:bodyPr/>
        <a:lstStyle/>
        <a:p>
          <a:endParaRPr lang="en-US">
            <a:solidFill>
              <a:schemeClr val="tx1"/>
            </a:solidFill>
          </a:endParaRPr>
        </a:p>
      </dgm:t>
    </dgm:pt>
    <dgm:pt modelId="{B2C26A8A-2443-4C02-8842-259CE6DFBE2A}" type="pres">
      <dgm:prSet presAssocID="{E7CC98BD-8323-43D0-8DE2-C0420E7D1812}" presName="Name0" presStyleCnt="0">
        <dgm:presLayoutVars>
          <dgm:dir/>
          <dgm:resizeHandles val="exact"/>
        </dgm:presLayoutVars>
      </dgm:prSet>
      <dgm:spPr/>
    </dgm:pt>
    <dgm:pt modelId="{97492F20-71A7-46BA-9053-9A55B497D836}" type="pres">
      <dgm:prSet presAssocID="{200FE610-2FC7-44A2-BCD0-F48F19895886}" presName="parTxOnly" presStyleLbl="node1" presStyleIdx="0" presStyleCnt="5">
        <dgm:presLayoutVars>
          <dgm:bulletEnabled val="1"/>
        </dgm:presLayoutVars>
      </dgm:prSet>
      <dgm:spPr/>
    </dgm:pt>
    <dgm:pt modelId="{252D45A8-2AF0-47B2-AEF2-334BD4E3CD7E}" type="pres">
      <dgm:prSet presAssocID="{3583B078-FA2C-4975-894B-9CBF0E7F8A7E}" presName="parSpace" presStyleCnt="0"/>
      <dgm:spPr/>
    </dgm:pt>
    <dgm:pt modelId="{6AA26656-9EB2-4541-BA04-C2122D0DC9D7}" type="pres">
      <dgm:prSet presAssocID="{698339C6-DFFB-44F5-8535-435AF45121B5}" presName="parTxOnly" presStyleLbl="node1" presStyleIdx="1" presStyleCnt="5" custLinFactNeighborX="2484" custLinFactNeighborY="-61258">
        <dgm:presLayoutVars>
          <dgm:bulletEnabled val="1"/>
        </dgm:presLayoutVars>
      </dgm:prSet>
      <dgm:spPr/>
    </dgm:pt>
    <dgm:pt modelId="{71BB7CA4-88ED-4751-9A3E-68BD598B3E9F}" type="pres">
      <dgm:prSet presAssocID="{773F8119-1B09-49AA-A131-45E6F8AAF428}" presName="parSpace" presStyleCnt="0"/>
      <dgm:spPr/>
    </dgm:pt>
    <dgm:pt modelId="{4146E3F4-AF68-452B-8B57-6FCE6C865806}" type="pres">
      <dgm:prSet presAssocID="{1A1C5199-AAB0-451E-9C4B-E39596CF7AC7}" presName="parTxOnly" presStyleLbl="node1" presStyleIdx="2" presStyleCnt="5">
        <dgm:presLayoutVars>
          <dgm:bulletEnabled val="1"/>
        </dgm:presLayoutVars>
      </dgm:prSet>
      <dgm:spPr/>
    </dgm:pt>
    <dgm:pt modelId="{3281581F-FC1C-4DC5-B774-2D6B0A3F4122}" type="pres">
      <dgm:prSet presAssocID="{26A5CFB2-67AF-403B-AF03-E265B76BAD45}" presName="parSpace" presStyleCnt="0"/>
      <dgm:spPr/>
    </dgm:pt>
    <dgm:pt modelId="{30718A47-861D-47C5-8621-0200AEBC2396}" type="pres">
      <dgm:prSet presAssocID="{334FA073-4421-4C28-BE17-750C44613534}" presName="parTxOnly" presStyleLbl="node1" presStyleIdx="3" presStyleCnt="5" custLinFactNeighborY="1425">
        <dgm:presLayoutVars>
          <dgm:bulletEnabled val="1"/>
        </dgm:presLayoutVars>
      </dgm:prSet>
      <dgm:spPr/>
    </dgm:pt>
    <dgm:pt modelId="{009ABBFC-9803-446D-A57D-E3E3B6254D1D}" type="pres">
      <dgm:prSet presAssocID="{D2F5A671-5C4F-4A92-B61B-1464FB632CFD}" presName="parSpace" presStyleCnt="0"/>
      <dgm:spPr/>
    </dgm:pt>
    <dgm:pt modelId="{B2E58550-562D-4FAE-B431-03550C0E97AB}" type="pres">
      <dgm:prSet presAssocID="{83E11522-A02B-4057-A54E-16391FD74C2E}" presName="parTxOnly" presStyleLbl="node1" presStyleIdx="4" presStyleCnt="5">
        <dgm:presLayoutVars>
          <dgm:bulletEnabled val="1"/>
        </dgm:presLayoutVars>
      </dgm:prSet>
      <dgm:spPr/>
    </dgm:pt>
  </dgm:ptLst>
  <dgm:cxnLst>
    <dgm:cxn modelId="{3B790106-5F1E-4A17-B42E-4E2121EB0FBE}" srcId="{E7CC98BD-8323-43D0-8DE2-C0420E7D1812}" destId="{83E11522-A02B-4057-A54E-16391FD74C2E}" srcOrd="4" destOrd="0" parTransId="{E8CD118F-7F06-42B8-9ABD-D77A7DFCAF92}" sibTransId="{B4510547-F3C3-41AD-BDF9-8079B319D8A6}"/>
    <dgm:cxn modelId="{E432B4F4-D2DE-4A40-AA8C-D9C4D4338A94}" type="presOf" srcId="{200FE610-2FC7-44A2-BCD0-F48F19895886}" destId="{97492F20-71A7-46BA-9053-9A55B497D836}" srcOrd="0" destOrd="0" presId="urn:microsoft.com/office/officeart/2005/8/layout/hChevron3"/>
    <dgm:cxn modelId="{ACA92FAD-8A3E-4258-A6D1-6321AD37F454}" srcId="{E7CC98BD-8323-43D0-8DE2-C0420E7D1812}" destId="{1A1C5199-AAB0-451E-9C4B-E39596CF7AC7}" srcOrd="2" destOrd="0" parTransId="{CD7A2D38-1AE2-4B36-8261-B35B8D1AD607}" sibTransId="{26A5CFB2-67AF-403B-AF03-E265B76BAD45}"/>
    <dgm:cxn modelId="{79713F6B-B523-48AD-AC7A-B4EB48125C61}" type="presOf" srcId="{334FA073-4421-4C28-BE17-750C44613534}" destId="{30718A47-861D-47C5-8621-0200AEBC2396}" srcOrd="0" destOrd="0" presId="urn:microsoft.com/office/officeart/2005/8/layout/hChevron3"/>
    <dgm:cxn modelId="{6DA88136-AE06-4229-B0B7-2CA6499D2B44}" srcId="{E7CC98BD-8323-43D0-8DE2-C0420E7D1812}" destId="{334FA073-4421-4C28-BE17-750C44613534}" srcOrd="3" destOrd="0" parTransId="{ED794177-0090-4A2D-A0CC-495332957E96}" sibTransId="{D2F5A671-5C4F-4A92-B61B-1464FB632CFD}"/>
    <dgm:cxn modelId="{E1F84C2C-0264-4E00-84F1-266B6DCC4799}" srcId="{E7CC98BD-8323-43D0-8DE2-C0420E7D1812}" destId="{200FE610-2FC7-44A2-BCD0-F48F19895886}" srcOrd="0" destOrd="0" parTransId="{B84F0008-9309-4447-80CF-DBE10A748444}" sibTransId="{3583B078-FA2C-4975-894B-9CBF0E7F8A7E}"/>
    <dgm:cxn modelId="{7E63E950-2595-4663-A401-DC85B83C1618}" type="presOf" srcId="{83E11522-A02B-4057-A54E-16391FD74C2E}" destId="{B2E58550-562D-4FAE-B431-03550C0E97AB}" srcOrd="0" destOrd="0" presId="urn:microsoft.com/office/officeart/2005/8/layout/hChevron3"/>
    <dgm:cxn modelId="{D8CE735D-966A-413C-A9D0-E94CA15E2C56}" type="presOf" srcId="{698339C6-DFFB-44F5-8535-435AF45121B5}" destId="{6AA26656-9EB2-4541-BA04-C2122D0DC9D7}" srcOrd="0" destOrd="0" presId="urn:microsoft.com/office/officeart/2005/8/layout/hChevron3"/>
    <dgm:cxn modelId="{947ADB34-6E5C-48A4-B6BF-BDE3CAD18B75}" type="presOf" srcId="{1A1C5199-AAB0-451E-9C4B-E39596CF7AC7}" destId="{4146E3F4-AF68-452B-8B57-6FCE6C865806}" srcOrd="0" destOrd="0" presId="urn:microsoft.com/office/officeart/2005/8/layout/hChevron3"/>
    <dgm:cxn modelId="{B383455D-6F63-466F-A5F2-542C7B470663}" srcId="{E7CC98BD-8323-43D0-8DE2-C0420E7D1812}" destId="{698339C6-DFFB-44F5-8535-435AF45121B5}" srcOrd="1" destOrd="0" parTransId="{BC9F25DB-799C-49BD-A510-955EF4C9F2CB}" sibTransId="{773F8119-1B09-49AA-A131-45E6F8AAF428}"/>
    <dgm:cxn modelId="{0EF0FAD2-817B-4CAB-9EB9-7872A5469452}" type="presOf" srcId="{E7CC98BD-8323-43D0-8DE2-C0420E7D1812}" destId="{B2C26A8A-2443-4C02-8842-259CE6DFBE2A}" srcOrd="0" destOrd="0" presId="urn:microsoft.com/office/officeart/2005/8/layout/hChevron3"/>
    <dgm:cxn modelId="{D4AF4808-112E-4D5C-B53B-022A681E9556}" type="presParOf" srcId="{B2C26A8A-2443-4C02-8842-259CE6DFBE2A}" destId="{97492F20-71A7-46BA-9053-9A55B497D836}" srcOrd="0" destOrd="0" presId="urn:microsoft.com/office/officeart/2005/8/layout/hChevron3"/>
    <dgm:cxn modelId="{DA0A43BD-D563-45EE-AEC3-AF390ADE3F81}" type="presParOf" srcId="{B2C26A8A-2443-4C02-8842-259CE6DFBE2A}" destId="{252D45A8-2AF0-47B2-AEF2-334BD4E3CD7E}" srcOrd="1" destOrd="0" presId="urn:microsoft.com/office/officeart/2005/8/layout/hChevron3"/>
    <dgm:cxn modelId="{A3EC4501-BC18-4B7E-B9F0-16DFA37AF948}" type="presParOf" srcId="{B2C26A8A-2443-4C02-8842-259CE6DFBE2A}" destId="{6AA26656-9EB2-4541-BA04-C2122D0DC9D7}" srcOrd="2" destOrd="0" presId="urn:microsoft.com/office/officeart/2005/8/layout/hChevron3"/>
    <dgm:cxn modelId="{0259F377-E643-4B58-A8ED-039D8500D322}" type="presParOf" srcId="{B2C26A8A-2443-4C02-8842-259CE6DFBE2A}" destId="{71BB7CA4-88ED-4751-9A3E-68BD598B3E9F}" srcOrd="3" destOrd="0" presId="urn:microsoft.com/office/officeart/2005/8/layout/hChevron3"/>
    <dgm:cxn modelId="{FD6A11AE-7AA3-4EFF-B35B-78CFF35DC853}" type="presParOf" srcId="{B2C26A8A-2443-4C02-8842-259CE6DFBE2A}" destId="{4146E3F4-AF68-452B-8B57-6FCE6C865806}" srcOrd="4" destOrd="0" presId="urn:microsoft.com/office/officeart/2005/8/layout/hChevron3"/>
    <dgm:cxn modelId="{C748F7E3-94D9-4FB6-88C0-A631993BBB48}" type="presParOf" srcId="{B2C26A8A-2443-4C02-8842-259CE6DFBE2A}" destId="{3281581F-FC1C-4DC5-B774-2D6B0A3F4122}" srcOrd="5" destOrd="0" presId="urn:microsoft.com/office/officeart/2005/8/layout/hChevron3"/>
    <dgm:cxn modelId="{BEBF6C64-4CAE-434A-8414-2F6044A6254C}" type="presParOf" srcId="{B2C26A8A-2443-4C02-8842-259CE6DFBE2A}" destId="{30718A47-861D-47C5-8621-0200AEBC2396}" srcOrd="6" destOrd="0" presId="urn:microsoft.com/office/officeart/2005/8/layout/hChevron3"/>
    <dgm:cxn modelId="{ED5C1F84-4599-43E5-8F49-852DB48BAB19}" type="presParOf" srcId="{B2C26A8A-2443-4C02-8842-259CE6DFBE2A}" destId="{009ABBFC-9803-446D-A57D-E3E3B6254D1D}" srcOrd="7" destOrd="0" presId="urn:microsoft.com/office/officeart/2005/8/layout/hChevron3"/>
    <dgm:cxn modelId="{06F0E958-F64F-49EA-8C89-6931DC9A17C8}" type="presParOf" srcId="{B2C26A8A-2443-4C02-8842-259CE6DFBE2A}" destId="{B2E58550-562D-4FAE-B431-03550C0E97AB}" srcOrd="8"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7CC98BD-8323-43D0-8DE2-C0420E7D1812}" type="doc">
      <dgm:prSet loTypeId="urn:microsoft.com/office/officeart/2005/8/layout/hChevron3" loCatId="process" qsTypeId="urn:microsoft.com/office/officeart/2005/8/quickstyle/simple1" qsCatId="simple" csTypeId="urn:microsoft.com/office/officeart/2005/8/colors/accent1_2" csCatId="accent1" phldr="1"/>
      <dgm:spPr/>
    </dgm:pt>
    <dgm:pt modelId="{200FE610-2FC7-44A2-BCD0-F48F19895886}">
      <dgm:prSet phldrT="[Text]"/>
      <dgm:spPr>
        <a:solidFill>
          <a:srgbClr val="F2C812"/>
        </a:solidFill>
      </dgm:spPr>
      <dgm:t>
        <a:bodyPr/>
        <a:lstStyle/>
        <a:p>
          <a:r>
            <a:rPr lang="zh-TW" altLang="en-US" dirty="0">
              <a:solidFill>
                <a:schemeClr val="tx1"/>
              </a:solidFill>
            </a:rPr>
            <a:t>建立查詢</a:t>
          </a:r>
          <a:endParaRPr lang="en-US" dirty="0">
            <a:solidFill>
              <a:schemeClr val="tx1"/>
            </a:solidFill>
          </a:endParaRPr>
        </a:p>
      </dgm:t>
    </dgm:pt>
    <dgm:pt modelId="{B84F0008-9309-4447-80CF-DBE10A748444}" type="parTrans" cxnId="{E1F84C2C-0264-4E00-84F1-266B6DCC4799}">
      <dgm:prSet/>
      <dgm:spPr/>
      <dgm:t>
        <a:bodyPr/>
        <a:lstStyle/>
        <a:p>
          <a:endParaRPr lang="en-US">
            <a:solidFill>
              <a:schemeClr val="tx1"/>
            </a:solidFill>
          </a:endParaRPr>
        </a:p>
      </dgm:t>
    </dgm:pt>
    <dgm:pt modelId="{3583B078-FA2C-4975-894B-9CBF0E7F8A7E}" type="sibTrans" cxnId="{E1F84C2C-0264-4E00-84F1-266B6DCC4799}">
      <dgm:prSet/>
      <dgm:spPr/>
      <dgm:t>
        <a:bodyPr/>
        <a:lstStyle/>
        <a:p>
          <a:endParaRPr lang="en-US">
            <a:solidFill>
              <a:schemeClr val="tx1"/>
            </a:solidFill>
          </a:endParaRPr>
        </a:p>
      </dgm:t>
    </dgm:pt>
    <dgm:pt modelId="{698339C6-DFFB-44F5-8535-435AF45121B5}">
      <dgm:prSet phldrT="[Text]"/>
      <dgm:spPr/>
      <dgm:t>
        <a:bodyPr/>
        <a:lstStyle/>
        <a:p>
          <a:r>
            <a:rPr lang="en-AU" dirty="0">
              <a:solidFill>
                <a:schemeClr val="tx1"/>
              </a:solidFill>
            </a:rPr>
            <a:t>Configure relationships</a:t>
          </a:r>
          <a:endParaRPr lang="en-US" dirty="0">
            <a:solidFill>
              <a:schemeClr val="tx1"/>
            </a:solidFill>
          </a:endParaRPr>
        </a:p>
      </dgm:t>
    </dgm:pt>
    <dgm:pt modelId="{BC9F25DB-799C-49BD-A510-955EF4C9F2CB}" type="parTrans" cxnId="{B383455D-6F63-466F-A5F2-542C7B470663}">
      <dgm:prSet/>
      <dgm:spPr/>
      <dgm:t>
        <a:bodyPr/>
        <a:lstStyle/>
        <a:p>
          <a:endParaRPr lang="en-US">
            <a:solidFill>
              <a:schemeClr val="tx1"/>
            </a:solidFill>
          </a:endParaRPr>
        </a:p>
      </dgm:t>
    </dgm:pt>
    <dgm:pt modelId="{773F8119-1B09-49AA-A131-45E6F8AAF428}" type="sibTrans" cxnId="{B383455D-6F63-466F-A5F2-542C7B470663}">
      <dgm:prSet/>
      <dgm:spPr/>
      <dgm:t>
        <a:bodyPr/>
        <a:lstStyle/>
        <a:p>
          <a:endParaRPr lang="en-US">
            <a:solidFill>
              <a:schemeClr val="tx1"/>
            </a:solidFill>
          </a:endParaRPr>
        </a:p>
      </dgm:t>
    </dgm:pt>
    <dgm:pt modelId="{1A1C5199-AAB0-451E-9C4B-E39596CF7AC7}">
      <dgm:prSet phldrT="[Text]"/>
      <dgm:spPr/>
      <dgm:t>
        <a:bodyPr/>
        <a:lstStyle/>
        <a:p>
          <a:r>
            <a:rPr lang="en-AU" dirty="0">
              <a:solidFill>
                <a:schemeClr val="tx1"/>
              </a:solidFill>
            </a:rPr>
            <a:t>Enhance the model</a:t>
          </a:r>
          <a:endParaRPr lang="en-US" dirty="0">
            <a:solidFill>
              <a:schemeClr val="tx1"/>
            </a:solidFill>
          </a:endParaRPr>
        </a:p>
      </dgm:t>
    </dgm:pt>
    <dgm:pt modelId="{CD7A2D38-1AE2-4B36-8261-B35B8D1AD607}" type="parTrans" cxnId="{ACA92FAD-8A3E-4258-A6D1-6321AD37F454}">
      <dgm:prSet/>
      <dgm:spPr/>
      <dgm:t>
        <a:bodyPr/>
        <a:lstStyle/>
        <a:p>
          <a:endParaRPr lang="en-US">
            <a:solidFill>
              <a:schemeClr val="tx1"/>
            </a:solidFill>
          </a:endParaRPr>
        </a:p>
      </dgm:t>
    </dgm:pt>
    <dgm:pt modelId="{26A5CFB2-67AF-403B-AF03-E265B76BAD45}" type="sibTrans" cxnId="{ACA92FAD-8A3E-4258-A6D1-6321AD37F454}">
      <dgm:prSet/>
      <dgm:spPr/>
      <dgm:t>
        <a:bodyPr/>
        <a:lstStyle/>
        <a:p>
          <a:endParaRPr lang="en-US">
            <a:solidFill>
              <a:schemeClr val="tx1"/>
            </a:solidFill>
          </a:endParaRPr>
        </a:p>
      </dgm:t>
    </dgm:pt>
    <dgm:pt modelId="{334FA073-4421-4C28-BE17-750C44613534}">
      <dgm:prSet phldrT="[Text]"/>
      <dgm:spPr/>
      <dgm:t>
        <a:bodyPr/>
        <a:lstStyle/>
        <a:p>
          <a:r>
            <a:rPr lang="en-AU" dirty="0">
              <a:solidFill>
                <a:schemeClr val="tx1"/>
              </a:solidFill>
            </a:rPr>
            <a:t>Design reports</a:t>
          </a:r>
          <a:endParaRPr lang="en-US" dirty="0">
            <a:solidFill>
              <a:schemeClr val="tx1"/>
            </a:solidFill>
          </a:endParaRPr>
        </a:p>
      </dgm:t>
    </dgm:pt>
    <dgm:pt modelId="{ED794177-0090-4A2D-A0CC-495332957E96}" type="parTrans" cxnId="{6DA88136-AE06-4229-B0B7-2CA6499D2B44}">
      <dgm:prSet/>
      <dgm:spPr/>
      <dgm:t>
        <a:bodyPr/>
        <a:lstStyle/>
        <a:p>
          <a:endParaRPr lang="en-US">
            <a:solidFill>
              <a:schemeClr val="tx1"/>
            </a:solidFill>
          </a:endParaRPr>
        </a:p>
      </dgm:t>
    </dgm:pt>
    <dgm:pt modelId="{D2F5A671-5C4F-4A92-B61B-1464FB632CFD}" type="sibTrans" cxnId="{6DA88136-AE06-4229-B0B7-2CA6499D2B44}">
      <dgm:prSet/>
      <dgm:spPr/>
      <dgm:t>
        <a:bodyPr/>
        <a:lstStyle/>
        <a:p>
          <a:endParaRPr lang="en-US">
            <a:solidFill>
              <a:schemeClr val="tx1"/>
            </a:solidFill>
          </a:endParaRPr>
        </a:p>
      </dgm:t>
    </dgm:pt>
    <dgm:pt modelId="{83E11522-A02B-4057-A54E-16391FD74C2E}">
      <dgm:prSet phldrT="[Text]"/>
      <dgm:spPr/>
      <dgm:t>
        <a:bodyPr/>
        <a:lstStyle/>
        <a:p>
          <a:r>
            <a:rPr lang="en-AU" dirty="0">
              <a:solidFill>
                <a:schemeClr val="tx1"/>
              </a:solidFill>
            </a:rPr>
            <a:t>Publish to Power BI</a:t>
          </a:r>
          <a:endParaRPr lang="en-US" dirty="0">
            <a:solidFill>
              <a:schemeClr val="tx1"/>
            </a:solidFill>
          </a:endParaRPr>
        </a:p>
      </dgm:t>
    </dgm:pt>
    <dgm:pt modelId="{E8CD118F-7F06-42B8-9ABD-D77A7DFCAF92}" type="parTrans" cxnId="{3B790106-5F1E-4A17-B42E-4E2121EB0FBE}">
      <dgm:prSet/>
      <dgm:spPr/>
      <dgm:t>
        <a:bodyPr/>
        <a:lstStyle/>
        <a:p>
          <a:endParaRPr lang="en-US">
            <a:solidFill>
              <a:schemeClr val="tx1"/>
            </a:solidFill>
          </a:endParaRPr>
        </a:p>
      </dgm:t>
    </dgm:pt>
    <dgm:pt modelId="{B4510547-F3C3-41AD-BDF9-8079B319D8A6}" type="sibTrans" cxnId="{3B790106-5F1E-4A17-B42E-4E2121EB0FBE}">
      <dgm:prSet/>
      <dgm:spPr/>
      <dgm:t>
        <a:bodyPr/>
        <a:lstStyle/>
        <a:p>
          <a:endParaRPr lang="en-US">
            <a:solidFill>
              <a:schemeClr val="tx1"/>
            </a:solidFill>
          </a:endParaRPr>
        </a:p>
      </dgm:t>
    </dgm:pt>
    <dgm:pt modelId="{B2C26A8A-2443-4C02-8842-259CE6DFBE2A}" type="pres">
      <dgm:prSet presAssocID="{E7CC98BD-8323-43D0-8DE2-C0420E7D1812}" presName="Name0" presStyleCnt="0">
        <dgm:presLayoutVars>
          <dgm:dir/>
          <dgm:resizeHandles val="exact"/>
        </dgm:presLayoutVars>
      </dgm:prSet>
      <dgm:spPr/>
    </dgm:pt>
    <dgm:pt modelId="{97492F20-71A7-46BA-9053-9A55B497D836}" type="pres">
      <dgm:prSet presAssocID="{200FE610-2FC7-44A2-BCD0-F48F19895886}" presName="parTxOnly" presStyleLbl="node1" presStyleIdx="0" presStyleCnt="5">
        <dgm:presLayoutVars>
          <dgm:bulletEnabled val="1"/>
        </dgm:presLayoutVars>
      </dgm:prSet>
      <dgm:spPr/>
    </dgm:pt>
    <dgm:pt modelId="{252D45A8-2AF0-47B2-AEF2-334BD4E3CD7E}" type="pres">
      <dgm:prSet presAssocID="{3583B078-FA2C-4975-894B-9CBF0E7F8A7E}" presName="parSpace" presStyleCnt="0"/>
      <dgm:spPr/>
    </dgm:pt>
    <dgm:pt modelId="{6AA26656-9EB2-4541-BA04-C2122D0DC9D7}" type="pres">
      <dgm:prSet presAssocID="{698339C6-DFFB-44F5-8535-435AF45121B5}" presName="parTxOnly" presStyleLbl="node1" presStyleIdx="1" presStyleCnt="5">
        <dgm:presLayoutVars>
          <dgm:bulletEnabled val="1"/>
        </dgm:presLayoutVars>
      </dgm:prSet>
      <dgm:spPr/>
    </dgm:pt>
    <dgm:pt modelId="{71BB7CA4-88ED-4751-9A3E-68BD598B3E9F}" type="pres">
      <dgm:prSet presAssocID="{773F8119-1B09-49AA-A131-45E6F8AAF428}" presName="parSpace" presStyleCnt="0"/>
      <dgm:spPr/>
    </dgm:pt>
    <dgm:pt modelId="{4146E3F4-AF68-452B-8B57-6FCE6C865806}" type="pres">
      <dgm:prSet presAssocID="{1A1C5199-AAB0-451E-9C4B-E39596CF7AC7}" presName="parTxOnly" presStyleLbl="node1" presStyleIdx="2" presStyleCnt="5">
        <dgm:presLayoutVars>
          <dgm:bulletEnabled val="1"/>
        </dgm:presLayoutVars>
      </dgm:prSet>
      <dgm:spPr/>
    </dgm:pt>
    <dgm:pt modelId="{3281581F-FC1C-4DC5-B774-2D6B0A3F4122}" type="pres">
      <dgm:prSet presAssocID="{26A5CFB2-67AF-403B-AF03-E265B76BAD45}" presName="parSpace" presStyleCnt="0"/>
      <dgm:spPr/>
    </dgm:pt>
    <dgm:pt modelId="{30718A47-861D-47C5-8621-0200AEBC2396}" type="pres">
      <dgm:prSet presAssocID="{334FA073-4421-4C28-BE17-750C44613534}" presName="parTxOnly" presStyleLbl="node1" presStyleIdx="3" presStyleCnt="5">
        <dgm:presLayoutVars>
          <dgm:bulletEnabled val="1"/>
        </dgm:presLayoutVars>
      </dgm:prSet>
      <dgm:spPr/>
    </dgm:pt>
    <dgm:pt modelId="{009ABBFC-9803-446D-A57D-E3E3B6254D1D}" type="pres">
      <dgm:prSet presAssocID="{D2F5A671-5C4F-4A92-B61B-1464FB632CFD}" presName="parSpace" presStyleCnt="0"/>
      <dgm:spPr/>
    </dgm:pt>
    <dgm:pt modelId="{B2E58550-562D-4FAE-B431-03550C0E97AB}" type="pres">
      <dgm:prSet presAssocID="{83E11522-A02B-4057-A54E-16391FD74C2E}" presName="parTxOnly" presStyleLbl="node1" presStyleIdx="4" presStyleCnt="5">
        <dgm:presLayoutVars>
          <dgm:bulletEnabled val="1"/>
        </dgm:presLayoutVars>
      </dgm:prSet>
      <dgm:spPr/>
    </dgm:pt>
  </dgm:ptLst>
  <dgm:cxnLst>
    <dgm:cxn modelId="{2754100A-0497-4579-ADD5-A0EDFA5BF73B}" type="presOf" srcId="{698339C6-DFFB-44F5-8535-435AF45121B5}" destId="{6AA26656-9EB2-4541-BA04-C2122D0DC9D7}" srcOrd="0" destOrd="0" presId="urn:microsoft.com/office/officeart/2005/8/layout/hChevron3"/>
    <dgm:cxn modelId="{173165F2-18B8-445A-AE3B-F30050765747}" type="presOf" srcId="{334FA073-4421-4C28-BE17-750C44613534}" destId="{30718A47-861D-47C5-8621-0200AEBC2396}" srcOrd="0" destOrd="0" presId="urn:microsoft.com/office/officeart/2005/8/layout/hChevron3"/>
    <dgm:cxn modelId="{F1812781-B12D-4E5A-A048-3C00F875E04C}" type="presOf" srcId="{1A1C5199-AAB0-451E-9C4B-E39596CF7AC7}" destId="{4146E3F4-AF68-452B-8B57-6FCE6C865806}" srcOrd="0" destOrd="0" presId="urn:microsoft.com/office/officeart/2005/8/layout/hChevron3"/>
    <dgm:cxn modelId="{3B790106-5F1E-4A17-B42E-4E2121EB0FBE}" srcId="{E7CC98BD-8323-43D0-8DE2-C0420E7D1812}" destId="{83E11522-A02B-4057-A54E-16391FD74C2E}" srcOrd="4" destOrd="0" parTransId="{E8CD118F-7F06-42B8-9ABD-D77A7DFCAF92}" sibTransId="{B4510547-F3C3-41AD-BDF9-8079B319D8A6}"/>
    <dgm:cxn modelId="{6B93D46E-1676-40E9-9FFE-A45D2355B61D}" type="presOf" srcId="{E7CC98BD-8323-43D0-8DE2-C0420E7D1812}" destId="{B2C26A8A-2443-4C02-8842-259CE6DFBE2A}" srcOrd="0" destOrd="0" presId="urn:microsoft.com/office/officeart/2005/8/layout/hChevron3"/>
    <dgm:cxn modelId="{ACA92FAD-8A3E-4258-A6D1-6321AD37F454}" srcId="{E7CC98BD-8323-43D0-8DE2-C0420E7D1812}" destId="{1A1C5199-AAB0-451E-9C4B-E39596CF7AC7}" srcOrd="2" destOrd="0" parTransId="{CD7A2D38-1AE2-4B36-8261-B35B8D1AD607}" sibTransId="{26A5CFB2-67AF-403B-AF03-E265B76BAD45}"/>
    <dgm:cxn modelId="{6DA88136-AE06-4229-B0B7-2CA6499D2B44}" srcId="{E7CC98BD-8323-43D0-8DE2-C0420E7D1812}" destId="{334FA073-4421-4C28-BE17-750C44613534}" srcOrd="3" destOrd="0" parTransId="{ED794177-0090-4A2D-A0CC-495332957E96}" sibTransId="{D2F5A671-5C4F-4A92-B61B-1464FB632CFD}"/>
    <dgm:cxn modelId="{E1F84C2C-0264-4E00-84F1-266B6DCC4799}" srcId="{E7CC98BD-8323-43D0-8DE2-C0420E7D1812}" destId="{200FE610-2FC7-44A2-BCD0-F48F19895886}" srcOrd="0" destOrd="0" parTransId="{B84F0008-9309-4447-80CF-DBE10A748444}" sibTransId="{3583B078-FA2C-4975-894B-9CBF0E7F8A7E}"/>
    <dgm:cxn modelId="{924CDC85-B5BB-44F8-8D93-3D76219F8767}" type="presOf" srcId="{83E11522-A02B-4057-A54E-16391FD74C2E}" destId="{B2E58550-562D-4FAE-B431-03550C0E97AB}" srcOrd="0" destOrd="0" presId="urn:microsoft.com/office/officeart/2005/8/layout/hChevron3"/>
    <dgm:cxn modelId="{B383455D-6F63-466F-A5F2-542C7B470663}" srcId="{E7CC98BD-8323-43D0-8DE2-C0420E7D1812}" destId="{698339C6-DFFB-44F5-8535-435AF45121B5}" srcOrd="1" destOrd="0" parTransId="{BC9F25DB-799C-49BD-A510-955EF4C9F2CB}" sibTransId="{773F8119-1B09-49AA-A131-45E6F8AAF428}"/>
    <dgm:cxn modelId="{3C369CBB-D618-4101-B77A-AF5582961E64}" type="presOf" srcId="{200FE610-2FC7-44A2-BCD0-F48F19895886}" destId="{97492F20-71A7-46BA-9053-9A55B497D836}" srcOrd="0" destOrd="0" presId="urn:microsoft.com/office/officeart/2005/8/layout/hChevron3"/>
    <dgm:cxn modelId="{837C1407-4D1A-49F8-A74B-87C04F462671}" type="presParOf" srcId="{B2C26A8A-2443-4C02-8842-259CE6DFBE2A}" destId="{97492F20-71A7-46BA-9053-9A55B497D836}" srcOrd="0" destOrd="0" presId="urn:microsoft.com/office/officeart/2005/8/layout/hChevron3"/>
    <dgm:cxn modelId="{FFB26DC9-8228-4423-AC28-77CD24B4F6E8}" type="presParOf" srcId="{B2C26A8A-2443-4C02-8842-259CE6DFBE2A}" destId="{252D45A8-2AF0-47B2-AEF2-334BD4E3CD7E}" srcOrd="1" destOrd="0" presId="urn:microsoft.com/office/officeart/2005/8/layout/hChevron3"/>
    <dgm:cxn modelId="{12957CFE-9D6A-45CA-8B09-61B2EC8AEAEA}" type="presParOf" srcId="{B2C26A8A-2443-4C02-8842-259CE6DFBE2A}" destId="{6AA26656-9EB2-4541-BA04-C2122D0DC9D7}" srcOrd="2" destOrd="0" presId="urn:microsoft.com/office/officeart/2005/8/layout/hChevron3"/>
    <dgm:cxn modelId="{907F5644-ED80-46FC-9090-83D8561848C1}" type="presParOf" srcId="{B2C26A8A-2443-4C02-8842-259CE6DFBE2A}" destId="{71BB7CA4-88ED-4751-9A3E-68BD598B3E9F}" srcOrd="3" destOrd="0" presId="urn:microsoft.com/office/officeart/2005/8/layout/hChevron3"/>
    <dgm:cxn modelId="{B0BD4CDF-C2A8-44F9-9F06-67643CB642B7}" type="presParOf" srcId="{B2C26A8A-2443-4C02-8842-259CE6DFBE2A}" destId="{4146E3F4-AF68-452B-8B57-6FCE6C865806}" srcOrd="4" destOrd="0" presId="urn:microsoft.com/office/officeart/2005/8/layout/hChevron3"/>
    <dgm:cxn modelId="{C66198D9-6934-4093-B7D1-537554DDD8DC}" type="presParOf" srcId="{B2C26A8A-2443-4C02-8842-259CE6DFBE2A}" destId="{3281581F-FC1C-4DC5-B774-2D6B0A3F4122}" srcOrd="5" destOrd="0" presId="urn:microsoft.com/office/officeart/2005/8/layout/hChevron3"/>
    <dgm:cxn modelId="{8D9A8962-12AD-4155-B06F-A9821F3B82CF}" type="presParOf" srcId="{B2C26A8A-2443-4C02-8842-259CE6DFBE2A}" destId="{30718A47-861D-47C5-8621-0200AEBC2396}" srcOrd="6" destOrd="0" presId="urn:microsoft.com/office/officeart/2005/8/layout/hChevron3"/>
    <dgm:cxn modelId="{311B085B-3510-4B68-AA92-C672104A03E9}" type="presParOf" srcId="{B2C26A8A-2443-4C02-8842-259CE6DFBE2A}" destId="{009ABBFC-9803-446D-A57D-E3E3B6254D1D}" srcOrd="7" destOrd="0" presId="urn:microsoft.com/office/officeart/2005/8/layout/hChevron3"/>
    <dgm:cxn modelId="{A8482A24-10BD-4AE3-BD99-13D6FC5022D0}" type="presParOf" srcId="{B2C26A8A-2443-4C02-8842-259CE6DFBE2A}" destId="{B2E58550-562D-4FAE-B431-03550C0E97AB}" srcOrd="8"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7CC98BD-8323-43D0-8DE2-C0420E7D1812}" type="doc">
      <dgm:prSet loTypeId="urn:microsoft.com/office/officeart/2005/8/layout/hChevron3" loCatId="process" qsTypeId="urn:microsoft.com/office/officeart/2005/8/quickstyle/simple1" qsCatId="simple" csTypeId="urn:microsoft.com/office/officeart/2005/8/colors/accent1_2" csCatId="accent1" phldr="1"/>
      <dgm:spPr/>
    </dgm:pt>
    <dgm:pt modelId="{200FE610-2FC7-44A2-BCD0-F48F19895886}">
      <dgm:prSet phldrT="[Text]"/>
      <dgm:spPr>
        <a:solidFill>
          <a:schemeClr val="bg1">
            <a:lumMod val="85000"/>
          </a:schemeClr>
        </a:solidFill>
      </dgm:spPr>
      <dgm:t>
        <a:bodyPr/>
        <a:lstStyle/>
        <a:p>
          <a:r>
            <a:rPr lang="en-AU" dirty="0">
              <a:solidFill>
                <a:schemeClr val="tx1"/>
              </a:solidFill>
            </a:rPr>
            <a:t>Create </a:t>
          </a:r>
          <a:br>
            <a:rPr lang="en-AU" dirty="0">
              <a:solidFill>
                <a:schemeClr val="tx1"/>
              </a:solidFill>
            </a:rPr>
          </a:br>
          <a:r>
            <a:rPr lang="en-AU" dirty="0">
              <a:solidFill>
                <a:schemeClr val="tx1"/>
              </a:solidFill>
            </a:rPr>
            <a:t>queries</a:t>
          </a:r>
          <a:endParaRPr lang="en-US" dirty="0">
            <a:solidFill>
              <a:schemeClr val="tx1"/>
            </a:solidFill>
          </a:endParaRPr>
        </a:p>
      </dgm:t>
    </dgm:pt>
    <dgm:pt modelId="{B84F0008-9309-4447-80CF-DBE10A748444}" type="parTrans" cxnId="{E1F84C2C-0264-4E00-84F1-266B6DCC4799}">
      <dgm:prSet/>
      <dgm:spPr/>
      <dgm:t>
        <a:bodyPr/>
        <a:lstStyle/>
        <a:p>
          <a:endParaRPr lang="en-US">
            <a:solidFill>
              <a:schemeClr val="tx1"/>
            </a:solidFill>
          </a:endParaRPr>
        </a:p>
      </dgm:t>
    </dgm:pt>
    <dgm:pt modelId="{3583B078-FA2C-4975-894B-9CBF0E7F8A7E}" type="sibTrans" cxnId="{E1F84C2C-0264-4E00-84F1-266B6DCC4799}">
      <dgm:prSet/>
      <dgm:spPr/>
      <dgm:t>
        <a:bodyPr/>
        <a:lstStyle/>
        <a:p>
          <a:endParaRPr lang="en-US">
            <a:solidFill>
              <a:schemeClr val="tx1"/>
            </a:solidFill>
          </a:endParaRPr>
        </a:p>
      </dgm:t>
    </dgm:pt>
    <dgm:pt modelId="{698339C6-DFFB-44F5-8535-435AF45121B5}">
      <dgm:prSet phldrT="[Text]"/>
      <dgm:spPr>
        <a:solidFill>
          <a:srgbClr val="F2C812"/>
        </a:solidFill>
      </dgm:spPr>
      <dgm:t>
        <a:bodyPr/>
        <a:lstStyle/>
        <a:p>
          <a:r>
            <a:rPr lang="en-AU" dirty="0">
              <a:solidFill>
                <a:schemeClr val="tx1"/>
              </a:solidFill>
            </a:rPr>
            <a:t>Configure relationships</a:t>
          </a:r>
          <a:endParaRPr lang="en-US" dirty="0">
            <a:solidFill>
              <a:schemeClr val="tx1"/>
            </a:solidFill>
          </a:endParaRPr>
        </a:p>
      </dgm:t>
    </dgm:pt>
    <dgm:pt modelId="{BC9F25DB-799C-49BD-A510-955EF4C9F2CB}" type="parTrans" cxnId="{B383455D-6F63-466F-A5F2-542C7B470663}">
      <dgm:prSet/>
      <dgm:spPr/>
      <dgm:t>
        <a:bodyPr/>
        <a:lstStyle/>
        <a:p>
          <a:endParaRPr lang="en-US">
            <a:solidFill>
              <a:schemeClr val="tx1"/>
            </a:solidFill>
          </a:endParaRPr>
        </a:p>
      </dgm:t>
    </dgm:pt>
    <dgm:pt modelId="{773F8119-1B09-49AA-A131-45E6F8AAF428}" type="sibTrans" cxnId="{B383455D-6F63-466F-A5F2-542C7B470663}">
      <dgm:prSet/>
      <dgm:spPr/>
      <dgm:t>
        <a:bodyPr/>
        <a:lstStyle/>
        <a:p>
          <a:endParaRPr lang="en-US">
            <a:solidFill>
              <a:schemeClr val="tx1"/>
            </a:solidFill>
          </a:endParaRPr>
        </a:p>
      </dgm:t>
    </dgm:pt>
    <dgm:pt modelId="{1A1C5199-AAB0-451E-9C4B-E39596CF7AC7}">
      <dgm:prSet phldrT="[Text]"/>
      <dgm:spPr/>
      <dgm:t>
        <a:bodyPr/>
        <a:lstStyle/>
        <a:p>
          <a:r>
            <a:rPr lang="en-AU" dirty="0">
              <a:solidFill>
                <a:schemeClr val="tx1"/>
              </a:solidFill>
            </a:rPr>
            <a:t>Enhance the model</a:t>
          </a:r>
          <a:endParaRPr lang="en-US" dirty="0">
            <a:solidFill>
              <a:schemeClr val="tx1"/>
            </a:solidFill>
          </a:endParaRPr>
        </a:p>
      </dgm:t>
    </dgm:pt>
    <dgm:pt modelId="{CD7A2D38-1AE2-4B36-8261-B35B8D1AD607}" type="parTrans" cxnId="{ACA92FAD-8A3E-4258-A6D1-6321AD37F454}">
      <dgm:prSet/>
      <dgm:spPr/>
      <dgm:t>
        <a:bodyPr/>
        <a:lstStyle/>
        <a:p>
          <a:endParaRPr lang="en-US">
            <a:solidFill>
              <a:schemeClr val="tx1"/>
            </a:solidFill>
          </a:endParaRPr>
        </a:p>
      </dgm:t>
    </dgm:pt>
    <dgm:pt modelId="{26A5CFB2-67AF-403B-AF03-E265B76BAD45}" type="sibTrans" cxnId="{ACA92FAD-8A3E-4258-A6D1-6321AD37F454}">
      <dgm:prSet/>
      <dgm:spPr/>
      <dgm:t>
        <a:bodyPr/>
        <a:lstStyle/>
        <a:p>
          <a:endParaRPr lang="en-US">
            <a:solidFill>
              <a:schemeClr val="tx1"/>
            </a:solidFill>
          </a:endParaRPr>
        </a:p>
      </dgm:t>
    </dgm:pt>
    <dgm:pt modelId="{334FA073-4421-4C28-BE17-750C44613534}">
      <dgm:prSet phldrT="[Text]"/>
      <dgm:spPr/>
      <dgm:t>
        <a:bodyPr/>
        <a:lstStyle/>
        <a:p>
          <a:r>
            <a:rPr lang="en-AU" dirty="0">
              <a:solidFill>
                <a:schemeClr val="tx1"/>
              </a:solidFill>
            </a:rPr>
            <a:t>Design reports</a:t>
          </a:r>
          <a:endParaRPr lang="en-US" dirty="0">
            <a:solidFill>
              <a:schemeClr val="tx1"/>
            </a:solidFill>
          </a:endParaRPr>
        </a:p>
      </dgm:t>
    </dgm:pt>
    <dgm:pt modelId="{ED794177-0090-4A2D-A0CC-495332957E96}" type="parTrans" cxnId="{6DA88136-AE06-4229-B0B7-2CA6499D2B44}">
      <dgm:prSet/>
      <dgm:spPr/>
      <dgm:t>
        <a:bodyPr/>
        <a:lstStyle/>
        <a:p>
          <a:endParaRPr lang="en-US">
            <a:solidFill>
              <a:schemeClr val="tx1"/>
            </a:solidFill>
          </a:endParaRPr>
        </a:p>
      </dgm:t>
    </dgm:pt>
    <dgm:pt modelId="{D2F5A671-5C4F-4A92-B61B-1464FB632CFD}" type="sibTrans" cxnId="{6DA88136-AE06-4229-B0B7-2CA6499D2B44}">
      <dgm:prSet/>
      <dgm:spPr/>
      <dgm:t>
        <a:bodyPr/>
        <a:lstStyle/>
        <a:p>
          <a:endParaRPr lang="en-US">
            <a:solidFill>
              <a:schemeClr val="tx1"/>
            </a:solidFill>
          </a:endParaRPr>
        </a:p>
      </dgm:t>
    </dgm:pt>
    <dgm:pt modelId="{83E11522-A02B-4057-A54E-16391FD74C2E}">
      <dgm:prSet phldrT="[Text]"/>
      <dgm:spPr/>
      <dgm:t>
        <a:bodyPr/>
        <a:lstStyle/>
        <a:p>
          <a:r>
            <a:rPr lang="en-AU" dirty="0">
              <a:solidFill>
                <a:schemeClr val="tx1"/>
              </a:solidFill>
            </a:rPr>
            <a:t>Publish to Power BI</a:t>
          </a:r>
          <a:endParaRPr lang="en-US" dirty="0">
            <a:solidFill>
              <a:schemeClr val="tx1"/>
            </a:solidFill>
          </a:endParaRPr>
        </a:p>
      </dgm:t>
    </dgm:pt>
    <dgm:pt modelId="{E8CD118F-7F06-42B8-9ABD-D77A7DFCAF92}" type="parTrans" cxnId="{3B790106-5F1E-4A17-B42E-4E2121EB0FBE}">
      <dgm:prSet/>
      <dgm:spPr/>
      <dgm:t>
        <a:bodyPr/>
        <a:lstStyle/>
        <a:p>
          <a:endParaRPr lang="en-US">
            <a:solidFill>
              <a:schemeClr val="tx1"/>
            </a:solidFill>
          </a:endParaRPr>
        </a:p>
      </dgm:t>
    </dgm:pt>
    <dgm:pt modelId="{B4510547-F3C3-41AD-BDF9-8079B319D8A6}" type="sibTrans" cxnId="{3B790106-5F1E-4A17-B42E-4E2121EB0FBE}">
      <dgm:prSet/>
      <dgm:spPr/>
      <dgm:t>
        <a:bodyPr/>
        <a:lstStyle/>
        <a:p>
          <a:endParaRPr lang="en-US">
            <a:solidFill>
              <a:schemeClr val="tx1"/>
            </a:solidFill>
          </a:endParaRPr>
        </a:p>
      </dgm:t>
    </dgm:pt>
    <dgm:pt modelId="{B2C26A8A-2443-4C02-8842-259CE6DFBE2A}" type="pres">
      <dgm:prSet presAssocID="{E7CC98BD-8323-43D0-8DE2-C0420E7D1812}" presName="Name0" presStyleCnt="0">
        <dgm:presLayoutVars>
          <dgm:dir/>
          <dgm:resizeHandles val="exact"/>
        </dgm:presLayoutVars>
      </dgm:prSet>
      <dgm:spPr/>
    </dgm:pt>
    <dgm:pt modelId="{97492F20-71A7-46BA-9053-9A55B497D836}" type="pres">
      <dgm:prSet presAssocID="{200FE610-2FC7-44A2-BCD0-F48F19895886}" presName="parTxOnly" presStyleLbl="node1" presStyleIdx="0" presStyleCnt="5">
        <dgm:presLayoutVars>
          <dgm:bulletEnabled val="1"/>
        </dgm:presLayoutVars>
      </dgm:prSet>
      <dgm:spPr/>
    </dgm:pt>
    <dgm:pt modelId="{252D45A8-2AF0-47B2-AEF2-334BD4E3CD7E}" type="pres">
      <dgm:prSet presAssocID="{3583B078-FA2C-4975-894B-9CBF0E7F8A7E}" presName="parSpace" presStyleCnt="0"/>
      <dgm:spPr/>
    </dgm:pt>
    <dgm:pt modelId="{6AA26656-9EB2-4541-BA04-C2122D0DC9D7}" type="pres">
      <dgm:prSet presAssocID="{698339C6-DFFB-44F5-8535-435AF45121B5}" presName="parTxOnly" presStyleLbl="node1" presStyleIdx="1" presStyleCnt="5">
        <dgm:presLayoutVars>
          <dgm:bulletEnabled val="1"/>
        </dgm:presLayoutVars>
      </dgm:prSet>
      <dgm:spPr/>
    </dgm:pt>
    <dgm:pt modelId="{71BB7CA4-88ED-4751-9A3E-68BD598B3E9F}" type="pres">
      <dgm:prSet presAssocID="{773F8119-1B09-49AA-A131-45E6F8AAF428}" presName="parSpace" presStyleCnt="0"/>
      <dgm:spPr/>
    </dgm:pt>
    <dgm:pt modelId="{4146E3F4-AF68-452B-8B57-6FCE6C865806}" type="pres">
      <dgm:prSet presAssocID="{1A1C5199-AAB0-451E-9C4B-E39596CF7AC7}" presName="parTxOnly" presStyleLbl="node1" presStyleIdx="2" presStyleCnt="5">
        <dgm:presLayoutVars>
          <dgm:bulletEnabled val="1"/>
        </dgm:presLayoutVars>
      </dgm:prSet>
      <dgm:spPr/>
    </dgm:pt>
    <dgm:pt modelId="{3281581F-FC1C-4DC5-B774-2D6B0A3F4122}" type="pres">
      <dgm:prSet presAssocID="{26A5CFB2-67AF-403B-AF03-E265B76BAD45}" presName="parSpace" presStyleCnt="0"/>
      <dgm:spPr/>
    </dgm:pt>
    <dgm:pt modelId="{30718A47-861D-47C5-8621-0200AEBC2396}" type="pres">
      <dgm:prSet presAssocID="{334FA073-4421-4C28-BE17-750C44613534}" presName="parTxOnly" presStyleLbl="node1" presStyleIdx="3" presStyleCnt="5">
        <dgm:presLayoutVars>
          <dgm:bulletEnabled val="1"/>
        </dgm:presLayoutVars>
      </dgm:prSet>
      <dgm:spPr/>
    </dgm:pt>
    <dgm:pt modelId="{009ABBFC-9803-446D-A57D-E3E3B6254D1D}" type="pres">
      <dgm:prSet presAssocID="{D2F5A671-5C4F-4A92-B61B-1464FB632CFD}" presName="parSpace" presStyleCnt="0"/>
      <dgm:spPr/>
    </dgm:pt>
    <dgm:pt modelId="{B2E58550-562D-4FAE-B431-03550C0E97AB}" type="pres">
      <dgm:prSet presAssocID="{83E11522-A02B-4057-A54E-16391FD74C2E}" presName="parTxOnly" presStyleLbl="node1" presStyleIdx="4" presStyleCnt="5">
        <dgm:presLayoutVars>
          <dgm:bulletEnabled val="1"/>
        </dgm:presLayoutVars>
      </dgm:prSet>
      <dgm:spPr/>
    </dgm:pt>
  </dgm:ptLst>
  <dgm:cxnLst>
    <dgm:cxn modelId="{4E1B0F49-FFAA-4BAF-813A-3F8E24C40351}" type="presOf" srcId="{698339C6-DFFB-44F5-8535-435AF45121B5}" destId="{6AA26656-9EB2-4541-BA04-C2122D0DC9D7}" srcOrd="0" destOrd="0" presId="urn:microsoft.com/office/officeart/2005/8/layout/hChevron3"/>
    <dgm:cxn modelId="{0A2074C1-543A-4C1C-87DF-892B4EDF9B1A}" type="presOf" srcId="{E7CC98BD-8323-43D0-8DE2-C0420E7D1812}" destId="{B2C26A8A-2443-4C02-8842-259CE6DFBE2A}" srcOrd="0" destOrd="0" presId="urn:microsoft.com/office/officeart/2005/8/layout/hChevron3"/>
    <dgm:cxn modelId="{890D3F3D-5352-4D30-BF59-E643224E9A29}" type="presOf" srcId="{200FE610-2FC7-44A2-BCD0-F48F19895886}" destId="{97492F20-71A7-46BA-9053-9A55B497D836}" srcOrd="0" destOrd="0" presId="urn:microsoft.com/office/officeart/2005/8/layout/hChevron3"/>
    <dgm:cxn modelId="{3B790106-5F1E-4A17-B42E-4E2121EB0FBE}" srcId="{E7CC98BD-8323-43D0-8DE2-C0420E7D1812}" destId="{83E11522-A02B-4057-A54E-16391FD74C2E}" srcOrd="4" destOrd="0" parTransId="{E8CD118F-7F06-42B8-9ABD-D77A7DFCAF92}" sibTransId="{B4510547-F3C3-41AD-BDF9-8079B319D8A6}"/>
    <dgm:cxn modelId="{ACA92FAD-8A3E-4258-A6D1-6321AD37F454}" srcId="{E7CC98BD-8323-43D0-8DE2-C0420E7D1812}" destId="{1A1C5199-AAB0-451E-9C4B-E39596CF7AC7}" srcOrd="2" destOrd="0" parTransId="{CD7A2D38-1AE2-4B36-8261-B35B8D1AD607}" sibTransId="{26A5CFB2-67AF-403B-AF03-E265B76BAD45}"/>
    <dgm:cxn modelId="{863DEFD5-AEB8-4BED-9FE3-2FE336870892}" type="presOf" srcId="{83E11522-A02B-4057-A54E-16391FD74C2E}" destId="{B2E58550-562D-4FAE-B431-03550C0E97AB}" srcOrd="0" destOrd="0" presId="urn:microsoft.com/office/officeart/2005/8/layout/hChevron3"/>
    <dgm:cxn modelId="{1040910F-873C-4890-AA6B-E029B880D66E}" type="presOf" srcId="{334FA073-4421-4C28-BE17-750C44613534}" destId="{30718A47-861D-47C5-8621-0200AEBC2396}" srcOrd="0" destOrd="0" presId="urn:microsoft.com/office/officeart/2005/8/layout/hChevron3"/>
    <dgm:cxn modelId="{6DA88136-AE06-4229-B0B7-2CA6499D2B44}" srcId="{E7CC98BD-8323-43D0-8DE2-C0420E7D1812}" destId="{334FA073-4421-4C28-BE17-750C44613534}" srcOrd="3" destOrd="0" parTransId="{ED794177-0090-4A2D-A0CC-495332957E96}" sibTransId="{D2F5A671-5C4F-4A92-B61B-1464FB632CFD}"/>
    <dgm:cxn modelId="{E1F84C2C-0264-4E00-84F1-266B6DCC4799}" srcId="{E7CC98BD-8323-43D0-8DE2-C0420E7D1812}" destId="{200FE610-2FC7-44A2-BCD0-F48F19895886}" srcOrd="0" destOrd="0" parTransId="{B84F0008-9309-4447-80CF-DBE10A748444}" sibTransId="{3583B078-FA2C-4975-894B-9CBF0E7F8A7E}"/>
    <dgm:cxn modelId="{B383455D-6F63-466F-A5F2-542C7B470663}" srcId="{E7CC98BD-8323-43D0-8DE2-C0420E7D1812}" destId="{698339C6-DFFB-44F5-8535-435AF45121B5}" srcOrd="1" destOrd="0" parTransId="{BC9F25DB-799C-49BD-A510-955EF4C9F2CB}" sibTransId="{773F8119-1B09-49AA-A131-45E6F8AAF428}"/>
    <dgm:cxn modelId="{63F065F4-4C5A-4865-8E33-B6E3D685B746}" type="presOf" srcId="{1A1C5199-AAB0-451E-9C4B-E39596CF7AC7}" destId="{4146E3F4-AF68-452B-8B57-6FCE6C865806}" srcOrd="0" destOrd="0" presId="urn:microsoft.com/office/officeart/2005/8/layout/hChevron3"/>
    <dgm:cxn modelId="{255C29D8-34A0-4C07-BEF7-F9F66A564743}" type="presParOf" srcId="{B2C26A8A-2443-4C02-8842-259CE6DFBE2A}" destId="{97492F20-71A7-46BA-9053-9A55B497D836}" srcOrd="0" destOrd="0" presId="urn:microsoft.com/office/officeart/2005/8/layout/hChevron3"/>
    <dgm:cxn modelId="{DCF4A8CE-B767-41EB-BAF5-25A6D3E4B43E}" type="presParOf" srcId="{B2C26A8A-2443-4C02-8842-259CE6DFBE2A}" destId="{252D45A8-2AF0-47B2-AEF2-334BD4E3CD7E}" srcOrd="1" destOrd="0" presId="urn:microsoft.com/office/officeart/2005/8/layout/hChevron3"/>
    <dgm:cxn modelId="{874EE93D-B098-4DD0-A39F-23971940E1D2}" type="presParOf" srcId="{B2C26A8A-2443-4C02-8842-259CE6DFBE2A}" destId="{6AA26656-9EB2-4541-BA04-C2122D0DC9D7}" srcOrd="2" destOrd="0" presId="urn:microsoft.com/office/officeart/2005/8/layout/hChevron3"/>
    <dgm:cxn modelId="{B724A478-7EFA-4FDC-ACD2-D7F021D08F11}" type="presParOf" srcId="{B2C26A8A-2443-4C02-8842-259CE6DFBE2A}" destId="{71BB7CA4-88ED-4751-9A3E-68BD598B3E9F}" srcOrd="3" destOrd="0" presId="urn:microsoft.com/office/officeart/2005/8/layout/hChevron3"/>
    <dgm:cxn modelId="{9CACE6C4-1F44-40E7-9948-B80D37072E59}" type="presParOf" srcId="{B2C26A8A-2443-4C02-8842-259CE6DFBE2A}" destId="{4146E3F4-AF68-452B-8B57-6FCE6C865806}" srcOrd="4" destOrd="0" presId="urn:microsoft.com/office/officeart/2005/8/layout/hChevron3"/>
    <dgm:cxn modelId="{EE569D06-C8CF-48A8-8CCD-330DD7E96E7E}" type="presParOf" srcId="{B2C26A8A-2443-4C02-8842-259CE6DFBE2A}" destId="{3281581F-FC1C-4DC5-B774-2D6B0A3F4122}" srcOrd="5" destOrd="0" presId="urn:microsoft.com/office/officeart/2005/8/layout/hChevron3"/>
    <dgm:cxn modelId="{8358EBB8-D769-4AF4-951E-6B01407A822F}" type="presParOf" srcId="{B2C26A8A-2443-4C02-8842-259CE6DFBE2A}" destId="{30718A47-861D-47C5-8621-0200AEBC2396}" srcOrd="6" destOrd="0" presId="urn:microsoft.com/office/officeart/2005/8/layout/hChevron3"/>
    <dgm:cxn modelId="{DB951D58-3E51-4806-8BCD-CA71EE008C1A}" type="presParOf" srcId="{B2C26A8A-2443-4C02-8842-259CE6DFBE2A}" destId="{009ABBFC-9803-446D-A57D-E3E3B6254D1D}" srcOrd="7" destOrd="0" presId="urn:microsoft.com/office/officeart/2005/8/layout/hChevron3"/>
    <dgm:cxn modelId="{2FC1113E-637C-41FA-A70C-352CC359E284}" type="presParOf" srcId="{B2C26A8A-2443-4C02-8842-259CE6DFBE2A}" destId="{B2E58550-562D-4FAE-B431-03550C0E97AB}" srcOrd="8" destOrd="0" presId="urn:microsoft.com/office/officeart/2005/8/layout/hChevro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7CC98BD-8323-43D0-8DE2-C0420E7D1812}" type="doc">
      <dgm:prSet loTypeId="urn:microsoft.com/office/officeart/2005/8/layout/hChevron3" loCatId="process" qsTypeId="urn:microsoft.com/office/officeart/2005/8/quickstyle/simple1" qsCatId="simple" csTypeId="urn:microsoft.com/office/officeart/2005/8/colors/accent1_2" csCatId="accent1" phldr="1"/>
      <dgm:spPr/>
    </dgm:pt>
    <dgm:pt modelId="{200FE610-2FC7-44A2-BCD0-F48F19895886}">
      <dgm:prSet phldrT="[Text]"/>
      <dgm:spPr>
        <a:solidFill>
          <a:schemeClr val="bg1">
            <a:lumMod val="85000"/>
          </a:schemeClr>
        </a:solidFill>
      </dgm:spPr>
      <dgm:t>
        <a:bodyPr/>
        <a:lstStyle/>
        <a:p>
          <a:r>
            <a:rPr lang="en-AU" dirty="0">
              <a:solidFill>
                <a:schemeClr val="tx1"/>
              </a:solidFill>
            </a:rPr>
            <a:t>Create </a:t>
          </a:r>
          <a:br>
            <a:rPr lang="en-AU" dirty="0">
              <a:solidFill>
                <a:schemeClr val="tx1"/>
              </a:solidFill>
            </a:rPr>
          </a:br>
          <a:r>
            <a:rPr lang="en-AU" dirty="0">
              <a:solidFill>
                <a:schemeClr val="tx1"/>
              </a:solidFill>
            </a:rPr>
            <a:t>queries</a:t>
          </a:r>
          <a:endParaRPr lang="en-US" dirty="0">
            <a:solidFill>
              <a:schemeClr val="tx1"/>
            </a:solidFill>
          </a:endParaRPr>
        </a:p>
      </dgm:t>
    </dgm:pt>
    <dgm:pt modelId="{B84F0008-9309-4447-80CF-DBE10A748444}" type="parTrans" cxnId="{E1F84C2C-0264-4E00-84F1-266B6DCC4799}">
      <dgm:prSet/>
      <dgm:spPr/>
      <dgm:t>
        <a:bodyPr/>
        <a:lstStyle/>
        <a:p>
          <a:endParaRPr lang="en-US">
            <a:solidFill>
              <a:schemeClr val="tx1"/>
            </a:solidFill>
          </a:endParaRPr>
        </a:p>
      </dgm:t>
    </dgm:pt>
    <dgm:pt modelId="{3583B078-FA2C-4975-894B-9CBF0E7F8A7E}" type="sibTrans" cxnId="{E1F84C2C-0264-4E00-84F1-266B6DCC4799}">
      <dgm:prSet/>
      <dgm:spPr/>
      <dgm:t>
        <a:bodyPr/>
        <a:lstStyle/>
        <a:p>
          <a:endParaRPr lang="en-US">
            <a:solidFill>
              <a:schemeClr val="tx1"/>
            </a:solidFill>
          </a:endParaRPr>
        </a:p>
      </dgm:t>
    </dgm:pt>
    <dgm:pt modelId="{698339C6-DFFB-44F5-8535-435AF45121B5}">
      <dgm:prSet phldrT="[Text]"/>
      <dgm:spPr>
        <a:solidFill>
          <a:schemeClr val="bg1">
            <a:lumMod val="85000"/>
          </a:schemeClr>
        </a:solidFill>
      </dgm:spPr>
      <dgm:t>
        <a:bodyPr/>
        <a:lstStyle/>
        <a:p>
          <a:r>
            <a:rPr lang="en-AU" dirty="0">
              <a:solidFill>
                <a:schemeClr val="tx1"/>
              </a:solidFill>
            </a:rPr>
            <a:t>Configure relationships</a:t>
          </a:r>
          <a:endParaRPr lang="en-US" dirty="0">
            <a:solidFill>
              <a:schemeClr val="tx1"/>
            </a:solidFill>
          </a:endParaRPr>
        </a:p>
      </dgm:t>
    </dgm:pt>
    <dgm:pt modelId="{BC9F25DB-799C-49BD-A510-955EF4C9F2CB}" type="parTrans" cxnId="{B383455D-6F63-466F-A5F2-542C7B470663}">
      <dgm:prSet/>
      <dgm:spPr/>
      <dgm:t>
        <a:bodyPr/>
        <a:lstStyle/>
        <a:p>
          <a:endParaRPr lang="en-US">
            <a:solidFill>
              <a:schemeClr val="tx1"/>
            </a:solidFill>
          </a:endParaRPr>
        </a:p>
      </dgm:t>
    </dgm:pt>
    <dgm:pt modelId="{773F8119-1B09-49AA-A131-45E6F8AAF428}" type="sibTrans" cxnId="{B383455D-6F63-466F-A5F2-542C7B470663}">
      <dgm:prSet/>
      <dgm:spPr/>
      <dgm:t>
        <a:bodyPr/>
        <a:lstStyle/>
        <a:p>
          <a:endParaRPr lang="en-US">
            <a:solidFill>
              <a:schemeClr val="tx1"/>
            </a:solidFill>
          </a:endParaRPr>
        </a:p>
      </dgm:t>
    </dgm:pt>
    <dgm:pt modelId="{1A1C5199-AAB0-451E-9C4B-E39596CF7AC7}">
      <dgm:prSet phldrT="[Text]"/>
      <dgm:spPr>
        <a:solidFill>
          <a:srgbClr val="F2C812"/>
        </a:solidFill>
      </dgm:spPr>
      <dgm:t>
        <a:bodyPr/>
        <a:lstStyle/>
        <a:p>
          <a:r>
            <a:rPr lang="en-AU" dirty="0">
              <a:solidFill>
                <a:schemeClr val="tx1"/>
              </a:solidFill>
            </a:rPr>
            <a:t>Enhance the model</a:t>
          </a:r>
          <a:endParaRPr lang="en-US" dirty="0">
            <a:solidFill>
              <a:schemeClr val="tx1"/>
            </a:solidFill>
          </a:endParaRPr>
        </a:p>
      </dgm:t>
    </dgm:pt>
    <dgm:pt modelId="{CD7A2D38-1AE2-4B36-8261-B35B8D1AD607}" type="parTrans" cxnId="{ACA92FAD-8A3E-4258-A6D1-6321AD37F454}">
      <dgm:prSet/>
      <dgm:spPr/>
      <dgm:t>
        <a:bodyPr/>
        <a:lstStyle/>
        <a:p>
          <a:endParaRPr lang="en-US">
            <a:solidFill>
              <a:schemeClr val="tx1"/>
            </a:solidFill>
          </a:endParaRPr>
        </a:p>
      </dgm:t>
    </dgm:pt>
    <dgm:pt modelId="{26A5CFB2-67AF-403B-AF03-E265B76BAD45}" type="sibTrans" cxnId="{ACA92FAD-8A3E-4258-A6D1-6321AD37F454}">
      <dgm:prSet/>
      <dgm:spPr/>
      <dgm:t>
        <a:bodyPr/>
        <a:lstStyle/>
        <a:p>
          <a:endParaRPr lang="en-US">
            <a:solidFill>
              <a:schemeClr val="tx1"/>
            </a:solidFill>
          </a:endParaRPr>
        </a:p>
      </dgm:t>
    </dgm:pt>
    <dgm:pt modelId="{334FA073-4421-4C28-BE17-750C44613534}">
      <dgm:prSet phldrT="[Text]"/>
      <dgm:spPr/>
      <dgm:t>
        <a:bodyPr/>
        <a:lstStyle/>
        <a:p>
          <a:r>
            <a:rPr lang="en-AU" dirty="0">
              <a:solidFill>
                <a:schemeClr val="tx1"/>
              </a:solidFill>
            </a:rPr>
            <a:t>Design reports</a:t>
          </a:r>
          <a:endParaRPr lang="en-US" dirty="0">
            <a:solidFill>
              <a:schemeClr val="tx1"/>
            </a:solidFill>
          </a:endParaRPr>
        </a:p>
      </dgm:t>
    </dgm:pt>
    <dgm:pt modelId="{ED794177-0090-4A2D-A0CC-495332957E96}" type="parTrans" cxnId="{6DA88136-AE06-4229-B0B7-2CA6499D2B44}">
      <dgm:prSet/>
      <dgm:spPr/>
      <dgm:t>
        <a:bodyPr/>
        <a:lstStyle/>
        <a:p>
          <a:endParaRPr lang="en-US">
            <a:solidFill>
              <a:schemeClr val="tx1"/>
            </a:solidFill>
          </a:endParaRPr>
        </a:p>
      </dgm:t>
    </dgm:pt>
    <dgm:pt modelId="{D2F5A671-5C4F-4A92-B61B-1464FB632CFD}" type="sibTrans" cxnId="{6DA88136-AE06-4229-B0B7-2CA6499D2B44}">
      <dgm:prSet/>
      <dgm:spPr/>
      <dgm:t>
        <a:bodyPr/>
        <a:lstStyle/>
        <a:p>
          <a:endParaRPr lang="en-US">
            <a:solidFill>
              <a:schemeClr val="tx1"/>
            </a:solidFill>
          </a:endParaRPr>
        </a:p>
      </dgm:t>
    </dgm:pt>
    <dgm:pt modelId="{83E11522-A02B-4057-A54E-16391FD74C2E}">
      <dgm:prSet phldrT="[Text]"/>
      <dgm:spPr/>
      <dgm:t>
        <a:bodyPr/>
        <a:lstStyle/>
        <a:p>
          <a:r>
            <a:rPr lang="en-AU" dirty="0">
              <a:solidFill>
                <a:schemeClr val="tx1"/>
              </a:solidFill>
            </a:rPr>
            <a:t>Publish to Power BI</a:t>
          </a:r>
          <a:endParaRPr lang="en-US" dirty="0">
            <a:solidFill>
              <a:schemeClr val="tx1"/>
            </a:solidFill>
          </a:endParaRPr>
        </a:p>
      </dgm:t>
    </dgm:pt>
    <dgm:pt modelId="{E8CD118F-7F06-42B8-9ABD-D77A7DFCAF92}" type="parTrans" cxnId="{3B790106-5F1E-4A17-B42E-4E2121EB0FBE}">
      <dgm:prSet/>
      <dgm:spPr/>
      <dgm:t>
        <a:bodyPr/>
        <a:lstStyle/>
        <a:p>
          <a:endParaRPr lang="en-US">
            <a:solidFill>
              <a:schemeClr val="tx1"/>
            </a:solidFill>
          </a:endParaRPr>
        </a:p>
      </dgm:t>
    </dgm:pt>
    <dgm:pt modelId="{B4510547-F3C3-41AD-BDF9-8079B319D8A6}" type="sibTrans" cxnId="{3B790106-5F1E-4A17-B42E-4E2121EB0FBE}">
      <dgm:prSet/>
      <dgm:spPr/>
      <dgm:t>
        <a:bodyPr/>
        <a:lstStyle/>
        <a:p>
          <a:endParaRPr lang="en-US">
            <a:solidFill>
              <a:schemeClr val="tx1"/>
            </a:solidFill>
          </a:endParaRPr>
        </a:p>
      </dgm:t>
    </dgm:pt>
    <dgm:pt modelId="{B2C26A8A-2443-4C02-8842-259CE6DFBE2A}" type="pres">
      <dgm:prSet presAssocID="{E7CC98BD-8323-43D0-8DE2-C0420E7D1812}" presName="Name0" presStyleCnt="0">
        <dgm:presLayoutVars>
          <dgm:dir/>
          <dgm:resizeHandles val="exact"/>
        </dgm:presLayoutVars>
      </dgm:prSet>
      <dgm:spPr/>
    </dgm:pt>
    <dgm:pt modelId="{97492F20-71A7-46BA-9053-9A55B497D836}" type="pres">
      <dgm:prSet presAssocID="{200FE610-2FC7-44A2-BCD0-F48F19895886}" presName="parTxOnly" presStyleLbl="node1" presStyleIdx="0" presStyleCnt="5">
        <dgm:presLayoutVars>
          <dgm:bulletEnabled val="1"/>
        </dgm:presLayoutVars>
      </dgm:prSet>
      <dgm:spPr/>
    </dgm:pt>
    <dgm:pt modelId="{252D45A8-2AF0-47B2-AEF2-334BD4E3CD7E}" type="pres">
      <dgm:prSet presAssocID="{3583B078-FA2C-4975-894B-9CBF0E7F8A7E}" presName="parSpace" presStyleCnt="0"/>
      <dgm:spPr/>
    </dgm:pt>
    <dgm:pt modelId="{6AA26656-9EB2-4541-BA04-C2122D0DC9D7}" type="pres">
      <dgm:prSet presAssocID="{698339C6-DFFB-44F5-8535-435AF45121B5}" presName="parTxOnly" presStyleLbl="node1" presStyleIdx="1" presStyleCnt="5">
        <dgm:presLayoutVars>
          <dgm:bulletEnabled val="1"/>
        </dgm:presLayoutVars>
      </dgm:prSet>
      <dgm:spPr/>
    </dgm:pt>
    <dgm:pt modelId="{71BB7CA4-88ED-4751-9A3E-68BD598B3E9F}" type="pres">
      <dgm:prSet presAssocID="{773F8119-1B09-49AA-A131-45E6F8AAF428}" presName="parSpace" presStyleCnt="0"/>
      <dgm:spPr/>
    </dgm:pt>
    <dgm:pt modelId="{4146E3F4-AF68-452B-8B57-6FCE6C865806}" type="pres">
      <dgm:prSet presAssocID="{1A1C5199-AAB0-451E-9C4B-E39596CF7AC7}" presName="parTxOnly" presStyleLbl="node1" presStyleIdx="2" presStyleCnt="5">
        <dgm:presLayoutVars>
          <dgm:bulletEnabled val="1"/>
        </dgm:presLayoutVars>
      </dgm:prSet>
      <dgm:spPr/>
    </dgm:pt>
    <dgm:pt modelId="{3281581F-FC1C-4DC5-B774-2D6B0A3F4122}" type="pres">
      <dgm:prSet presAssocID="{26A5CFB2-67AF-403B-AF03-E265B76BAD45}" presName="parSpace" presStyleCnt="0"/>
      <dgm:spPr/>
    </dgm:pt>
    <dgm:pt modelId="{30718A47-861D-47C5-8621-0200AEBC2396}" type="pres">
      <dgm:prSet presAssocID="{334FA073-4421-4C28-BE17-750C44613534}" presName="parTxOnly" presStyleLbl="node1" presStyleIdx="3" presStyleCnt="5">
        <dgm:presLayoutVars>
          <dgm:bulletEnabled val="1"/>
        </dgm:presLayoutVars>
      </dgm:prSet>
      <dgm:spPr/>
    </dgm:pt>
    <dgm:pt modelId="{009ABBFC-9803-446D-A57D-E3E3B6254D1D}" type="pres">
      <dgm:prSet presAssocID="{D2F5A671-5C4F-4A92-B61B-1464FB632CFD}" presName="parSpace" presStyleCnt="0"/>
      <dgm:spPr/>
    </dgm:pt>
    <dgm:pt modelId="{B2E58550-562D-4FAE-B431-03550C0E97AB}" type="pres">
      <dgm:prSet presAssocID="{83E11522-A02B-4057-A54E-16391FD74C2E}" presName="parTxOnly" presStyleLbl="node1" presStyleIdx="4" presStyleCnt="5">
        <dgm:presLayoutVars>
          <dgm:bulletEnabled val="1"/>
        </dgm:presLayoutVars>
      </dgm:prSet>
      <dgm:spPr/>
    </dgm:pt>
  </dgm:ptLst>
  <dgm:cxnLst>
    <dgm:cxn modelId="{91CA1C22-7D18-4F01-B9CD-9E1F3581ED98}" type="presOf" srcId="{200FE610-2FC7-44A2-BCD0-F48F19895886}" destId="{97492F20-71A7-46BA-9053-9A55B497D836}" srcOrd="0" destOrd="0" presId="urn:microsoft.com/office/officeart/2005/8/layout/hChevron3"/>
    <dgm:cxn modelId="{3B790106-5F1E-4A17-B42E-4E2121EB0FBE}" srcId="{E7CC98BD-8323-43D0-8DE2-C0420E7D1812}" destId="{83E11522-A02B-4057-A54E-16391FD74C2E}" srcOrd="4" destOrd="0" parTransId="{E8CD118F-7F06-42B8-9ABD-D77A7DFCAF92}" sibTransId="{B4510547-F3C3-41AD-BDF9-8079B319D8A6}"/>
    <dgm:cxn modelId="{D9F29C15-335C-4678-8082-5BB20E508305}" type="presOf" srcId="{83E11522-A02B-4057-A54E-16391FD74C2E}" destId="{B2E58550-562D-4FAE-B431-03550C0E97AB}" srcOrd="0" destOrd="0" presId="urn:microsoft.com/office/officeart/2005/8/layout/hChevron3"/>
    <dgm:cxn modelId="{55D1B0AE-ABC5-4D38-B53F-C5B7B0442E53}" type="presOf" srcId="{E7CC98BD-8323-43D0-8DE2-C0420E7D1812}" destId="{B2C26A8A-2443-4C02-8842-259CE6DFBE2A}" srcOrd="0" destOrd="0" presId="urn:microsoft.com/office/officeart/2005/8/layout/hChevron3"/>
    <dgm:cxn modelId="{ACA92FAD-8A3E-4258-A6D1-6321AD37F454}" srcId="{E7CC98BD-8323-43D0-8DE2-C0420E7D1812}" destId="{1A1C5199-AAB0-451E-9C4B-E39596CF7AC7}" srcOrd="2" destOrd="0" parTransId="{CD7A2D38-1AE2-4B36-8261-B35B8D1AD607}" sibTransId="{26A5CFB2-67AF-403B-AF03-E265B76BAD45}"/>
    <dgm:cxn modelId="{6DA88136-AE06-4229-B0B7-2CA6499D2B44}" srcId="{E7CC98BD-8323-43D0-8DE2-C0420E7D1812}" destId="{334FA073-4421-4C28-BE17-750C44613534}" srcOrd="3" destOrd="0" parTransId="{ED794177-0090-4A2D-A0CC-495332957E96}" sibTransId="{D2F5A671-5C4F-4A92-B61B-1464FB632CFD}"/>
    <dgm:cxn modelId="{2B80CFBA-3583-4A75-9EC5-ED0A0AF4CCDE}" type="presOf" srcId="{1A1C5199-AAB0-451E-9C4B-E39596CF7AC7}" destId="{4146E3F4-AF68-452B-8B57-6FCE6C865806}" srcOrd="0" destOrd="0" presId="urn:microsoft.com/office/officeart/2005/8/layout/hChevron3"/>
    <dgm:cxn modelId="{E1F84C2C-0264-4E00-84F1-266B6DCC4799}" srcId="{E7CC98BD-8323-43D0-8DE2-C0420E7D1812}" destId="{200FE610-2FC7-44A2-BCD0-F48F19895886}" srcOrd="0" destOrd="0" parTransId="{B84F0008-9309-4447-80CF-DBE10A748444}" sibTransId="{3583B078-FA2C-4975-894B-9CBF0E7F8A7E}"/>
    <dgm:cxn modelId="{C037A602-25D1-4529-A69A-5792173DBF44}" type="presOf" srcId="{334FA073-4421-4C28-BE17-750C44613534}" destId="{30718A47-861D-47C5-8621-0200AEBC2396}" srcOrd="0" destOrd="0" presId="urn:microsoft.com/office/officeart/2005/8/layout/hChevron3"/>
    <dgm:cxn modelId="{B383455D-6F63-466F-A5F2-542C7B470663}" srcId="{E7CC98BD-8323-43D0-8DE2-C0420E7D1812}" destId="{698339C6-DFFB-44F5-8535-435AF45121B5}" srcOrd="1" destOrd="0" parTransId="{BC9F25DB-799C-49BD-A510-955EF4C9F2CB}" sibTransId="{773F8119-1B09-49AA-A131-45E6F8AAF428}"/>
    <dgm:cxn modelId="{AE0F2F02-06A6-491D-9AFA-FA9879C1E3A2}" type="presOf" srcId="{698339C6-DFFB-44F5-8535-435AF45121B5}" destId="{6AA26656-9EB2-4541-BA04-C2122D0DC9D7}" srcOrd="0" destOrd="0" presId="urn:microsoft.com/office/officeart/2005/8/layout/hChevron3"/>
    <dgm:cxn modelId="{FEEA8F41-E061-4A3B-BEC2-F7BE6E7C0B85}" type="presParOf" srcId="{B2C26A8A-2443-4C02-8842-259CE6DFBE2A}" destId="{97492F20-71A7-46BA-9053-9A55B497D836}" srcOrd="0" destOrd="0" presId="urn:microsoft.com/office/officeart/2005/8/layout/hChevron3"/>
    <dgm:cxn modelId="{663275C2-80D4-44D4-87E9-F907C94E24E6}" type="presParOf" srcId="{B2C26A8A-2443-4C02-8842-259CE6DFBE2A}" destId="{252D45A8-2AF0-47B2-AEF2-334BD4E3CD7E}" srcOrd="1" destOrd="0" presId="urn:microsoft.com/office/officeart/2005/8/layout/hChevron3"/>
    <dgm:cxn modelId="{735CB68E-793F-458A-8C1B-AF48F96B21EF}" type="presParOf" srcId="{B2C26A8A-2443-4C02-8842-259CE6DFBE2A}" destId="{6AA26656-9EB2-4541-BA04-C2122D0DC9D7}" srcOrd="2" destOrd="0" presId="urn:microsoft.com/office/officeart/2005/8/layout/hChevron3"/>
    <dgm:cxn modelId="{6AF18CC8-3129-449A-849C-B993068FBDAB}" type="presParOf" srcId="{B2C26A8A-2443-4C02-8842-259CE6DFBE2A}" destId="{71BB7CA4-88ED-4751-9A3E-68BD598B3E9F}" srcOrd="3" destOrd="0" presId="urn:microsoft.com/office/officeart/2005/8/layout/hChevron3"/>
    <dgm:cxn modelId="{6F3EC977-486B-4332-8534-26DB1535E9E4}" type="presParOf" srcId="{B2C26A8A-2443-4C02-8842-259CE6DFBE2A}" destId="{4146E3F4-AF68-452B-8B57-6FCE6C865806}" srcOrd="4" destOrd="0" presId="urn:microsoft.com/office/officeart/2005/8/layout/hChevron3"/>
    <dgm:cxn modelId="{A156C2D9-8351-4A00-97F7-DEC4328CEA51}" type="presParOf" srcId="{B2C26A8A-2443-4C02-8842-259CE6DFBE2A}" destId="{3281581F-FC1C-4DC5-B774-2D6B0A3F4122}" srcOrd="5" destOrd="0" presId="urn:microsoft.com/office/officeart/2005/8/layout/hChevron3"/>
    <dgm:cxn modelId="{FFEBE672-D567-4027-AD22-0E4C7F595700}" type="presParOf" srcId="{B2C26A8A-2443-4C02-8842-259CE6DFBE2A}" destId="{30718A47-861D-47C5-8621-0200AEBC2396}" srcOrd="6" destOrd="0" presId="urn:microsoft.com/office/officeart/2005/8/layout/hChevron3"/>
    <dgm:cxn modelId="{2980FCA6-F28F-445D-8370-8CC85DFE4B69}" type="presParOf" srcId="{B2C26A8A-2443-4C02-8842-259CE6DFBE2A}" destId="{009ABBFC-9803-446D-A57D-E3E3B6254D1D}" srcOrd="7" destOrd="0" presId="urn:microsoft.com/office/officeart/2005/8/layout/hChevron3"/>
    <dgm:cxn modelId="{4DE3433C-1B8D-4FE1-B05F-2F011B84C7FD}" type="presParOf" srcId="{B2C26A8A-2443-4C02-8842-259CE6DFBE2A}" destId="{B2E58550-562D-4FAE-B431-03550C0E97AB}" srcOrd="8" destOrd="0" presId="urn:microsoft.com/office/officeart/2005/8/layout/hChevro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7CC98BD-8323-43D0-8DE2-C0420E7D1812}" type="doc">
      <dgm:prSet loTypeId="urn:microsoft.com/office/officeart/2005/8/layout/hChevron3" loCatId="process" qsTypeId="urn:microsoft.com/office/officeart/2005/8/quickstyle/simple1" qsCatId="simple" csTypeId="urn:microsoft.com/office/officeart/2005/8/colors/accent1_2" csCatId="accent1" phldr="1"/>
      <dgm:spPr/>
    </dgm:pt>
    <dgm:pt modelId="{200FE610-2FC7-44A2-BCD0-F48F19895886}">
      <dgm:prSet phldrT="[Text]"/>
      <dgm:spPr>
        <a:solidFill>
          <a:schemeClr val="bg1">
            <a:lumMod val="85000"/>
          </a:schemeClr>
        </a:solidFill>
      </dgm:spPr>
      <dgm:t>
        <a:bodyPr/>
        <a:lstStyle/>
        <a:p>
          <a:r>
            <a:rPr lang="en-AU" dirty="0">
              <a:solidFill>
                <a:schemeClr val="tx1"/>
              </a:solidFill>
            </a:rPr>
            <a:t>Create </a:t>
          </a:r>
          <a:br>
            <a:rPr lang="en-AU" dirty="0">
              <a:solidFill>
                <a:schemeClr val="tx1"/>
              </a:solidFill>
            </a:rPr>
          </a:br>
          <a:r>
            <a:rPr lang="en-AU" dirty="0">
              <a:solidFill>
                <a:schemeClr val="tx1"/>
              </a:solidFill>
            </a:rPr>
            <a:t>queries</a:t>
          </a:r>
          <a:endParaRPr lang="en-US" dirty="0">
            <a:solidFill>
              <a:schemeClr val="tx1"/>
            </a:solidFill>
          </a:endParaRPr>
        </a:p>
      </dgm:t>
    </dgm:pt>
    <dgm:pt modelId="{B84F0008-9309-4447-80CF-DBE10A748444}" type="parTrans" cxnId="{E1F84C2C-0264-4E00-84F1-266B6DCC4799}">
      <dgm:prSet/>
      <dgm:spPr/>
      <dgm:t>
        <a:bodyPr/>
        <a:lstStyle/>
        <a:p>
          <a:endParaRPr lang="en-US">
            <a:solidFill>
              <a:schemeClr val="tx1"/>
            </a:solidFill>
          </a:endParaRPr>
        </a:p>
      </dgm:t>
    </dgm:pt>
    <dgm:pt modelId="{3583B078-FA2C-4975-894B-9CBF0E7F8A7E}" type="sibTrans" cxnId="{E1F84C2C-0264-4E00-84F1-266B6DCC4799}">
      <dgm:prSet/>
      <dgm:spPr/>
      <dgm:t>
        <a:bodyPr/>
        <a:lstStyle/>
        <a:p>
          <a:endParaRPr lang="en-US">
            <a:solidFill>
              <a:schemeClr val="tx1"/>
            </a:solidFill>
          </a:endParaRPr>
        </a:p>
      </dgm:t>
    </dgm:pt>
    <dgm:pt modelId="{698339C6-DFFB-44F5-8535-435AF45121B5}">
      <dgm:prSet phldrT="[Text]"/>
      <dgm:spPr>
        <a:solidFill>
          <a:schemeClr val="bg1">
            <a:lumMod val="85000"/>
          </a:schemeClr>
        </a:solidFill>
      </dgm:spPr>
      <dgm:t>
        <a:bodyPr/>
        <a:lstStyle/>
        <a:p>
          <a:r>
            <a:rPr lang="en-AU" dirty="0">
              <a:solidFill>
                <a:schemeClr val="tx1"/>
              </a:solidFill>
            </a:rPr>
            <a:t>Configure relationships</a:t>
          </a:r>
          <a:endParaRPr lang="en-US" dirty="0">
            <a:solidFill>
              <a:schemeClr val="tx1"/>
            </a:solidFill>
          </a:endParaRPr>
        </a:p>
      </dgm:t>
    </dgm:pt>
    <dgm:pt modelId="{BC9F25DB-799C-49BD-A510-955EF4C9F2CB}" type="parTrans" cxnId="{B383455D-6F63-466F-A5F2-542C7B470663}">
      <dgm:prSet/>
      <dgm:spPr/>
      <dgm:t>
        <a:bodyPr/>
        <a:lstStyle/>
        <a:p>
          <a:endParaRPr lang="en-US">
            <a:solidFill>
              <a:schemeClr val="tx1"/>
            </a:solidFill>
          </a:endParaRPr>
        </a:p>
      </dgm:t>
    </dgm:pt>
    <dgm:pt modelId="{773F8119-1B09-49AA-A131-45E6F8AAF428}" type="sibTrans" cxnId="{B383455D-6F63-466F-A5F2-542C7B470663}">
      <dgm:prSet/>
      <dgm:spPr/>
      <dgm:t>
        <a:bodyPr/>
        <a:lstStyle/>
        <a:p>
          <a:endParaRPr lang="en-US">
            <a:solidFill>
              <a:schemeClr val="tx1"/>
            </a:solidFill>
          </a:endParaRPr>
        </a:p>
      </dgm:t>
    </dgm:pt>
    <dgm:pt modelId="{1A1C5199-AAB0-451E-9C4B-E39596CF7AC7}">
      <dgm:prSet phldrT="[Text]"/>
      <dgm:spPr>
        <a:solidFill>
          <a:schemeClr val="bg1">
            <a:lumMod val="85000"/>
          </a:schemeClr>
        </a:solidFill>
      </dgm:spPr>
      <dgm:t>
        <a:bodyPr/>
        <a:lstStyle/>
        <a:p>
          <a:r>
            <a:rPr lang="en-AU" dirty="0">
              <a:solidFill>
                <a:schemeClr val="tx1"/>
              </a:solidFill>
            </a:rPr>
            <a:t>Enhance the model</a:t>
          </a:r>
          <a:endParaRPr lang="en-US" dirty="0">
            <a:solidFill>
              <a:schemeClr val="tx1"/>
            </a:solidFill>
          </a:endParaRPr>
        </a:p>
      </dgm:t>
    </dgm:pt>
    <dgm:pt modelId="{CD7A2D38-1AE2-4B36-8261-B35B8D1AD607}" type="parTrans" cxnId="{ACA92FAD-8A3E-4258-A6D1-6321AD37F454}">
      <dgm:prSet/>
      <dgm:spPr/>
      <dgm:t>
        <a:bodyPr/>
        <a:lstStyle/>
        <a:p>
          <a:endParaRPr lang="en-US">
            <a:solidFill>
              <a:schemeClr val="tx1"/>
            </a:solidFill>
          </a:endParaRPr>
        </a:p>
      </dgm:t>
    </dgm:pt>
    <dgm:pt modelId="{26A5CFB2-67AF-403B-AF03-E265B76BAD45}" type="sibTrans" cxnId="{ACA92FAD-8A3E-4258-A6D1-6321AD37F454}">
      <dgm:prSet/>
      <dgm:spPr/>
      <dgm:t>
        <a:bodyPr/>
        <a:lstStyle/>
        <a:p>
          <a:endParaRPr lang="en-US">
            <a:solidFill>
              <a:schemeClr val="tx1"/>
            </a:solidFill>
          </a:endParaRPr>
        </a:p>
      </dgm:t>
    </dgm:pt>
    <dgm:pt modelId="{334FA073-4421-4C28-BE17-750C44613534}">
      <dgm:prSet phldrT="[Text]"/>
      <dgm:spPr>
        <a:solidFill>
          <a:srgbClr val="F2C812"/>
        </a:solidFill>
      </dgm:spPr>
      <dgm:t>
        <a:bodyPr/>
        <a:lstStyle/>
        <a:p>
          <a:r>
            <a:rPr lang="en-AU" dirty="0">
              <a:solidFill>
                <a:schemeClr val="tx1"/>
              </a:solidFill>
            </a:rPr>
            <a:t>Design reports</a:t>
          </a:r>
          <a:endParaRPr lang="en-US" dirty="0">
            <a:solidFill>
              <a:schemeClr val="tx1"/>
            </a:solidFill>
          </a:endParaRPr>
        </a:p>
      </dgm:t>
    </dgm:pt>
    <dgm:pt modelId="{ED794177-0090-4A2D-A0CC-495332957E96}" type="parTrans" cxnId="{6DA88136-AE06-4229-B0B7-2CA6499D2B44}">
      <dgm:prSet/>
      <dgm:spPr/>
      <dgm:t>
        <a:bodyPr/>
        <a:lstStyle/>
        <a:p>
          <a:endParaRPr lang="en-US">
            <a:solidFill>
              <a:schemeClr val="tx1"/>
            </a:solidFill>
          </a:endParaRPr>
        </a:p>
      </dgm:t>
    </dgm:pt>
    <dgm:pt modelId="{D2F5A671-5C4F-4A92-B61B-1464FB632CFD}" type="sibTrans" cxnId="{6DA88136-AE06-4229-B0B7-2CA6499D2B44}">
      <dgm:prSet/>
      <dgm:spPr/>
      <dgm:t>
        <a:bodyPr/>
        <a:lstStyle/>
        <a:p>
          <a:endParaRPr lang="en-US">
            <a:solidFill>
              <a:schemeClr val="tx1"/>
            </a:solidFill>
          </a:endParaRPr>
        </a:p>
      </dgm:t>
    </dgm:pt>
    <dgm:pt modelId="{83E11522-A02B-4057-A54E-16391FD74C2E}">
      <dgm:prSet phldrT="[Text]"/>
      <dgm:spPr/>
      <dgm:t>
        <a:bodyPr/>
        <a:lstStyle/>
        <a:p>
          <a:r>
            <a:rPr lang="en-AU" dirty="0">
              <a:solidFill>
                <a:schemeClr val="tx1"/>
              </a:solidFill>
            </a:rPr>
            <a:t>Publish to Power BI</a:t>
          </a:r>
          <a:endParaRPr lang="en-US" dirty="0">
            <a:solidFill>
              <a:schemeClr val="tx1"/>
            </a:solidFill>
          </a:endParaRPr>
        </a:p>
      </dgm:t>
    </dgm:pt>
    <dgm:pt modelId="{E8CD118F-7F06-42B8-9ABD-D77A7DFCAF92}" type="parTrans" cxnId="{3B790106-5F1E-4A17-B42E-4E2121EB0FBE}">
      <dgm:prSet/>
      <dgm:spPr/>
      <dgm:t>
        <a:bodyPr/>
        <a:lstStyle/>
        <a:p>
          <a:endParaRPr lang="en-US">
            <a:solidFill>
              <a:schemeClr val="tx1"/>
            </a:solidFill>
          </a:endParaRPr>
        </a:p>
      </dgm:t>
    </dgm:pt>
    <dgm:pt modelId="{B4510547-F3C3-41AD-BDF9-8079B319D8A6}" type="sibTrans" cxnId="{3B790106-5F1E-4A17-B42E-4E2121EB0FBE}">
      <dgm:prSet/>
      <dgm:spPr/>
      <dgm:t>
        <a:bodyPr/>
        <a:lstStyle/>
        <a:p>
          <a:endParaRPr lang="en-US">
            <a:solidFill>
              <a:schemeClr val="tx1"/>
            </a:solidFill>
          </a:endParaRPr>
        </a:p>
      </dgm:t>
    </dgm:pt>
    <dgm:pt modelId="{B2C26A8A-2443-4C02-8842-259CE6DFBE2A}" type="pres">
      <dgm:prSet presAssocID="{E7CC98BD-8323-43D0-8DE2-C0420E7D1812}" presName="Name0" presStyleCnt="0">
        <dgm:presLayoutVars>
          <dgm:dir/>
          <dgm:resizeHandles val="exact"/>
        </dgm:presLayoutVars>
      </dgm:prSet>
      <dgm:spPr/>
    </dgm:pt>
    <dgm:pt modelId="{97492F20-71A7-46BA-9053-9A55B497D836}" type="pres">
      <dgm:prSet presAssocID="{200FE610-2FC7-44A2-BCD0-F48F19895886}" presName="parTxOnly" presStyleLbl="node1" presStyleIdx="0" presStyleCnt="5">
        <dgm:presLayoutVars>
          <dgm:bulletEnabled val="1"/>
        </dgm:presLayoutVars>
      </dgm:prSet>
      <dgm:spPr/>
    </dgm:pt>
    <dgm:pt modelId="{252D45A8-2AF0-47B2-AEF2-334BD4E3CD7E}" type="pres">
      <dgm:prSet presAssocID="{3583B078-FA2C-4975-894B-9CBF0E7F8A7E}" presName="parSpace" presStyleCnt="0"/>
      <dgm:spPr/>
    </dgm:pt>
    <dgm:pt modelId="{6AA26656-9EB2-4541-BA04-C2122D0DC9D7}" type="pres">
      <dgm:prSet presAssocID="{698339C6-DFFB-44F5-8535-435AF45121B5}" presName="parTxOnly" presStyleLbl="node1" presStyleIdx="1" presStyleCnt="5">
        <dgm:presLayoutVars>
          <dgm:bulletEnabled val="1"/>
        </dgm:presLayoutVars>
      </dgm:prSet>
      <dgm:spPr/>
    </dgm:pt>
    <dgm:pt modelId="{71BB7CA4-88ED-4751-9A3E-68BD598B3E9F}" type="pres">
      <dgm:prSet presAssocID="{773F8119-1B09-49AA-A131-45E6F8AAF428}" presName="parSpace" presStyleCnt="0"/>
      <dgm:spPr/>
    </dgm:pt>
    <dgm:pt modelId="{4146E3F4-AF68-452B-8B57-6FCE6C865806}" type="pres">
      <dgm:prSet presAssocID="{1A1C5199-AAB0-451E-9C4B-E39596CF7AC7}" presName="parTxOnly" presStyleLbl="node1" presStyleIdx="2" presStyleCnt="5">
        <dgm:presLayoutVars>
          <dgm:bulletEnabled val="1"/>
        </dgm:presLayoutVars>
      </dgm:prSet>
      <dgm:spPr/>
    </dgm:pt>
    <dgm:pt modelId="{3281581F-FC1C-4DC5-B774-2D6B0A3F4122}" type="pres">
      <dgm:prSet presAssocID="{26A5CFB2-67AF-403B-AF03-E265B76BAD45}" presName="parSpace" presStyleCnt="0"/>
      <dgm:spPr/>
    </dgm:pt>
    <dgm:pt modelId="{30718A47-861D-47C5-8621-0200AEBC2396}" type="pres">
      <dgm:prSet presAssocID="{334FA073-4421-4C28-BE17-750C44613534}" presName="parTxOnly" presStyleLbl="node1" presStyleIdx="3" presStyleCnt="5">
        <dgm:presLayoutVars>
          <dgm:bulletEnabled val="1"/>
        </dgm:presLayoutVars>
      </dgm:prSet>
      <dgm:spPr/>
    </dgm:pt>
    <dgm:pt modelId="{009ABBFC-9803-446D-A57D-E3E3B6254D1D}" type="pres">
      <dgm:prSet presAssocID="{D2F5A671-5C4F-4A92-B61B-1464FB632CFD}" presName="parSpace" presStyleCnt="0"/>
      <dgm:spPr/>
    </dgm:pt>
    <dgm:pt modelId="{B2E58550-562D-4FAE-B431-03550C0E97AB}" type="pres">
      <dgm:prSet presAssocID="{83E11522-A02B-4057-A54E-16391FD74C2E}" presName="parTxOnly" presStyleLbl="node1" presStyleIdx="4" presStyleCnt="5">
        <dgm:presLayoutVars>
          <dgm:bulletEnabled val="1"/>
        </dgm:presLayoutVars>
      </dgm:prSet>
      <dgm:spPr/>
    </dgm:pt>
  </dgm:ptLst>
  <dgm:cxnLst>
    <dgm:cxn modelId="{68D37406-1E65-4456-BD19-923BEA9A05F6}" type="presOf" srcId="{200FE610-2FC7-44A2-BCD0-F48F19895886}" destId="{97492F20-71A7-46BA-9053-9A55B497D836}" srcOrd="0" destOrd="0" presId="urn:microsoft.com/office/officeart/2005/8/layout/hChevron3"/>
    <dgm:cxn modelId="{D2694E02-6A93-4101-A58D-DA3436F2D6B5}" type="presOf" srcId="{E7CC98BD-8323-43D0-8DE2-C0420E7D1812}" destId="{B2C26A8A-2443-4C02-8842-259CE6DFBE2A}" srcOrd="0" destOrd="0" presId="urn:microsoft.com/office/officeart/2005/8/layout/hChevron3"/>
    <dgm:cxn modelId="{B829FF6F-0F83-4A68-8E21-504D7A45DF89}" type="presOf" srcId="{1A1C5199-AAB0-451E-9C4B-E39596CF7AC7}" destId="{4146E3F4-AF68-452B-8B57-6FCE6C865806}" srcOrd="0" destOrd="0" presId="urn:microsoft.com/office/officeart/2005/8/layout/hChevron3"/>
    <dgm:cxn modelId="{3B790106-5F1E-4A17-B42E-4E2121EB0FBE}" srcId="{E7CC98BD-8323-43D0-8DE2-C0420E7D1812}" destId="{83E11522-A02B-4057-A54E-16391FD74C2E}" srcOrd="4" destOrd="0" parTransId="{E8CD118F-7F06-42B8-9ABD-D77A7DFCAF92}" sibTransId="{B4510547-F3C3-41AD-BDF9-8079B319D8A6}"/>
    <dgm:cxn modelId="{ACA92FAD-8A3E-4258-A6D1-6321AD37F454}" srcId="{E7CC98BD-8323-43D0-8DE2-C0420E7D1812}" destId="{1A1C5199-AAB0-451E-9C4B-E39596CF7AC7}" srcOrd="2" destOrd="0" parTransId="{CD7A2D38-1AE2-4B36-8261-B35B8D1AD607}" sibTransId="{26A5CFB2-67AF-403B-AF03-E265B76BAD45}"/>
    <dgm:cxn modelId="{6DA88136-AE06-4229-B0B7-2CA6499D2B44}" srcId="{E7CC98BD-8323-43D0-8DE2-C0420E7D1812}" destId="{334FA073-4421-4C28-BE17-750C44613534}" srcOrd="3" destOrd="0" parTransId="{ED794177-0090-4A2D-A0CC-495332957E96}" sibTransId="{D2F5A671-5C4F-4A92-B61B-1464FB632CFD}"/>
    <dgm:cxn modelId="{E1F84C2C-0264-4E00-84F1-266B6DCC4799}" srcId="{E7CC98BD-8323-43D0-8DE2-C0420E7D1812}" destId="{200FE610-2FC7-44A2-BCD0-F48F19895886}" srcOrd="0" destOrd="0" parTransId="{B84F0008-9309-4447-80CF-DBE10A748444}" sibTransId="{3583B078-FA2C-4975-894B-9CBF0E7F8A7E}"/>
    <dgm:cxn modelId="{B383455D-6F63-466F-A5F2-542C7B470663}" srcId="{E7CC98BD-8323-43D0-8DE2-C0420E7D1812}" destId="{698339C6-DFFB-44F5-8535-435AF45121B5}" srcOrd="1" destOrd="0" parTransId="{BC9F25DB-799C-49BD-A510-955EF4C9F2CB}" sibTransId="{773F8119-1B09-49AA-A131-45E6F8AAF428}"/>
    <dgm:cxn modelId="{CD7F316A-2434-4FD1-9F1B-3E4FD1DA65EA}" type="presOf" srcId="{334FA073-4421-4C28-BE17-750C44613534}" destId="{30718A47-861D-47C5-8621-0200AEBC2396}" srcOrd="0" destOrd="0" presId="urn:microsoft.com/office/officeart/2005/8/layout/hChevron3"/>
    <dgm:cxn modelId="{7226E202-33D8-41CF-B939-90DBFC3F4377}" type="presOf" srcId="{698339C6-DFFB-44F5-8535-435AF45121B5}" destId="{6AA26656-9EB2-4541-BA04-C2122D0DC9D7}" srcOrd="0" destOrd="0" presId="urn:microsoft.com/office/officeart/2005/8/layout/hChevron3"/>
    <dgm:cxn modelId="{C46E8895-5EDF-4A45-851F-4D51BA31E34C}" type="presOf" srcId="{83E11522-A02B-4057-A54E-16391FD74C2E}" destId="{B2E58550-562D-4FAE-B431-03550C0E97AB}" srcOrd="0" destOrd="0" presId="urn:microsoft.com/office/officeart/2005/8/layout/hChevron3"/>
    <dgm:cxn modelId="{D384B111-AE38-4281-AEFB-43D0CE48F71A}" type="presParOf" srcId="{B2C26A8A-2443-4C02-8842-259CE6DFBE2A}" destId="{97492F20-71A7-46BA-9053-9A55B497D836}" srcOrd="0" destOrd="0" presId="urn:microsoft.com/office/officeart/2005/8/layout/hChevron3"/>
    <dgm:cxn modelId="{33A15ED8-7BE5-4A71-B766-4E0CA166388A}" type="presParOf" srcId="{B2C26A8A-2443-4C02-8842-259CE6DFBE2A}" destId="{252D45A8-2AF0-47B2-AEF2-334BD4E3CD7E}" srcOrd="1" destOrd="0" presId="urn:microsoft.com/office/officeart/2005/8/layout/hChevron3"/>
    <dgm:cxn modelId="{E2E82E79-69B1-436C-AE14-2AC4CDA2CFA6}" type="presParOf" srcId="{B2C26A8A-2443-4C02-8842-259CE6DFBE2A}" destId="{6AA26656-9EB2-4541-BA04-C2122D0DC9D7}" srcOrd="2" destOrd="0" presId="urn:microsoft.com/office/officeart/2005/8/layout/hChevron3"/>
    <dgm:cxn modelId="{23C3B720-8002-4254-84E5-731C89217EE6}" type="presParOf" srcId="{B2C26A8A-2443-4C02-8842-259CE6DFBE2A}" destId="{71BB7CA4-88ED-4751-9A3E-68BD598B3E9F}" srcOrd="3" destOrd="0" presId="urn:microsoft.com/office/officeart/2005/8/layout/hChevron3"/>
    <dgm:cxn modelId="{B8AA988D-3ABA-4912-A041-31611629EDA9}" type="presParOf" srcId="{B2C26A8A-2443-4C02-8842-259CE6DFBE2A}" destId="{4146E3F4-AF68-452B-8B57-6FCE6C865806}" srcOrd="4" destOrd="0" presId="urn:microsoft.com/office/officeart/2005/8/layout/hChevron3"/>
    <dgm:cxn modelId="{DFE55979-EAF4-49A1-8A76-7E0D8C5D9D09}" type="presParOf" srcId="{B2C26A8A-2443-4C02-8842-259CE6DFBE2A}" destId="{3281581F-FC1C-4DC5-B774-2D6B0A3F4122}" srcOrd="5" destOrd="0" presId="urn:microsoft.com/office/officeart/2005/8/layout/hChevron3"/>
    <dgm:cxn modelId="{F5517A96-3447-4418-83A2-F49DCBD5AB1F}" type="presParOf" srcId="{B2C26A8A-2443-4C02-8842-259CE6DFBE2A}" destId="{30718A47-861D-47C5-8621-0200AEBC2396}" srcOrd="6" destOrd="0" presId="urn:microsoft.com/office/officeart/2005/8/layout/hChevron3"/>
    <dgm:cxn modelId="{E25533BA-53E0-44A0-84AD-9F3D454E24C4}" type="presParOf" srcId="{B2C26A8A-2443-4C02-8842-259CE6DFBE2A}" destId="{009ABBFC-9803-446D-A57D-E3E3B6254D1D}" srcOrd="7" destOrd="0" presId="urn:microsoft.com/office/officeart/2005/8/layout/hChevron3"/>
    <dgm:cxn modelId="{1BCC80B5-BAE4-4C4B-97E4-FB42F7957CDB}" type="presParOf" srcId="{B2C26A8A-2443-4C02-8842-259CE6DFBE2A}" destId="{B2E58550-562D-4FAE-B431-03550C0E97AB}" srcOrd="8" destOrd="0" presId="urn:microsoft.com/office/officeart/2005/8/layout/hChevro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E7CC98BD-8323-43D0-8DE2-C0420E7D1812}" type="doc">
      <dgm:prSet loTypeId="urn:microsoft.com/office/officeart/2005/8/layout/hChevron3" loCatId="process" qsTypeId="urn:microsoft.com/office/officeart/2005/8/quickstyle/simple1" qsCatId="simple" csTypeId="urn:microsoft.com/office/officeart/2005/8/colors/accent1_2" csCatId="accent1" phldr="1"/>
      <dgm:spPr/>
    </dgm:pt>
    <dgm:pt modelId="{200FE610-2FC7-44A2-BCD0-F48F19895886}">
      <dgm:prSet phldrT="[Text]"/>
      <dgm:spPr>
        <a:solidFill>
          <a:schemeClr val="bg1">
            <a:lumMod val="85000"/>
          </a:schemeClr>
        </a:solidFill>
      </dgm:spPr>
      <dgm:t>
        <a:bodyPr/>
        <a:lstStyle/>
        <a:p>
          <a:r>
            <a:rPr lang="en-AU" dirty="0">
              <a:solidFill>
                <a:schemeClr val="tx1"/>
              </a:solidFill>
            </a:rPr>
            <a:t>Create </a:t>
          </a:r>
          <a:br>
            <a:rPr lang="en-AU" dirty="0">
              <a:solidFill>
                <a:schemeClr val="tx1"/>
              </a:solidFill>
            </a:rPr>
          </a:br>
          <a:r>
            <a:rPr lang="en-AU" dirty="0">
              <a:solidFill>
                <a:schemeClr val="tx1"/>
              </a:solidFill>
            </a:rPr>
            <a:t>queries</a:t>
          </a:r>
          <a:endParaRPr lang="en-US" dirty="0">
            <a:solidFill>
              <a:schemeClr val="tx1"/>
            </a:solidFill>
          </a:endParaRPr>
        </a:p>
      </dgm:t>
    </dgm:pt>
    <dgm:pt modelId="{B84F0008-9309-4447-80CF-DBE10A748444}" type="parTrans" cxnId="{E1F84C2C-0264-4E00-84F1-266B6DCC4799}">
      <dgm:prSet/>
      <dgm:spPr/>
      <dgm:t>
        <a:bodyPr/>
        <a:lstStyle/>
        <a:p>
          <a:endParaRPr lang="en-US">
            <a:solidFill>
              <a:schemeClr val="tx1"/>
            </a:solidFill>
          </a:endParaRPr>
        </a:p>
      </dgm:t>
    </dgm:pt>
    <dgm:pt modelId="{3583B078-FA2C-4975-894B-9CBF0E7F8A7E}" type="sibTrans" cxnId="{E1F84C2C-0264-4E00-84F1-266B6DCC4799}">
      <dgm:prSet/>
      <dgm:spPr/>
      <dgm:t>
        <a:bodyPr/>
        <a:lstStyle/>
        <a:p>
          <a:endParaRPr lang="en-US">
            <a:solidFill>
              <a:schemeClr val="tx1"/>
            </a:solidFill>
          </a:endParaRPr>
        </a:p>
      </dgm:t>
    </dgm:pt>
    <dgm:pt modelId="{698339C6-DFFB-44F5-8535-435AF45121B5}">
      <dgm:prSet phldrT="[Text]"/>
      <dgm:spPr>
        <a:solidFill>
          <a:schemeClr val="bg1">
            <a:lumMod val="85000"/>
          </a:schemeClr>
        </a:solidFill>
      </dgm:spPr>
      <dgm:t>
        <a:bodyPr/>
        <a:lstStyle/>
        <a:p>
          <a:r>
            <a:rPr lang="en-AU" dirty="0">
              <a:solidFill>
                <a:schemeClr val="tx1"/>
              </a:solidFill>
            </a:rPr>
            <a:t>Configure relationships</a:t>
          </a:r>
          <a:endParaRPr lang="en-US" dirty="0">
            <a:solidFill>
              <a:schemeClr val="tx1"/>
            </a:solidFill>
          </a:endParaRPr>
        </a:p>
      </dgm:t>
    </dgm:pt>
    <dgm:pt modelId="{BC9F25DB-799C-49BD-A510-955EF4C9F2CB}" type="parTrans" cxnId="{B383455D-6F63-466F-A5F2-542C7B470663}">
      <dgm:prSet/>
      <dgm:spPr/>
      <dgm:t>
        <a:bodyPr/>
        <a:lstStyle/>
        <a:p>
          <a:endParaRPr lang="en-US">
            <a:solidFill>
              <a:schemeClr val="tx1"/>
            </a:solidFill>
          </a:endParaRPr>
        </a:p>
      </dgm:t>
    </dgm:pt>
    <dgm:pt modelId="{773F8119-1B09-49AA-A131-45E6F8AAF428}" type="sibTrans" cxnId="{B383455D-6F63-466F-A5F2-542C7B470663}">
      <dgm:prSet/>
      <dgm:spPr/>
      <dgm:t>
        <a:bodyPr/>
        <a:lstStyle/>
        <a:p>
          <a:endParaRPr lang="en-US">
            <a:solidFill>
              <a:schemeClr val="tx1"/>
            </a:solidFill>
          </a:endParaRPr>
        </a:p>
      </dgm:t>
    </dgm:pt>
    <dgm:pt modelId="{1A1C5199-AAB0-451E-9C4B-E39596CF7AC7}">
      <dgm:prSet phldrT="[Text]"/>
      <dgm:spPr>
        <a:solidFill>
          <a:schemeClr val="bg1">
            <a:lumMod val="85000"/>
          </a:schemeClr>
        </a:solidFill>
      </dgm:spPr>
      <dgm:t>
        <a:bodyPr/>
        <a:lstStyle/>
        <a:p>
          <a:r>
            <a:rPr lang="en-AU" dirty="0">
              <a:solidFill>
                <a:schemeClr val="tx1"/>
              </a:solidFill>
            </a:rPr>
            <a:t>Enhance the model</a:t>
          </a:r>
          <a:endParaRPr lang="en-US" dirty="0">
            <a:solidFill>
              <a:schemeClr val="tx1"/>
            </a:solidFill>
          </a:endParaRPr>
        </a:p>
      </dgm:t>
    </dgm:pt>
    <dgm:pt modelId="{CD7A2D38-1AE2-4B36-8261-B35B8D1AD607}" type="parTrans" cxnId="{ACA92FAD-8A3E-4258-A6D1-6321AD37F454}">
      <dgm:prSet/>
      <dgm:spPr/>
      <dgm:t>
        <a:bodyPr/>
        <a:lstStyle/>
        <a:p>
          <a:endParaRPr lang="en-US">
            <a:solidFill>
              <a:schemeClr val="tx1"/>
            </a:solidFill>
          </a:endParaRPr>
        </a:p>
      </dgm:t>
    </dgm:pt>
    <dgm:pt modelId="{26A5CFB2-67AF-403B-AF03-E265B76BAD45}" type="sibTrans" cxnId="{ACA92FAD-8A3E-4258-A6D1-6321AD37F454}">
      <dgm:prSet/>
      <dgm:spPr/>
      <dgm:t>
        <a:bodyPr/>
        <a:lstStyle/>
        <a:p>
          <a:endParaRPr lang="en-US">
            <a:solidFill>
              <a:schemeClr val="tx1"/>
            </a:solidFill>
          </a:endParaRPr>
        </a:p>
      </dgm:t>
    </dgm:pt>
    <dgm:pt modelId="{334FA073-4421-4C28-BE17-750C44613534}">
      <dgm:prSet phldrT="[Text]"/>
      <dgm:spPr/>
      <dgm:t>
        <a:bodyPr/>
        <a:lstStyle/>
        <a:p>
          <a:r>
            <a:rPr lang="en-AU" dirty="0">
              <a:solidFill>
                <a:schemeClr val="tx1"/>
              </a:solidFill>
            </a:rPr>
            <a:t>Design reports</a:t>
          </a:r>
          <a:endParaRPr lang="en-US" dirty="0">
            <a:solidFill>
              <a:schemeClr val="tx1"/>
            </a:solidFill>
          </a:endParaRPr>
        </a:p>
      </dgm:t>
    </dgm:pt>
    <dgm:pt modelId="{ED794177-0090-4A2D-A0CC-495332957E96}" type="parTrans" cxnId="{6DA88136-AE06-4229-B0B7-2CA6499D2B44}">
      <dgm:prSet/>
      <dgm:spPr/>
      <dgm:t>
        <a:bodyPr/>
        <a:lstStyle/>
        <a:p>
          <a:endParaRPr lang="en-US">
            <a:solidFill>
              <a:schemeClr val="tx1"/>
            </a:solidFill>
          </a:endParaRPr>
        </a:p>
      </dgm:t>
    </dgm:pt>
    <dgm:pt modelId="{D2F5A671-5C4F-4A92-B61B-1464FB632CFD}" type="sibTrans" cxnId="{6DA88136-AE06-4229-B0B7-2CA6499D2B44}">
      <dgm:prSet/>
      <dgm:spPr/>
      <dgm:t>
        <a:bodyPr/>
        <a:lstStyle/>
        <a:p>
          <a:endParaRPr lang="en-US">
            <a:solidFill>
              <a:schemeClr val="tx1"/>
            </a:solidFill>
          </a:endParaRPr>
        </a:p>
      </dgm:t>
    </dgm:pt>
    <dgm:pt modelId="{83E11522-A02B-4057-A54E-16391FD74C2E}">
      <dgm:prSet phldrT="[Text]"/>
      <dgm:spPr>
        <a:solidFill>
          <a:srgbClr val="F2C812"/>
        </a:solidFill>
      </dgm:spPr>
      <dgm:t>
        <a:bodyPr/>
        <a:lstStyle/>
        <a:p>
          <a:r>
            <a:rPr lang="en-AU" dirty="0">
              <a:solidFill>
                <a:schemeClr val="tx1"/>
              </a:solidFill>
            </a:rPr>
            <a:t>Publish to Power BI</a:t>
          </a:r>
          <a:endParaRPr lang="en-US" dirty="0">
            <a:solidFill>
              <a:schemeClr val="tx1"/>
            </a:solidFill>
          </a:endParaRPr>
        </a:p>
      </dgm:t>
    </dgm:pt>
    <dgm:pt modelId="{E8CD118F-7F06-42B8-9ABD-D77A7DFCAF92}" type="parTrans" cxnId="{3B790106-5F1E-4A17-B42E-4E2121EB0FBE}">
      <dgm:prSet/>
      <dgm:spPr/>
      <dgm:t>
        <a:bodyPr/>
        <a:lstStyle/>
        <a:p>
          <a:endParaRPr lang="en-US">
            <a:solidFill>
              <a:schemeClr val="tx1"/>
            </a:solidFill>
          </a:endParaRPr>
        </a:p>
      </dgm:t>
    </dgm:pt>
    <dgm:pt modelId="{B4510547-F3C3-41AD-BDF9-8079B319D8A6}" type="sibTrans" cxnId="{3B790106-5F1E-4A17-B42E-4E2121EB0FBE}">
      <dgm:prSet/>
      <dgm:spPr/>
      <dgm:t>
        <a:bodyPr/>
        <a:lstStyle/>
        <a:p>
          <a:endParaRPr lang="en-US">
            <a:solidFill>
              <a:schemeClr val="tx1"/>
            </a:solidFill>
          </a:endParaRPr>
        </a:p>
      </dgm:t>
    </dgm:pt>
    <dgm:pt modelId="{B2C26A8A-2443-4C02-8842-259CE6DFBE2A}" type="pres">
      <dgm:prSet presAssocID="{E7CC98BD-8323-43D0-8DE2-C0420E7D1812}" presName="Name0" presStyleCnt="0">
        <dgm:presLayoutVars>
          <dgm:dir/>
          <dgm:resizeHandles val="exact"/>
        </dgm:presLayoutVars>
      </dgm:prSet>
      <dgm:spPr/>
    </dgm:pt>
    <dgm:pt modelId="{97492F20-71A7-46BA-9053-9A55B497D836}" type="pres">
      <dgm:prSet presAssocID="{200FE610-2FC7-44A2-BCD0-F48F19895886}" presName="parTxOnly" presStyleLbl="node1" presStyleIdx="0" presStyleCnt="5">
        <dgm:presLayoutVars>
          <dgm:bulletEnabled val="1"/>
        </dgm:presLayoutVars>
      </dgm:prSet>
      <dgm:spPr/>
    </dgm:pt>
    <dgm:pt modelId="{252D45A8-2AF0-47B2-AEF2-334BD4E3CD7E}" type="pres">
      <dgm:prSet presAssocID="{3583B078-FA2C-4975-894B-9CBF0E7F8A7E}" presName="parSpace" presStyleCnt="0"/>
      <dgm:spPr/>
    </dgm:pt>
    <dgm:pt modelId="{6AA26656-9EB2-4541-BA04-C2122D0DC9D7}" type="pres">
      <dgm:prSet presAssocID="{698339C6-DFFB-44F5-8535-435AF45121B5}" presName="parTxOnly" presStyleLbl="node1" presStyleIdx="1" presStyleCnt="5">
        <dgm:presLayoutVars>
          <dgm:bulletEnabled val="1"/>
        </dgm:presLayoutVars>
      </dgm:prSet>
      <dgm:spPr/>
    </dgm:pt>
    <dgm:pt modelId="{71BB7CA4-88ED-4751-9A3E-68BD598B3E9F}" type="pres">
      <dgm:prSet presAssocID="{773F8119-1B09-49AA-A131-45E6F8AAF428}" presName="parSpace" presStyleCnt="0"/>
      <dgm:spPr/>
    </dgm:pt>
    <dgm:pt modelId="{4146E3F4-AF68-452B-8B57-6FCE6C865806}" type="pres">
      <dgm:prSet presAssocID="{1A1C5199-AAB0-451E-9C4B-E39596CF7AC7}" presName="parTxOnly" presStyleLbl="node1" presStyleIdx="2" presStyleCnt="5">
        <dgm:presLayoutVars>
          <dgm:bulletEnabled val="1"/>
        </dgm:presLayoutVars>
      </dgm:prSet>
      <dgm:spPr/>
    </dgm:pt>
    <dgm:pt modelId="{3281581F-FC1C-4DC5-B774-2D6B0A3F4122}" type="pres">
      <dgm:prSet presAssocID="{26A5CFB2-67AF-403B-AF03-E265B76BAD45}" presName="parSpace" presStyleCnt="0"/>
      <dgm:spPr/>
    </dgm:pt>
    <dgm:pt modelId="{30718A47-861D-47C5-8621-0200AEBC2396}" type="pres">
      <dgm:prSet presAssocID="{334FA073-4421-4C28-BE17-750C44613534}" presName="parTxOnly" presStyleLbl="node1" presStyleIdx="3" presStyleCnt="5">
        <dgm:presLayoutVars>
          <dgm:bulletEnabled val="1"/>
        </dgm:presLayoutVars>
      </dgm:prSet>
      <dgm:spPr/>
    </dgm:pt>
    <dgm:pt modelId="{009ABBFC-9803-446D-A57D-E3E3B6254D1D}" type="pres">
      <dgm:prSet presAssocID="{D2F5A671-5C4F-4A92-B61B-1464FB632CFD}" presName="parSpace" presStyleCnt="0"/>
      <dgm:spPr/>
    </dgm:pt>
    <dgm:pt modelId="{B2E58550-562D-4FAE-B431-03550C0E97AB}" type="pres">
      <dgm:prSet presAssocID="{83E11522-A02B-4057-A54E-16391FD74C2E}" presName="parTxOnly" presStyleLbl="node1" presStyleIdx="4" presStyleCnt="5">
        <dgm:presLayoutVars>
          <dgm:bulletEnabled val="1"/>
        </dgm:presLayoutVars>
      </dgm:prSet>
      <dgm:spPr/>
    </dgm:pt>
  </dgm:ptLst>
  <dgm:cxnLst>
    <dgm:cxn modelId="{3B790106-5F1E-4A17-B42E-4E2121EB0FBE}" srcId="{E7CC98BD-8323-43D0-8DE2-C0420E7D1812}" destId="{83E11522-A02B-4057-A54E-16391FD74C2E}" srcOrd="4" destOrd="0" parTransId="{E8CD118F-7F06-42B8-9ABD-D77A7DFCAF92}" sibTransId="{B4510547-F3C3-41AD-BDF9-8079B319D8A6}"/>
    <dgm:cxn modelId="{FA048DDE-64E0-44D3-9981-F1E95D6F860A}" type="presOf" srcId="{200FE610-2FC7-44A2-BCD0-F48F19895886}" destId="{97492F20-71A7-46BA-9053-9A55B497D836}" srcOrd="0" destOrd="0" presId="urn:microsoft.com/office/officeart/2005/8/layout/hChevron3"/>
    <dgm:cxn modelId="{ACA92FAD-8A3E-4258-A6D1-6321AD37F454}" srcId="{E7CC98BD-8323-43D0-8DE2-C0420E7D1812}" destId="{1A1C5199-AAB0-451E-9C4B-E39596CF7AC7}" srcOrd="2" destOrd="0" parTransId="{CD7A2D38-1AE2-4B36-8261-B35B8D1AD607}" sibTransId="{26A5CFB2-67AF-403B-AF03-E265B76BAD45}"/>
    <dgm:cxn modelId="{6DA88136-AE06-4229-B0B7-2CA6499D2B44}" srcId="{E7CC98BD-8323-43D0-8DE2-C0420E7D1812}" destId="{334FA073-4421-4C28-BE17-750C44613534}" srcOrd="3" destOrd="0" parTransId="{ED794177-0090-4A2D-A0CC-495332957E96}" sibTransId="{D2F5A671-5C4F-4A92-B61B-1464FB632CFD}"/>
    <dgm:cxn modelId="{2981E1F7-2279-4007-AB5A-79D0E8A201BA}" type="presOf" srcId="{334FA073-4421-4C28-BE17-750C44613534}" destId="{30718A47-861D-47C5-8621-0200AEBC2396}" srcOrd="0" destOrd="0" presId="urn:microsoft.com/office/officeart/2005/8/layout/hChevron3"/>
    <dgm:cxn modelId="{F355649B-0762-4E26-A2E8-EC4A2C7FC0CC}" type="presOf" srcId="{E7CC98BD-8323-43D0-8DE2-C0420E7D1812}" destId="{B2C26A8A-2443-4C02-8842-259CE6DFBE2A}" srcOrd="0" destOrd="0" presId="urn:microsoft.com/office/officeart/2005/8/layout/hChevron3"/>
    <dgm:cxn modelId="{E1F84C2C-0264-4E00-84F1-266B6DCC4799}" srcId="{E7CC98BD-8323-43D0-8DE2-C0420E7D1812}" destId="{200FE610-2FC7-44A2-BCD0-F48F19895886}" srcOrd="0" destOrd="0" parTransId="{B84F0008-9309-4447-80CF-DBE10A748444}" sibTransId="{3583B078-FA2C-4975-894B-9CBF0E7F8A7E}"/>
    <dgm:cxn modelId="{34B5B121-A1AA-459D-BEEA-943431951E48}" type="presOf" srcId="{1A1C5199-AAB0-451E-9C4B-E39596CF7AC7}" destId="{4146E3F4-AF68-452B-8B57-6FCE6C865806}" srcOrd="0" destOrd="0" presId="urn:microsoft.com/office/officeart/2005/8/layout/hChevron3"/>
    <dgm:cxn modelId="{F2F8FFC4-C12F-4AE4-A3B1-0ACBF09DF173}" type="presOf" srcId="{83E11522-A02B-4057-A54E-16391FD74C2E}" destId="{B2E58550-562D-4FAE-B431-03550C0E97AB}" srcOrd="0" destOrd="0" presId="urn:microsoft.com/office/officeart/2005/8/layout/hChevron3"/>
    <dgm:cxn modelId="{8D38B68E-4560-49EC-A302-A011B9D3AEAF}" type="presOf" srcId="{698339C6-DFFB-44F5-8535-435AF45121B5}" destId="{6AA26656-9EB2-4541-BA04-C2122D0DC9D7}" srcOrd="0" destOrd="0" presId="urn:microsoft.com/office/officeart/2005/8/layout/hChevron3"/>
    <dgm:cxn modelId="{B383455D-6F63-466F-A5F2-542C7B470663}" srcId="{E7CC98BD-8323-43D0-8DE2-C0420E7D1812}" destId="{698339C6-DFFB-44F5-8535-435AF45121B5}" srcOrd="1" destOrd="0" parTransId="{BC9F25DB-799C-49BD-A510-955EF4C9F2CB}" sibTransId="{773F8119-1B09-49AA-A131-45E6F8AAF428}"/>
    <dgm:cxn modelId="{6F75BF34-783D-4673-8BE9-757F0BCFA8AC}" type="presParOf" srcId="{B2C26A8A-2443-4C02-8842-259CE6DFBE2A}" destId="{97492F20-71A7-46BA-9053-9A55B497D836}" srcOrd="0" destOrd="0" presId="urn:microsoft.com/office/officeart/2005/8/layout/hChevron3"/>
    <dgm:cxn modelId="{F046FD68-4095-45C7-94E8-5BC5F84F235F}" type="presParOf" srcId="{B2C26A8A-2443-4C02-8842-259CE6DFBE2A}" destId="{252D45A8-2AF0-47B2-AEF2-334BD4E3CD7E}" srcOrd="1" destOrd="0" presId="urn:microsoft.com/office/officeart/2005/8/layout/hChevron3"/>
    <dgm:cxn modelId="{A685C698-EA38-41C7-A458-78C8034F4CAD}" type="presParOf" srcId="{B2C26A8A-2443-4C02-8842-259CE6DFBE2A}" destId="{6AA26656-9EB2-4541-BA04-C2122D0DC9D7}" srcOrd="2" destOrd="0" presId="urn:microsoft.com/office/officeart/2005/8/layout/hChevron3"/>
    <dgm:cxn modelId="{D61117AE-D7A9-4092-8887-438835922887}" type="presParOf" srcId="{B2C26A8A-2443-4C02-8842-259CE6DFBE2A}" destId="{71BB7CA4-88ED-4751-9A3E-68BD598B3E9F}" srcOrd="3" destOrd="0" presId="urn:microsoft.com/office/officeart/2005/8/layout/hChevron3"/>
    <dgm:cxn modelId="{0EA17473-5FCC-42B9-800E-86F304A0551F}" type="presParOf" srcId="{B2C26A8A-2443-4C02-8842-259CE6DFBE2A}" destId="{4146E3F4-AF68-452B-8B57-6FCE6C865806}" srcOrd="4" destOrd="0" presId="urn:microsoft.com/office/officeart/2005/8/layout/hChevron3"/>
    <dgm:cxn modelId="{8BF4A1AA-6CB0-4025-B4FF-45972BA4B6B9}" type="presParOf" srcId="{B2C26A8A-2443-4C02-8842-259CE6DFBE2A}" destId="{3281581F-FC1C-4DC5-B774-2D6B0A3F4122}" srcOrd="5" destOrd="0" presId="urn:microsoft.com/office/officeart/2005/8/layout/hChevron3"/>
    <dgm:cxn modelId="{2CE26C46-CC0D-481E-875A-17B1ABF44CD5}" type="presParOf" srcId="{B2C26A8A-2443-4C02-8842-259CE6DFBE2A}" destId="{30718A47-861D-47C5-8621-0200AEBC2396}" srcOrd="6" destOrd="0" presId="urn:microsoft.com/office/officeart/2005/8/layout/hChevron3"/>
    <dgm:cxn modelId="{A87326CC-A4DE-4FA8-8491-28DBA713B509}" type="presParOf" srcId="{B2C26A8A-2443-4C02-8842-259CE6DFBE2A}" destId="{009ABBFC-9803-446D-A57D-E3E3B6254D1D}" srcOrd="7" destOrd="0" presId="urn:microsoft.com/office/officeart/2005/8/layout/hChevron3"/>
    <dgm:cxn modelId="{E72ACB26-92E1-4A37-8A61-77B112E8D8CA}" type="presParOf" srcId="{B2C26A8A-2443-4C02-8842-259CE6DFBE2A}" destId="{B2E58550-562D-4FAE-B431-03550C0E97AB}" srcOrd="8" destOrd="0" presId="urn:microsoft.com/office/officeart/2005/8/layout/hChevro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492F20-71A7-46BA-9053-9A55B497D836}">
      <dsp:nvSpPr>
        <dsp:cNvPr id="0" name=""/>
        <dsp:cNvSpPr/>
      </dsp:nvSpPr>
      <dsp:spPr>
        <a:xfrm>
          <a:off x="1368" y="0"/>
          <a:ext cx="2667663" cy="930228"/>
        </a:xfrm>
        <a:prstGeom prst="homePlat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7348"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Create </a:t>
          </a:r>
          <a:br>
            <a:rPr lang="en-AU" sz="2200" kern="1200" dirty="0">
              <a:solidFill>
                <a:schemeClr val="tx1"/>
              </a:solidFill>
            </a:rPr>
          </a:br>
          <a:r>
            <a:rPr lang="en-AU" sz="2200" kern="1200" dirty="0">
              <a:solidFill>
                <a:schemeClr val="tx1"/>
              </a:solidFill>
            </a:rPr>
            <a:t>queries</a:t>
          </a:r>
          <a:endParaRPr lang="en-US" sz="2200" kern="1200" dirty="0">
            <a:solidFill>
              <a:schemeClr val="tx1"/>
            </a:solidFill>
          </a:endParaRPr>
        </a:p>
      </dsp:txBody>
      <dsp:txXfrm>
        <a:off x="1368" y="0"/>
        <a:ext cx="2435106" cy="930228"/>
      </dsp:txXfrm>
    </dsp:sp>
    <dsp:sp modelId="{6AA26656-9EB2-4541-BA04-C2122D0DC9D7}">
      <dsp:nvSpPr>
        <dsp:cNvPr id="0" name=""/>
        <dsp:cNvSpPr/>
      </dsp:nvSpPr>
      <dsp:spPr>
        <a:xfrm>
          <a:off x="2148751" y="0"/>
          <a:ext cx="2667663" cy="930228"/>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Configure relationships</a:t>
          </a:r>
          <a:endParaRPr lang="en-US" sz="2200" kern="1200" dirty="0">
            <a:solidFill>
              <a:schemeClr val="tx1"/>
            </a:solidFill>
          </a:endParaRPr>
        </a:p>
      </dsp:txBody>
      <dsp:txXfrm>
        <a:off x="2613865" y="0"/>
        <a:ext cx="1737435" cy="930228"/>
      </dsp:txXfrm>
    </dsp:sp>
    <dsp:sp modelId="{4146E3F4-AF68-452B-8B57-6FCE6C865806}">
      <dsp:nvSpPr>
        <dsp:cNvPr id="0" name=""/>
        <dsp:cNvSpPr/>
      </dsp:nvSpPr>
      <dsp:spPr>
        <a:xfrm>
          <a:off x="4269629" y="0"/>
          <a:ext cx="2667663" cy="930228"/>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Enhance the model</a:t>
          </a:r>
          <a:endParaRPr lang="en-US" sz="2200" kern="1200" dirty="0">
            <a:solidFill>
              <a:schemeClr val="tx1"/>
            </a:solidFill>
          </a:endParaRPr>
        </a:p>
      </dsp:txBody>
      <dsp:txXfrm>
        <a:off x="4734743" y="0"/>
        <a:ext cx="1737435" cy="930228"/>
      </dsp:txXfrm>
    </dsp:sp>
    <dsp:sp modelId="{30718A47-861D-47C5-8621-0200AEBC2396}">
      <dsp:nvSpPr>
        <dsp:cNvPr id="0" name=""/>
        <dsp:cNvSpPr/>
      </dsp:nvSpPr>
      <dsp:spPr>
        <a:xfrm>
          <a:off x="6403760" y="0"/>
          <a:ext cx="2667663" cy="930228"/>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Design reports</a:t>
          </a:r>
          <a:endParaRPr lang="en-US" sz="2200" kern="1200" dirty="0">
            <a:solidFill>
              <a:schemeClr val="tx1"/>
            </a:solidFill>
          </a:endParaRPr>
        </a:p>
      </dsp:txBody>
      <dsp:txXfrm>
        <a:off x="6868874" y="0"/>
        <a:ext cx="1737435" cy="930228"/>
      </dsp:txXfrm>
    </dsp:sp>
    <dsp:sp modelId="{B2E58550-562D-4FAE-B431-03550C0E97AB}">
      <dsp:nvSpPr>
        <dsp:cNvPr id="0" name=""/>
        <dsp:cNvSpPr/>
      </dsp:nvSpPr>
      <dsp:spPr>
        <a:xfrm>
          <a:off x="8537891" y="0"/>
          <a:ext cx="2667663" cy="930228"/>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Publish to Power BI</a:t>
          </a:r>
          <a:endParaRPr lang="en-US" sz="2200" kern="1200" dirty="0">
            <a:solidFill>
              <a:schemeClr val="tx1"/>
            </a:solidFill>
          </a:endParaRPr>
        </a:p>
      </dsp:txBody>
      <dsp:txXfrm>
        <a:off x="9003005" y="0"/>
        <a:ext cx="1737435" cy="93022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492F20-71A7-46BA-9053-9A55B497D836}">
      <dsp:nvSpPr>
        <dsp:cNvPr id="0" name=""/>
        <dsp:cNvSpPr/>
      </dsp:nvSpPr>
      <dsp:spPr>
        <a:xfrm>
          <a:off x="1368" y="0"/>
          <a:ext cx="2667663" cy="930228"/>
        </a:xfrm>
        <a:prstGeom prst="homePlate">
          <a:avLst/>
        </a:prstGeom>
        <a:solidFill>
          <a:srgbClr val="F2C81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7348" tIns="58674" rIns="29337" bIns="58674" numCol="1" spcCol="1270" anchor="ctr" anchorCtr="0">
          <a:noAutofit/>
        </a:bodyPr>
        <a:lstStyle/>
        <a:p>
          <a:pPr marL="0" lvl="0" indent="0" algn="ctr" defTabSz="977900">
            <a:lnSpc>
              <a:spcPct val="90000"/>
            </a:lnSpc>
            <a:spcBef>
              <a:spcPct val="0"/>
            </a:spcBef>
            <a:spcAft>
              <a:spcPct val="35000"/>
            </a:spcAft>
            <a:buNone/>
          </a:pPr>
          <a:r>
            <a:rPr lang="zh-TW" altLang="en-US" sz="2200" kern="1200" dirty="0">
              <a:solidFill>
                <a:schemeClr val="tx1"/>
              </a:solidFill>
            </a:rPr>
            <a:t>建立查詢</a:t>
          </a:r>
          <a:endParaRPr lang="en-US" sz="2200" kern="1200" dirty="0">
            <a:solidFill>
              <a:schemeClr val="tx1"/>
            </a:solidFill>
          </a:endParaRPr>
        </a:p>
      </dsp:txBody>
      <dsp:txXfrm>
        <a:off x="1368" y="0"/>
        <a:ext cx="2435106" cy="930228"/>
      </dsp:txXfrm>
    </dsp:sp>
    <dsp:sp modelId="{6AA26656-9EB2-4541-BA04-C2122D0DC9D7}">
      <dsp:nvSpPr>
        <dsp:cNvPr id="0" name=""/>
        <dsp:cNvSpPr/>
      </dsp:nvSpPr>
      <dsp:spPr>
        <a:xfrm>
          <a:off x="2135498" y="0"/>
          <a:ext cx="2667663" cy="930228"/>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Configure relationships</a:t>
          </a:r>
          <a:endParaRPr lang="en-US" sz="2200" kern="1200" dirty="0">
            <a:solidFill>
              <a:schemeClr val="tx1"/>
            </a:solidFill>
          </a:endParaRPr>
        </a:p>
      </dsp:txBody>
      <dsp:txXfrm>
        <a:off x="2600612" y="0"/>
        <a:ext cx="1737435" cy="930228"/>
      </dsp:txXfrm>
    </dsp:sp>
    <dsp:sp modelId="{4146E3F4-AF68-452B-8B57-6FCE6C865806}">
      <dsp:nvSpPr>
        <dsp:cNvPr id="0" name=""/>
        <dsp:cNvSpPr/>
      </dsp:nvSpPr>
      <dsp:spPr>
        <a:xfrm>
          <a:off x="4269629" y="0"/>
          <a:ext cx="2667663" cy="930228"/>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Enhance the model</a:t>
          </a:r>
          <a:endParaRPr lang="en-US" sz="2200" kern="1200" dirty="0">
            <a:solidFill>
              <a:schemeClr val="tx1"/>
            </a:solidFill>
          </a:endParaRPr>
        </a:p>
      </dsp:txBody>
      <dsp:txXfrm>
        <a:off x="4734743" y="0"/>
        <a:ext cx="1737435" cy="930228"/>
      </dsp:txXfrm>
    </dsp:sp>
    <dsp:sp modelId="{30718A47-861D-47C5-8621-0200AEBC2396}">
      <dsp:nvSpPr>
        <dsp:cNvPr id="0" name=""/>
        <dsp:cNvSpPr/>
      </dsp:nvSpPr>
      <dsp:spPr>
        <a:xfrm>
          <a:off x="6403760" y="0"/>
          <a:ext cx="2667663" cy="930228"/>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Design reports</a:t>
          </a:r>
          <a:endParaRPr lang="en-US" sz="2200" kern="1200" dirty="0">
            <a:solidFill>
              <a:schemeClr val="tx1"/>
            </a:solidFill>
          </a:endParaRPr>
        </a:p>
      </dsp:txBody>
      <dsp:txXfrm>
        <a:off x="6868874" y="0"/>
        <a:ext cx="1737435" cy="930228"/>
      </dsp:txXfrm>
    </dsp:sp>
    <dsp:sp modelId="{B2E58550-562D-4FAE-B431-03550C0E97AB}">
      <dsp:nvSpPr>
        <dsp:cNvPr id="0" name=""/>
        <dsp:cNvSpPr/>
      </dsp:nvSpPr>
      <dsp:spPr>
        <a:xfrm>
          <a:off x="8537891" y="0"/>
          <a:ext cx="2667663" cy="930228"/>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Publish to Power BI</a:t>
          </a:r>
          <a:endParaRPr lang="en-US" sz="2200" kern="1200" dirty="0">
            <a:solidFill>
              <a:schemeClr val="tx1"/>
            </a:solidFill>
          </a:endParaRPr>
        </a:p>
      </dsp:txBody>
      <dsp:txXfrm>
        <a:off x="9003005" y="0"/>
        <a:ext cx="1737435" cy="93022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492F20-71A7-46BA-9053-9A55B497D836}">
      <dsp:nvSpPr>
        <dsp:cNvPr id="0" name=""/>
        <dsp:cNvSpPr/>
      </dsp:nvSpPr>
      <dsp:spPr>
        <a:xfrm>
          <a:off x="1368" y="0"/>
          <a:ext cx="2667663" cy="930228"/>
        </a:xfrm>
        <a:prstGeom prst="homePlate">
          <a:avLst/>
        </a:prstGeom>
        <a:solidFill>
          <a:schemeClr val="bg1">
            <a:lumMod val="8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7348"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Create </a:t>
          </a:r>
          <a:br>
            <a:rPr lang="en-AU" sz="2200" kern="1200" dirty="0">
              <a:solidFill>
                <a:schemeClr val="tx1"/>
              </a:solidFill>
            </a:rPr>
          </a:br>
          <a:r>
            <a:rPr lang="en-AU" sz="2200" kern="1200" dirty="0">
              <a:solidFill>
                <a:schemeClr val="tx1"/>
              </a:solidFill>
            </a:rPr>
            <a:t>queries</a:t>
          </a:r>
          <a:endParaRPr lang="en-US" sz="2200" kern="1200" dirty="0">
            <a:solidFill>
              <a:schemeClr val="tx1"/>
            </a:solidFill>
          </a:endParaRPr>
        </a:p>
      </dsp:txBody>
      <dsp:txXfrm>
        <a:off x="1368" y="0"/>
        <a:ext cx="2435106" cy="930228"/>
      </dsp:txXfrm>
    </dsp:sp>
    <dsp:sp modelId="{6AA26656-9EB2-4541-BA04-C2122D0DC9D7}">
      <dsp:nvSpPr>
        <dsp:cNvPr id="0" name=""/>
        <dsp:cNvSpPr/>
      </dsp:nvSpPr>
      <dsp:spPr>
        <a:xfrm>
          <a:off x="2135498" y="0"/>
          <a:ext cx="2667663" cy="930228"/>
        </a:xfrm>
        <a:prstGeom prst="chevron">
          <a:avLst/>
        </a:prstGeom>
        <a:solidFill>
          <a:srgbClr val="F2C81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Configure relationships</a:t>
          </a:r>
          <a:endParaRPr lang="en-US" sz="2200" kern="1200" dirty="0">
            <a:solidFill>
              <a:schemeClr val="tx1"/>
            </a:solidFill>
          </a:endParaRPr>
        </a:p>
      </dsp:txBody>
      <dsp:txXfrm>
        <a:off x="2600612" y="0"/>
        <a:ext cx="1737435" cy="930228"/>
      </dsp:txXfrm>
    </dsp:sp>
    <dsp:sp modelId="{4146E3F4-AF68-452B-8B57-6FCE6C865806}">
      <dsp:nvSpPr>
        <dsp:cNvPr id="0" name=""/>
        <dsp:cNvSpPr/>
      </dsp:nvSpPr>
      <dsp:spPr>
        <a:xfrm>
          <a:off x="4269629" y="0"/>
          <a:ext cx="2667663" cy="930228"/>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Enhance the model</a:t>
          </a:r>
          <a:endParaRPr lang="en-US" sz="2200" kern="1200" dirty="0">
            <a:solidFill>
              <a:schemeClr val="tx1"/>
            </a:solidFill>
          </a:endParaRPr>
        </a:p>
      </dsp:txBody>
      <dsp:txXfrm>
        <a:off x="4734743" y="0"/>
        <a:ext cx="1737435" cy="930228"/>
      </dsp:txXfrm>
    </dsp:sp>
    <dsp:sp modelId="{30718A47-861D-47C5-8621-0200AEBC2396}">
      <dsp:nvSpPr>
        <dsp:cNvPr id="0" name=""/>
        <dsp:cNvSpPr/>
      </dsp:nvSpPr>
      <dsp:spPr>
        <a:xfrm>
          <a:off x="6403760" y="0"/>
          <a:ext cx="2667663" cy="930228"/>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Design reports</a:t>
          </a:r>
          <a:endParaRPr lang="en-US" sz="2200" kern="1200" dirty="0">
            <a:solidFill>
              <a:schemeClr val="tx1"/>
            </a:solidFill>
          </a:endParaRPr>
        </a:p>
      </dsp:txBody>
      <dsp:txXfrm>
        <a:off x="6868874" y="0"/>
        <a:ext cx="1737435" cy="930228"/>
      </dsp:txXfrm>
    </dsp:sp>
    <dsp:sp modelId="{B2E58550-562D-4FAE-B431-03550C0E97AB}">
      <dsp:nvSpPr>
        <dsp:cNvPr id="0" name=""/>
        <dsp:cNvSpPr/>
      </dsp:nvSpPr>
      <dsp:spPr>
        <a:xfrm>
          <a:off x="8537891" y="0"/>
          <a:ext cx="2667663" cy="930228"/>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Publish to Power BI</a:t>
          </a:r>
          <a:endParaRPr lang="en-US" sz="2200" kern="1200" dirty="0">
            <a:solidFill>
              <a:schemeClr val="tx1"/>
            </a:solidFill>
          </a:endParaRPr>
        </a:p>
      </dsp:txBody>
      <dsp:txXfrm>
        <a:off x="9003005" y="0"/>
        <a:ext cx="1737435" cy="93022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492F20-71A7-46BA-9053-9A55B497D836}">
      <dsp:nvSpPr>
        <dsp:cNvPr id="0" name=""/>
        <dsp:cNvSpPr/>
      </dsp:nvSpPr>
      <dsp:spPr>
        <a:xfrm>
          <a:off x="1368" y="0"/>
          <a:ext cx="2667663" cy="930228"/>
        </a:xfrm>
        <a:prstGeom prst="homePlate">
          <a:avLst/>
        </a:prstGeom>
        <a:solidFill>
          <a:schemeClr val="bg1">
            <a:lumMod val="8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7348"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Create </a:t>
          </a:r>
          <a:br>
            <a:rPr lang="en-AU" sz="2200" kern="1200" dirty="0">
              <a:solidFill>
                <a:schemeClr val="tx1"/>
              </a:solidFill>
            </a:rPr>
          </a:br>
          <a:r>
            <a:rPr lang="en-AU" sz="2200" kern="1200" dirty="0">
              <a:solidFill>
                <a:schemeClr val="tx1"/>
              </a:solidFill>
            </a:rPr>
            <a:t>queries</a:t>
          </a:r>
          <a:endParaRPr lang="en-US" sz="2200" kern="1200" dirty="0">
            <a:solidFill>
              <a:schemeClr val="tx1"/>
            </a:solidFill>
          </a:endParaRPr>
        </a:p>
      </dsp:txBody>
      <dsp:txXfrm>
        <a:off x="1368" y="0"/>
        <a:ext cx="2435106" cy="930228"/>
      </dsp:txXfrm>
    </dsp:sp>
    <dsp:sp modelId="{6AA26656-9EB2-4541-BA04-C2122D0DC9D7}">
      <dsp:nvSpPr>
        <dsp:cNvPr id="0" name=""/>
        <dsp:cNvSpPr/>
      </dsp:nvSpPr>
      <dsp:spPr>
        <a:xfrm>
          <a:off x="2135498" y="0"/>
          <a:ext cx="2667663" cy="930228"/>
        </a:xfrm>
        <a:prstGeom prst="chevron">
          <a:avLst/>
        </a:prstGeom>
        <a:solidFill>
          <a:schemeClr val="bg1">
            <a:lumMod val="8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Configure relationships</a:t>
          </a:r>
          <a:endParaRPr lang="en-US" sz="2200" kern="1200" dirty="0">
            <a:solidFill>
              <a:schemeClr val="tx1"/>
            </a:solidFill>
          </a:endParaRPr>
        </a:p>
      </dsp:txBody>
      <dsp:txXfrm>
        <a:off x="2600612" y="0"/>
        <a:ext cx="1737435" cy="930228"/>
      </dsp:txXfrm>
    </dsp:sp>
    <dsp:sp modelId="{4146E3F4-AF68-452B-8B57-6FCE6C865806}">
      <dsp:nvSpPr>
        <dsp:cNvPr id="0" name=""/>
        <dsp:cNvSpPr/>
      </dsp:nvSpPr>
      <dsp:spPr>
        <a:xfrm>
          <a:off x="4269629" y="0"/>
          <a:ext cx="2667663" cy="930228"/>
        </a:xfrm>
        <a:prstGeom prst="chevron">
          <a:avLst/>
        </a:prstGeom>
        <a:solidFill>
          <a:srgbClr val="F2C81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Enhance the model</a:t>
          </a:r>
          <a:endParaRPr lang="en-US" sz="2200" kern="1200" dirty="0">
            <a:solidFill>
              <a:schemeClr val="tx1"/>
            </a:solidFill>
          </a:endParaRPr>
        </a:p>
      </dsp:txBody>
      <dsp:txXfrm>
        <a:off x="4734743" y="0"/>
        <a:ext cx="1737435" cy="930228"/>
      </dsp:txXfrm>
    </dsp:sp>
    <dsp:sp modelId="{30718A47-861D-47C5-8621-0200AEBC2396}">
      <dsp:nvSpPr>
        <dsp:cNvPr id="0" name=""/>
        <dsp:cNvSpPr/>
      </dsp:nvSpPr>
      <dsp:spPr>
        <a:xfrm>
          <a:off x="6403760" y="0"/>
          <a:ext cx="2667663" cy="930228"/>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Design reports</a:t>
          </a:r>
          <a:endParaRPr lang="en-US" sz="2200" kern="1200" dirty="0">
            <a:solidFill>
              <a:schemeClr val="tx1"/>
            </a:solidFill>
          </a:endParaRPr>
        </a:p>
      </dsp:txBody>
      <dsp:txXfrm>
        <a:off x="6868874" y="0"/>
        <a:ext cx="1737435" cy="930228"/>
      </dsp:txXfrm>
    </dsp:sp>
    <dsp:sp modelId="{B2E58550-562D-4FAE-B431-03550C0E97AB}">
      <dsp:nvSpPr>
        <dsp:cNvPr id="0" name=""/>
        <dsp:cNvSpPr/>
      </dsp:nvSpPr>
      <dsp:spPr>
        <a:xfrm>
          <a:off x="8537891" y="0"/>
          <a:ext cx="2667663" cy="930228"/>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Publish to Power BI</a:t>
          </a:r>
          <a:endParaRPr lang="en-US" sz="2200" kern="1200" dirty="0">
            <a:solidFill>
              <a:schemeClr val="tx1"/>
            </a:solidFill>
          </a:endParaRPr>
        </a:p>
      </dsp:txBody>
      <dsp:txXfrm>
        <a:off x="9003005" y="0"/>
        <a:ext cx="1737435" cy="93022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492F20-71A7-46BA-9053-9A55B497D836}">
      <dsp:nvSpPr>
        <dsp:cNvPr id="0" name=""/>
        <dsp:cNvSpPr/>
      </dsp:nvSpPr>
      <dsp:spPr>
        <a:xfrm>
          <a:off x="1368" y="0"/>
          <a:ext cx="2667663" cy="930228"/>
        </a:xfrm>
        <a:prstGeom prst="homePlate">
          <a:avLst/>
        </a:prstGeom>
        <a:solidFill>
          <a:schemeClr val="bg1">
            <a:lumMod val="8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7348"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Create </a:t>
          </a:r>
          <a:br>
            <a:rPr lang="en-AU" sz="2200" kern="1200" dirty="0">
              <a:solidFill>
                <a:schemeClr val="tx1"/>
              </a:solidFill>
            </a:rPr>
          </a:br>
          <a:r>
            <a:rPr lang="en-AU" sz="2200" kern="1200" dirty="0">
              <a:solidFill>
                <a:schemeClr val="tx1"/>
              </a:solidFill>
            </a:rPr>
            <a:t>queries</a:t>
          </a:r>
          <a:endParaRPr lang="en-US" sz="2200" kern="1200" dirty="0">
            <a:solidFill>
              <a:schemeClr val="tx1"/>
            </a:solidFill>
          </a:endParaRPr>
        </a:p>
      </dsp:txBody>
      <dsp:txXfrm>
        <a:off x="1368" y="0"/>
        <a:ext cx="2435106" cy="930228"/>
      </dsp:txXfrm>
    </dsp:sp>
    <dsp:sp modelId="{6AA26656-9EB2-4541-BA04-C2122D0DC9D7}">
      <dsp:nvSpPr>
        <dsp:cNvPr id="0" name=""/>
        <dsp:cNvSpPr/>
      </dsp:nvSpPr>
      <dsp:spPr>
        <a:xfrm>
          <a:off x="2135498" y="0"/>
          <a:ext cx="2667663" cy="930228"/>
        </a:xfrm>
        <a:prstGeom prst="chevron">
          <a:avLst/>
        </a:prstGeom>
        <a:solidFill>
          <a:schemeClr val="bg1">
            <a:lumMod val="8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Configure relationships</a:t>
          </a:r>
          <a:endParaRPr lang="en-US" sz="2200" kern="1200" dirty="0">
            <a:solidFill>
              <a:schemeClr val="tx1"/>
            </a:solidFill>
          </a:endParaRPr>
        </a:p>
      </dsp:txBody>
      <dsp:txXfrm>
        <a:off x="2600612" y="0"/>
        <a:ext cx="1737435" cy="930228"/>
      </dsp:txXfrm>
    </dsp:sp>
    <dsp:sp modelId="{4146E3F4-AF68-452B-8B57-6FCE6C865806}">
      <dsp:nvSpPr>
        <dsp:cNvPr id="0" name=""/>
        <dsp:cNvSpPr/>
      </dsp:nvSpPr>
      <dsp:spPr>
        <a:xfrm>
          <a:off x="4269629" y="0"/>
          <a:ext cx="2667663" cy="930228"/>
        </a:xfrm>
        <a:prstGeom prst="chevron">
          <a:avLst/>
        </a:prstGeom>
        <a:solidFill>
          <a:schemeClr val="bg1">
            <a:lumMod val="8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Enhance the model</a:t>
          </a:r>
          <a:endParaRPr lang="en-US" sz="2200" kern="1200" dirty="0">
            <a:solidFill>
              <a:schemeClr val="tx1"/>
            </a:solidFill>
          </a:endParaRPr>
        </a:p>
      </dsp:txBody>
      <dsp:txXfrm>
        <a:off x="4734743" y="0"/>
        <a:ext cx="1737435" cy="930228"/>
      </dsp:txXfrm>
    </dsp:sp>
    <dsp:sp modelId="{30718A47-861D-47C5-8621-0200AEBC2396}">
      <dsp:nvSpPr>
        <dsp:cNvPr id="0" name=""/>
        <dsp:cNvSpPr/>
      </dsp:nvSpPr>
      <dsp:spPr>
        <a:xfrm>
          <a:off x="6403760" y="0"/>
          <a:ext cx="2667663" cy="930228"/>
        </a:xfrm>
        <a:prstGeom prst="chevron">
          <a:avLst/>
        </a:prstGeom>
        <a:solidFill>
          <a:srgbClr val="F2C81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Design reports</a:t>
          </a:r>
          <a:endParaRPr lang="en-US" sz="2200" kern="1200" dirty="0">
            <a:solidFill>
              <a:schemeClr val="tx1"/>
            </a:solidFill>
          </a:endParaRPr>
        </a:p>
      </dsp:txBody>
      <dsp:txXfrm>
        <a:off x="6868874" y="0"/>
        <a:ext cx="1737435" cy="930228"/>
      </dsp:txXfrm>
    </dsp:sp>
    <dsp:sp modelId="{B2E58550-562D-4FAE-B431-03550C0E97AB}">
      <dsp:nvSpPr>
        <dsp:cNvPr id="0" name=""/>
        <dsp:cNvSpPr/>
      </dsp:nvSpPr>
      <dsp:spPr>
        <a:xfrm>
          <a:off x="8537891" y="0"/>
          <a:ext cx="2667663" cy="930228"/>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Publish to Power BI</a:t>
          </a:r>
          <a:endParaRPr lang="en-US" sz="2200" kern="1200" dirty="0">
            <a:solidFill>
              <a:schemeClr val="tx1"/>
            </a:solidFill>
          </a:endParaRPr>
        </a:p>
      </dsp:txBody>
      <dsp:txXfrm>
        <a:off x="9003005" y="0"/>
        <a:ext cx="1737435" cy="93022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492F20-71A7-46BA-9053-9A55B497D836}">
      <dsp:nvSpPr>
        <dsp:cNvPr id="0" name=""/>
        <dsp:cNvSpPr/>
      </dsp:nvSpPr>
      <dsp:spPr>
        <a:xfrm>
          <a:off x="1368" y="0"/>
          <a:ext cx="2667663" cy="930228"/>
        </a:xfrm>
        <a:prstGeom prst="homePlate">
          <a:avLst/>
        </a:prstGeom>
        <a:solidFill>
          <a:schemeClr val="bg1">
            <a:lumMod val="8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7348"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Create </a:t>
          </a:r>
          <a:br>
            <a:rPr lang="en-AU" sz="2200" kern="1200" dirty="0">
              <a:solidFill>
                <a:schemeClr val="tx1"/>
              </a:solidFill>
            </a:rPr>
          </a:br>
          <a:r>
            <a:rPr lang="en-AU" sz="2200" kern="1200" dirty="0">
              <a:solidFill>
                <a:schemeClr val="tx1"/>
              </a:solidFill>
            </a:rPr>
            <a:t>queries</a:t>
          </a:r>
          <a:endParaRPr lang="en-US" sz="2200" kern="1200" dirty="0">
            <a:solidFill>
              <a:schemeClr val="tx1"/>
            </a:solidFill>
          </a:endParaRPr>
        </a:p>
      </dsp:txBody>
      <dsp:txXfrm>
        <a:off x="1368" y="0"/>
        <a:ext cx="2435106" cy="930228"/>
      </dsp:txXfrm>
    </dsp:sp>
    <dsp:sp modelId="{6AA26656-9EB2-4541-BA04-C2122D0DC9D7}">
      <dsp:nvSpPr>
        <dsp:cNvPr id="0" name=""/>
        <dsp:cNvSpPr/>
      </dsp:nvSpPr>
      <dsp:spPr>
        <a:xfrm>
          <a:off x="2135498" y="0"/>
          <a:ext cx="2667663" cy="930228"/>
        </a:xfrm>
        <a:prstGeom prst="chevron">
          <a:avLst/>
        </a:prstGeom>
        <a:solidFill>
          <a:schemeClr val="bg1">
            <a:lumMod val="8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Configure relationships</a:t>
          </a:r>
          <a:endParaRPr lang="en-US" sz="2200" kern="1200" dirty="0">
            <a:solidFill>
              <a:schemeClr val="tx1"/>
            </a:solidFill>
          </a:endParaRPr>
        </a:p>
      </dsp:txBody>
      <dsp:txXfrm>
        <a:off x="2600612" y="0"/>
        <a:ext cx="1737435" cy="930228"/>
      </dsp:txXfrm>
    </dsp:sp>
    <dsp:sp modelId="{4146E3F4-AF68-452B-8B57-6FCE6C865806}">
      <dsp:nvSpPr>
        <dsp:cNvPr id="0" name=""/>
        <dsp:cNvSpPr/>
      </dsp:nvSpPr>
      <dsp:spPr>
        <a:xfrm>
          <a:off x="4269629" y="0"/>
          <a:ext cx="2667663" cy="930228"/>
        </a:xfrm>
        <a:prstGeom prst="chevron">
          <a:avLst/>
        </a:prstGeom>
        <a:solidFill>
          <a:schemeClr val="bg1">
            <a:lumMod val="8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Enhance the model</a:t>
          </a:r>
          <a:endParaRPr lang="en-US" sz="2200" kern="1200" dirty="0">
            <a:solidFill>
              <a:schemeClr val="tx1"/>
            </a:solidFill>
          </a:endParaRPr>
        </a:p>
      </dsp:txBody>
      <dsp:txXfrm>
        <a:off x="4734743" y="0"/>
        <a:ext cx="1737435" cy="930228"/>
      </dsp:txXfrm>
    </dsp:sp>
    <dsp:sp modelId="{30718A47-861D-47C5-8621-0200AEBC2396}">
      <dsp:nvSpPr>
        <dsp:cNvPr id="0" name=""/>
        <dsp:cNvSpPr/>
      </dsp:nvSpPr>
      <dsp:spPr>
        <a:xfrm>
          <a:off x="6403760" y="0"/>
          <a:ext cx="2667663" cy="930228"/>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Design reports</a:t>
          </a:r>
          <a:endParaRPr lang="en-US" sz="2200" kern="1200" dirty="0">
            <a:solidFill>
              <a:schemeClr val="tx1"/>
            </a:solidFill>
          </a:endParaRPr>
        </a:p>
      </dsp:txBody>
      <dsp:txXfrm>
        <a:off x="6868874" y="0"/>
        <a:ext cx="1737435" cy="930228"/>
      </dsp:txXfrm>
    </dsp:sp>
    <dsp:sp modelId="{B2E58550-562D-4FAE-B431-03550C0E97AB}">
      <dsp:nvSpPr>
        <dsp:cNvPr id="0" name=""/>
        <dsp:cNvSpPr/>
      </dsp:nvSpPr>
      <dsp:spPr>
        <a:xfrm>
          <a:off x="8537891" y="0"/>
          <a:ext cx="2667663" cy="930228"/>
        </a:xfrm>
        <a:prstGeom prst="chevron">
          <a:avLst/>
        </a:prstGeom>
        <a:solidFill>
          <a:srgbClr val="F2C81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Publish to Power BI</a:t>
          </a:r>
          <a:endParaRPr lang="en-US" sz="2200" kern="1200" dirty="0">
            <a:solidFill>
              <a:schemeClr val="tx1"/>
            </a:solidFill>
          </a:endParaRPr>
        </a:p>
      </dsp:txBody>
      <dsp:txXfrm>
        <a:off x="9003005" y="0"/>
        <a:ext cx="1737435" cy="930228"/>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8427" cy="513508"/>
          </a:xfrm>
          <a:prstGeom prst="rect">
            <a:avLst/>
          </a:prstGeom>
        </p:spPr>
        <p:txBody>
          <a:bodyPr vert="horz" lIns="99075" tIns="49538" rIns="99075" bIns="49538" rtlCol="0"/>
          <a:lstStyle>
            <a:lvl1pPr algn="l">
              <a:defRPr sz="1300"/>
            </a:lvl1pPr>
          </a:lstStyle>
          <a:p>
            <a:endParaRPr lang="en-US" dirty="0"/>
          </a:p>
        </p:txBody>
      </p:sp>
      <p:sp>
        <p:nvSpPr>
          <p:cNvPr id="3" name="Date Placeholder 2"/>
          <p:cNvSpPr>
            <a:spLocks noGrp="1"/>
          </p:cNvSpPr>
          <p:nvPr>
            <p:ph type="dt" sz="quarter" idx="1"/>
          </p:nvPr>
        </p:nvSpPr>
        <p:spPr>
          <a:xfrm>
            <a:off x="4023992" y="0"/>
            <a:ext cx="3078427" cy="513508"/>
          </a:xfrm>
          <a:prstGeom prst="rect">
            <a:avLst/>
          </a:prstGeom>
        </p:spPr>
        <p:txBody>
          <a:bodyPr vert="horz" lIns="99075" tIns="49538" rIns="99075" bIns="49538" rtlCol="0"/>
          <a:lstStyle>
            <a:lvl1pPr algn="r">
              <a:defRPr sz="1300"/>
            </a:lvl1pPr>
          </a:lstStyle>
          <a:p>
            <a:fld id="{A20ACBEE-26EB-47D1-A9F0-3869EF1078CC}" type="datetimeFigureOut">
              <a:rPr lang="en-US" smtClean="0"/>
              <a:t>9/4/2016</a:t>
            </a:fld>
            <a:endParaRPr lang="en-US" dirty="0"/>
          </a:p>
        </p:txBody>
      </p:sp>
      <p:sp>
        <p:nvSpPr>
          <p:cNvPr id="4" name="Footer Placeholder 3"/>
          <p:cNvSpPr>
            <a:spLocks noGrp="1"/>
          </p:cNvSpPr>
          <p:nvPr>
            <p:ph type="ftr" sz="quarter" idx="2"/>
          </p:nvPr>
        </p:nvSpPr>
        <p:spPr>
          <a:xfrm>
            <a:off x="0" y="9721107"/>
            <a:ext cx="3078427" cy="513507"/>
          </a:xfrm>
          <a:prstGeom prst="rect">
            <a:avLst/>
          </a:prstGeom>
        </p:spPr>
        <p:txBody>
          <a:bodyPr vert="horz" lIns="99075" tIns="49538" rIns="99075" bIns="49538" rtlCol="0" anchor="b"/>
          <a:lstStyle>
            <a:lvl1pPr algn="l">
              <a:defRPr sz="1300"/>
            </a:lvl1pPr>
          </a:lstStyle>
          <a:p>
            <a:endParaRPr lang="en-US" dirty="0"/>
          </a:p>
        </p:txBody>
      </p:sp>
      <p:sp>
        <p:nvSpPr>
          <p:cNvPr id="5" name="Slide Number Placeholder 4"/>
          <p:cNvSpPr>
            <a:spLocks noGrp="1"/>
          </p:cNvSpPr>
          <p:nvPr>
            <p:ph type="sldNum" sz="quarter" idx="3"/>
          </p:nvPr>
        </p:nvSpPr>
        <p:spPr>
          <a:xfrm>
            <a:off x="4023992" y="9721107"/>
            <a:ext cx="3078427" cy="513507"/>
          </a:xfrm>
          <a:prstGeom prst="rect">
            <a:avLst/>
          </a:prstGeom>
        </p:spPr>
        <p:txBody>
          <a:bodyPr vert="horz" lIns="99075" tIns="49538" rIns="99075" bIns="49538" rtlCol="0" anchor="b"/>
          <a:lstStyle>
            <a:lvl1pPr algn="r">
              <a:defRPr sz="1300"/>
            </a:lvl1pPr>
          </a:lstStyle>
          <a:p>
            <a:fld id="{76A12792-E5BA-4BF5-BFE4-0C13B9FB5B42}" type="slidenum">
              <a:rPr lang="en-US" smtClean="0"/>
              <a:t>‹#›</a:t>
            </a:fld>
            <a:endParaRPr lang="en-US" dirty="0"/>
          </a:p>
        </p:txBody>
      </p:sp>
    </p:spTree>
    <p:extLst>
      <p:ext uri="{BB962C8B-B14F-4D97-AF65-F5344CB8AC3E}">
        <p14:creationId xmlns:p14="http://schemas.microsoft.com/office/powerpoint/2010/main" val="170753095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8427" cy="513508"/>
          </a:xfrm>
          <a:prstGeom prst="rect">
            <a:avLst/>
          </a:prstGeom>
        </p:spPr>
        <p:txBody>
          <a:bodyPr vert="horz" lIns="99075" tIns="49538" rIns="99075" bIns="49538" rtlCol="0"/>
          <a:lstStyle>
            <a:lvl1pPr algn="l">
              <a:defRPr sz="1300"/>
            </a:lvl1pPr>
          </a:lstStyle>
          <a:p>
            <a:endParaRPr lang="en-US" dirty="0"/>
          </a:p>
        </p:txBody>
      </p:sp>
      <p:sp>
        <p:nvSpPr>
          <p:cNvPr id="3" name="Date Placeholder 2"/>
          <p:cNvSpPr>
            <a:spLocks noGrp="1"/>
          </p:cNvSpPr>
          <p:nvPr>
            <p:ph type="dt" idx="1"/>
          </p:nvPr>
        </p:nvSpPr>
        <p:spPr>
          <a:xfrm>
            <a:off x="4023992" y="0"/>
            <a:ext cx="3078427" cy="513508"/>
          </a:xfrm>
          <a:prstGeom prst="rect">
            <a:avLst/>
          </a:prstGeom>
        </p:spPr>
        <p:txBody>
          <a:bodyPr vert="horz" lIns="99075" tIns="49538" rIns="99075" bIns="49538" rtlCol="0"/>
          <a:lstStyle>
            <a:lvl1pPr algn="r">
              <a:defRPr sz="1300"/>
            </a:lvl1pPr>
          </a:lstStyle>
          <a:p>
            <a:fld id="{51F472B0-9DBF-4374-8A70-DE9093E7996C}" type="datetimeFigureOut">
              <a:rPr lang="en-US" smtClean="0"/>
              <a:t>9/4/2016</a:t>
            </a:fld>
            <a:endParaRPr lang="en-US" dirty="0"/>
          </a:p>
        </p:txBody>
      </p:sp>
      <p:sp>
        <p:nvSpPr>
          <p:cNvPr id="4" name="Slide Image Placeholder 3"/>
          <p:cNvSpPr>
            <a:spLocks noGrp="1" noRot="1" noChangeAspect="1"/>
          </p:cNvSpPr>
          <p:nvPr>
            <p:ph type="sldImg" idx="2"/>
          </p:nvPr>
        </p:nvSpPr>
        <p:spPr>
          <a:xfrm>
            <a:off x="482600" y="1279525"/>
            <a:ext cx="6140450" cy="3454400"/>
          </a:xfrm>
          <a:prstGeom prst="rect">
            <a:avLst/>
          </a:prstGeom>
          <a:noFill/>
          <a:ln w="12700">
            <a:solidFill>
              <a:prstClr val="black"/>
            </a:solidFill>
          </a:ln>
        </p:spPr>
        <p:txBody>
          <a:bodyPr vert="horz" lIns="99075" tIns="49538" rIns="99075" bIns="49538" rtlCol="0" anchor="ctr"/>
          <a:lstStyle/>
          <a:p>
            <a:endParaRPr lang="en-US" dirty="0"/>
          </a:p>
        </p:txBody>
      </p:sp>
      <p:sp>
        <p:nvSpPr>
          <p:cNvPr id="5" name="Notes Placeholder 4"/>
          <p:cNvSpPr>
            <a:spLocks noGrp="1"/>
          </p:cNvSpPr>
          <p:nvPr>
            <p:ph type="body" sz="quarter" idx="3"/>
          </p:nvPr>
        </p:nvSpPr>
        <p:spPr>
          <a:xfrm>
            <a:off x="710407" y="4925407"/>
            <a:ext cx="5683250" cy="4029879"/>
          </a:xfrm>
          <a:prstGeom prst="rect">
            <a:avLst/>
          </a:prstGeom>
        </p:spPr>
        <p:txBody>
          <a:bodyPr vert="horz" lIns="99075" tIns="49538" rIns="99075" bIns="4953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721107"/>
            <a:ext cx="3078427" cy="513507"/>
          </a:xfrm>
          <a:prstGeom prst="rect">
            <a:avLst/>
          </a:prstGeom>
        </p:spPr>
        <p:txBody>
          <a:bodyPr vert="horz" lIns="99075" tIns="49538" rIns="99075" bIns="49538" rtlCol="0" anchor="b"/>
          <a:lstStyle>
            <a:lvl1pPr algn="l">
              <a:defRPr sz="1300"/>
            </a:lvl1pPr>
          </a:lstStyle>
          <a:p>
            <a:endParaRPr lang="en-US" dirty="0"/>
          </a:p>
        </p:txBody>
      </p:sp>
      <p:sp>
        <p:nvSpPr>
          <p:cNvPr id="7" name="Slide Number Placeholder 6"/>
          <p:cNvSpPr>
            <a:spLocks noGrp="1"/>
          </p:cNvSpPr>
          <p:nvPr>
            <p:ph type="sldNum" sz="quarter" idx="5"/>
          </p:nvPr>
        </p:nvSpPr>
        <p:spPr>
          <a:xfrm>
            <a:off x="4023992" y="9721107"/>
            <a:ext cx="3078427" cy="513507"/>
          </a:xfrm>
          <a:prstGeom prst="rect">
            <a:avLst/>
          </a:prstGeom>
        </p:spPr>
        <p:txBody>
          <a:bodyPr vert="horz" lIns="99075" tIns="49538" rIns="99075" bIns="49538" rtlCol="0" anchor="b"/>
          <a:lstStyle>
            <a:lvl1pPr algn="r">
              <a:defRPr sz="1300"/>
            </a:lvl1pPr>
          </a:lstStyle>
          <a:p>
            <a:fld id="{DD81A89D-8738-4ED5-BF6E-F438F4965D3F}" type="slidenum">
              <a:rPr lang="en-US" smtClean="0"/>
              <a:t>‹#›</a:t>
            </a:fld>
            <a:endParaRPr lang="en-US" dirty="0"/>
          </a:p>
        </p:txBody>
      </p:sp>
    </p:spTree>
    <p:extLst>
      <p:ext uri="{BB962C8B-B14F-4D97-AF65-F5344CB8AC3E}">
        <p14:creationId xmlns:p14="http://schemas.microsoft.com/office/powerpoint/2010/main" val="42700266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Welcome to this presentation!</a:t>
            </a:r>
            <a:endParaRPr lang="en-US" dirty="0"/>
          </a:p>
        </p:txBody>
      </p:sp>
      <p:sp>
        <p:nvSpPr>
          <p:cNvPr id="4" name="Slide Number Placeholder 3"/>
          <p:cNvSpPr>
            <a:spLocks noGrp="1"/>
          </p:cNvSpPr>
          <p:nvPr>
            <p:ph type="sldNum" sz="quarter" idx="10"/>
          </p:nvPr>
        </p:nvSpPr>
        <p:spPr/>
        <p:txBody>
          <a:bodyPr/>
          <a:lstStyle/>
          <a:p>
            <a:fld id="{075C3270-D5B6-4AE0-BFEC-3BB548CBAE0E}" type="slidenum">
              <a:rPr lang="en-US" smtClean="0"/>
              <a:t>1</a:t>
            </a:fld>
            <a:endParaRPr lang="en-US" dirty="0"/>
          </a:p>
        </p:txBody>
      </p:sp>
    </p:spTree>
    <p:extLst>
      <p:ext uri="{BB962C8B-B14F-4D97-AF65-F5344CB8AC3E}">
        <p14:creationId xmlns:p14="http://schemas.microsoft.com/office/powerpoint/2010/main" val="10768756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base:</a:t>
            </a:r>
          </a:p>
          <a:p>
            <a:pPr marL="185766" indent="-185766">
              <a:buFont typeface="Arial" panose="020B0604020202020204" pitchFamily="34" charset="0"/>
              <a:buChar char="•"/>
            </a:pPr>
            <a:r>
              <a:rPr lang="en-AU" dirty="0"/>
              <a:t>https://support.powerbi.com/knowledgebase/topics/75729-power-bi-app-for-windows</a:t>
            </a:r>
          </a:p>
          <a:p>
            <a:pPr marL="185766" indent="-185766">
              <a:buFont typeface="Arial" panose="020B0604020202020204" pitchFamily="34" charset="0"/>
              <a:buChar char="•"/>
            </a:pPr>
            <a:r>
              <a:rPr lang="en-US" dirty="0"/>
              <a:t>https://support.powerbi.com/knowledgebase/topics/78002-iphone-app-power-bi-for-ios</a:t>
            </a:r>
          </a:p>
          <a:p>
            <a:pPr marL="185766" indent="-185766">
              <a:buFont typeface="Arial" panose="020B0604020202020204" pitchFamily="34" charset="0"/>
              <a:buChar char="•"/>
            </a:pPr>
            <a:r>
              <a:rPr lang="en-US" dirty="0"/>
              <a:t>https://support.powerbi.com/knowledgebase/topics/85887-power-bi-app-for-android-phones</a:t>
            </a:r>
          </a:p>
        </p:txBody>
      </p:sp>
      <p:sp>
        <p:nvSpPr>
          <p:cNvPr id="4" name="Slide Number Placeholder 3"/>
          <p:cNvSpPr>
            <a:spLocks noGrp="1"/>
          </p:cNvSpPr>
          <p:nvPr>
            <p:ph type="sldNum" sz="quarter" idx="10"/>
          </p:nvPr>
        </p:nvSpPr>
        <p:spPr/>
        <p:txBody>
          <a:bodyPr/>
          <a:lstStyle/>
          <a:p>
            <a:fld id="{DD81A89D-8738-4ED5-BF6E-F438F4965D3F}" type="slidenum">
              <a:rPr lang="en-US" smtClean="0"/>
              <a:t>11</a:t>
            </a:fld>
            <a:endParaRPr lang="en-US" dirty="0"/>
          </a:p>
        </p:txBody>
      </p:sp>
    </p:spTree>
    <p:extLst>
      <p:ext uri="{BB962C8B-B14F-4D97-AF65-F5344CB8AC3E}">
        <p14:creationId xmlns:p14="http://schemas.microsoft.com/office/powerpoint/2010/main" val="6445670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AU" dirty="0"/>
              <a:t>Introduce the </a:t>
            </a:r>
            <a:r>
              <a:rPr lang="en-AU" baseline="0" dirty="0"/>
              <a:t>module title and topics.</a:t>
            </a:r>
            <a:endParaRPr lang="en-US" dirty="0"/>
          </a:p>
          <a:p>
            <a:r>
              <a:rPr lang="en-AU" baseline="0" dirty="0"/>
              <a:t>It is recommended that you become fully familiar with the module content by researching the topics at the Power BI knowledgebase: https://support.powerbi.com/knowledgebase - many links are provided in the presenter notes.</a:t>
            </a:r>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2</a:t>
            </a:fld>
            <a:endParaRPr lang="en-US" dirty="0"/>
          </a:p>
        </p:txBody>
      </p:sp>
    </p:spTree>
    <p:extLst>
      <p:ext uri="{BB962C8B-B14F-4D97-AF65-F5344CB8AC3E}">
        <p14:creationId xmlns:p14="http://schemas.microsoft.com/office/powerpoint/2010/main" val="27313700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AU" dirty="0"/>
              <a:t>Power BI Knowledgebase:</a:t>
            </a:r>
          </a:p>
          <a:p>
            <a:pPr marL="185766" indent="-185766" defTabSz="990752">
              <a:buFont typeface="Arial" panose="020B0604020202020204" pitchFamily="34" charset="0"/>
              <a:buChar char="•"/>
              <a:defRPr/>
            </a:pPr>
            <a:r>
              <a:rPr lang="en-US" dirty="0"/>
              <a:t>https://support.powerbi.com/knowledgebase/topics/63369-get-data</a:t>
            </a:r>
          </a:p>
          <a:p>
            <a:pPr marL="185766" indent="-185766" defTabSz="990752">
              <a:buFont typeface="Arial" panose="020B0604020202020204" pitchFamily="34" charset="0"/>
              <a:buChar char="•"/>
              <a:defRPr/>
            </a:pPr>
            <a:r>
              <a:rPr lang="en-US" dirty="0"/>
              <a:t>https://support.powerbi.com/knowledgebase/topics/88767-files-in-power-bi</a:t>
            </a:r>
          </a:p>
        </p:txBody>
      </p:sp>
      <p:sp>
        <p:nvSpPr>
          <p:cNvPr id="4" name="Slide Number Placeholder 3"/>
          <p:cNvSpPr>
            <a:spLocks noGrp="1"/>
          </p:cNvSpPr>
          <p:nvPr>
            <p:ph type="sldNum" sz="quarter" idx="10"/>
          </p:nvPr>
        </p:nvSpPr>
        <p:spPr/>
        <p:txBody>
          <a:bodyPr/>
          <a:lstStyle/>
          <a:p>
            <a:fld id="{DD81A89D-8738-4ED5-BF6E-F438F4965D3F}" type="slidenum">
              <a:rPr lang="en-US" smtClean="0"/>
              <a:t>13</a:t>
            </a:fld>
            <a:endParaRPr lang="en-US" dirty="0"/>
          </a:p>
        </p:txBody>
      </p:sp>
    </p:spTree>
    <p:extLst>
      <p:ext uri="{BB962C8B-B14F-4D97-AF65-F5344CB8AC3E}">
        <p14:creationId xmlns:p14="http://schemas.microsoft.com/office/powerpoint/2010/main" val="10900748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4</a:t>
            </a:fld>
            <a:endParaRPr lang="en-US" dirty="0"/>
          </a:p>
        </p:txBody>
      </p:sp>
    </p:spTree>
    <p:extLst>
      <p:ext uri="{BB962C8B-B14F-4D97-AF65-F5344CB8AC3E}">
        <p14:creationId xmlns:p14="http://schemas.microsoft.com/office/powerpoint/2010/main" val="13085364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8</a:t>
            </a:fld>
            <a:endParaRPr lang="en-US" dirty="0"/>
          </a:p>
        </p:txBody>
      </p:sp>
    </p:spTree>
    <p:extLst>
      <p:ext uri="{BB962C8B-B14F-4D97-AF65-F5344CB8AC3E}">
        <p14:creationId xmlns:p14="http://schemas.microsoft.com/office/powerpoint/2010/main" val="26564802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base: https://support.powerbi.com/knowledgebase/articles/568614-azure-and-power-bi</a:t>
            </a:r>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20</a:t>
            </a:fld>
            <a:endParaRPr lang="en-US" dirty="0"/>
          </a:p>
        </p:txBody>
      </p:sp>
    </p:spTree>
    <p:extLst>
      <p:ext uri="{BB962C8B-B14F-4D97-AF65-F5344CB8AC3E}">
        <p14:creationId xmlns:p14="http://schemas.microsoft.com/office/powerpoint/2010/main" val="11887613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Introduce the </a:t>
            </a:r>
            <a:r>
              <a:rPr lang="en-AU" baseline="0" dirty="0"/>
              <a:t>module title and topics.</a:t>
            </a:r>
          </a:p>
          <a:p>
            <a:r>
              <a:rPr lang="en-AU" baseline="0" dirty="0"/>
              <a:t>It is recommended that you become fully familiar with the module content by researching the topics at the Power BI knowledgebase: https://support.powerbi.com/knowledgebase - many links are provided in the presenter notes.</a:t>
            </a:r>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24</a:t>
            </a:fld>
            <a:endParaRPr lang="en-US" dirty="0"/>
          </a:p>
        </p:txBody>
      </p:sp>
    </p:spTree>
    <p:extLst>
      <p:ext uri="{BB962C8B-B14F-4D97-AF65-F5344CB8AC3E}">
        <p14:creationId xmlns:p14="http://schemas.microsoft.com/office/powerpoint/2010/main" val="355456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It all begins by connecting to, and retrieving,</a:t>
            </a:r>
            <a:r>
              <a:rPr lang="en-AU" baseline="0" dirty="0"/>
              <a:t> data.</a:t>
            </a:r>
            <a:endParaRPr lang="en-AU" dirty="0"/>
          </a:p>
          <a:p>
            <a:r>
              <a:rPr lang="en-AU" dirty="0"/>
              <a:t>Power BI knowledgebase: https://support.powerbi.com/knowledgebase/articles/471635-connect-to-data-in-power-bi-designer</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25</a:t>
            </a:fld>
            <a:endParaRPr lang="en-US" dirty="0"/>
          </a:p>
        </p:txBody>
      </p:sp>
    </p:spTree>
    <p:extLst>
      <p:ext uri="{BB962C8B-B14F-4D97-AF65-F5344CB8AC3E}">
        <p14:creationId xmlns:p14="http://schemas.microsoft.com/office/powerpoint/2010/main" val="32008858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The three views provide</a:t>
            </a:r>
            <a:r>
              <a:rPr lang="en-AU" baseline="0" dirty="0"/>
              <a:t> alternate user experiences to work with their model.</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26</a:t>
            </a:fld>
            <a:endParaRPr lang="en-US" dirty="0"/>
          </a:p>
        </p:txBody>
      </p:sp>
    </p:spTree>
    <p:extLst>
      <p:ext uri="{BB962C8B-B14F-4D97-AF65-F5344CB8AC3E}">
        <p14:creationId xmlns:p14="http://schemas.microsoft.com/office/powerpoint/2010/main" val="242655514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a:t>
            </a:r>
            <a:r>
              <a:rPr lang="en-AU"/>
              <a:t>knowledge</a:t>
            </a:r>
            <a:r>
              <a:rPr lang="en-AU" baseline="0"/>
              <a:t> base: https://support.powerbi.com/knowledgebase/articles/461283-report-view-in-power-bi-designer</a:t>
            </a:r>
          </a:p>
          <a:p>
            <a:endParaRPr lang="en-US"/>
          </a:p>
        </p:txBody>
      </p:sp>
      <p:sp>
        <p:nvSpPr>
          <p:cNvPr id="4" name="Slide Number Placeholder 3"/>
          <p:cNvSpPr>
            <a:spLocks noGrp="1"/>
          </p:cNvSpPr>
          <p:nvPr>
            <p:ph type="sldNum" sz="quarter" idx="10"/>
          </p:nvPr>
        </p:nvSpPr>
        <p:spPr/>
        <p:txBody>
          <a:bodyPr/>
          <a:lstStyle/>
          <a:p>
            <a:fld id="{DD81A89D-8738-4ED5-BF6E-F438F4965D3F}" type="slidenum">
              <a:rPr lang="en-US" smtClean="0"/>
              <a:t>27</a:t>
            </a:fld>
            <a:endParaRPr lang="en-US" dirty="0"/>
          </a:p>
        </p:txBody>
      </p:sp>
    </p:spTree>
    <p:extLst>
      <p:ext uri="{BB962C8B-B14F-4D97-AF65-F5344CB8AC3E}">
        <p14:creationId xmlns:p14="http://schemas.microsoft.com/office/powerpoint/2010/main" val="19847619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Introduce the </a:t>
            </a:r>
            <a:r>
              <a:rPr lang="en-AU" baseline="0" dirty="0"/>
              <a:t>module title and topics.</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2</a:t>
            </a:fld>
            <a:endParaRPr lang="en-US" dirty="0"/>
          </a:p>
        </p:txBody>
      </p:sp>
    </p:spTree>
    <p:extLst>
      <p:ext uri="{BB962C8B-B14F-4D97-AF65-F5344CB8AC3E}">
        <p14:creationId xmlns:p14="http://schemas.microsoft.com/office/powerpoint/2010/main" val="36795980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Stress the</a:t>
            </a:r>
            <a:r>
              <a:rPr lang="en-AU" baseline="0" dirty="0"/>
              <a:t> messaging on this slide, in particular the note about competitor advantage.</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28</a:t>
            </a:fld>
            <a:endParaRPr lang="en-US" dirty="0"/>
          </a:p>
        </p:txBody>
      </p:sp>
    </p:spTree>
    <p:extLst>
      <p:ext uri="{BB962C8B-B14F-4D97-AF65-F5344CB8AC3E}">
        <p14:creationId xmlns:p14="http://schemas.microsoft.com/office/powerpoint/2010/main" val="25270105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a:t>
            </a:r>
            <a:r>
              <a:rPr lang="en-AU" baseline="0" dirty="0"/>
              <a:t>base: https://support.powerbi.com/knowledgebase/articles/663202-data-view-in-power-bi-desktop</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29</a:t>
            </a:fld>
            <a:endParaRPr lang="en-US" dirty="0"/>
          </a:p>
        </p:txBody>
      </p:sp>
    </p:spTree>
    <p:extLst>
      <p:ext uri="{BB962C8B-B14F-4D97-AF65-F5344CB8AC3E}">
        <p14:creationId xmlns:p14="http://schemas.microsoft.com/office/powerpoint/2010/main" val="19508540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a:t>
            </a:r>
            <a:r>
              <a:rPr lang="en-AU" baseline="0" dirty="0"/>
              <a:t>base: https://support.powerbi.com/knowledgebase/articles/663229-relationship-view-in-power-bi-desktop</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30</a:t>
            </a:fld>
            <a:endParaRPr lang="en-US" dirty="0"/>
          </a:p>
        </p:txBody>
      </p:sp>
    </p:spTree>
    <p:extLst>
      <p:ext uri="{BB962C8B-B14F-4D97-AF65-F5344CB8AC3E}">
        <p14:creationId xmlns:p14="http://schemas.microsoft.com/office/powerpoint/2010/main" val="6470716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31</a:t>
            </a:fld>
            <a:endParaRPr lang="en-US" dirty="0"/>
          </a:p>
        </p:txBody>
      </p:sp>
    </p:spTree>
    <p:extLst>
      <p:ext uri="{BB962C8B-B14F-4D97-AF65-F5344CB8AC3E}">
        <p14:creationId xmlns:p14="http://schemas.microsoft.com/office/powerpoint/2010/main" val="165192275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32</a:t>
            </a:fld>
            <a:endParaRPr lang="en-US" dirty="0"/>
          </a:p>
        </p:txBody>
      </p:sp>
    </p:spTree>
    <p:extLst>
      <p:ext uri="{BB962C8B-B14F-4D97-AF65-F5344CB8AC3E}">
        <p14:creationId xmlns:p14="http://schemas.microsoft.com/office/powerpoint/2010/main" val="243505306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33</a:t>
            </a:fld>
            <a:endParaRPr lang="en-US" dirty="0"/>
          </a:p>
        </p:txBody>
      </p:sp>
    </p:spTree>
    <p:extLst>
      <p:ext uri="{BB962C8B-B14F-4D97-AF65-F5344CB8AC3E}">
        <p14:creationId xmlns:p14="http://schemas.microsoft.com/office/powerpoint/2010/main" val="26241160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base:</a:t>
            </a:r>
            <a:r>
              <a:rPr lang="en-AU" baseline="0" dirty="0"/>
              <a:t> https://support.powerbi.com/knowledgebase/articles/741510-calculated-tables-in-power-bi-desktop</a:t>
            </a:r>
          </a:p>
          <a:p>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47</a:t>
            </a:fld>
            <a:endParaRPr lang="en-US" dirty="0"/>
          </a:p>
        </p:txBody>
      </p:sp>
    </p:spTree>
    <p:extLst>
      <p:ext uri="{BB962C8B-B14F-4D97-AF65-F5344CB8AC3E}">
        <p14:creationId xmlns:p14="http://schemas.microsoft.com/office/powerpoint/2010/main" val="358811755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49</a:t>
            </a:fld>
            <a:endParaRPr lang="en-US" dirty="0"/>
          </a:p>
        </p:txBody>
      </p:sp>
    </p:spTree>
    <p:extLst>
      <p:ext uri="{BB962C8B-B14F-4D97-AF65-F5344CB8AC3E}">
        <p14:creationId xmlns:p14="http://schemas.microsoft.com/office/powerpoint/2010/main" val="114423110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54</a:t>
            </a:fld>
            <a:endParaRPr lang="en-US" dirty="0"/>
          </a:p>
        </p:txBody>
      </p:sp>
    </p:spTree>
    <p:extLst>
      <p:ext uri="{BB962C8B-B14F-4D97-AF65-F5344CB8AC3E}">
        <p14:creationId xmlns:p14="http://schemas.microsoft.com/office/powerpoint/2010/main" val="416750491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https://powerbi.microsoft.com/en-us/documentation/powerbi-desktop-r-scripts/</a:t>
            </a:r>
          </a:p>
        </p:txBody>
      </p:sp>
      <p:sp>
        <p:nvSpPr>
          <p:cNvPr id="4" name="Slide Number Placeholder 3"/>
          <p:cNvSpPr>
            <a:spLocks noGrp="1"/>
          </p:cNvSpPr>
          <p:nvPr>
            <p:ph type="sldNum" sz="quarter" idx="10"/>
          </p:nvPr>
        </p:nvSpPr>
        <p:spPr/>
        <p:txBody>
          <a:bodyPr/>
          <a:lstStyle/>
          <a:p>
            <a:fld id="{DD81A89D-8738-4ED5-BF6E-F438F4965D3F}" type="slidenum">
              <a:rPr lang="en-US" smtClean="0"/>
              <a:t>55</a:t>
            </a:fld>
            <a:endParaRPr lang="en-US" dirty="0"/>
          </a:p>
        </p:txBody>
      </p:sp>
    </p:spTree>
    <p:extLst>
      <p:ext uri="{BB962C8B-B14F-4D97-AF65-F5344CB8AC3E}">
        <p14:creationId xmlns:p14="http://schemas.microsoft.com/office/powerpoint/2010/main" val="21089301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r>
              <a:rPr lang="en-US" dirty="0"/>
              <a:t>Business intelligence, or BI</a:t>
            </a:r>
            <a:r>
              <a:rPr lang="en-US" baseline="0" dirty="0"/>
              <a:t>, has come a long way. </a:t>
            </a:r>
          </a:p>
          <a:p>
            <a:pPr defTabSz="990752">
              <a:defRPr/>
            </a:pPr>
            <a:r>
              <a:rPr lang="en-US" baseline="0" dirty="0"/>
              <a:t>During the first two waves of business intelligence, IT professionals and business analysts were the keepers of BI. They made BI accessible and consumable for end users. </a:t>
            </a:r>
          </a:p>
          <a:p>
            <a:endParaRPr lang="en-US" baseline="0" dirty="0"/>
          </a:p>
          <a:p>
            <a:pPr defTabSz="990752">
              <a:defRPr/>
            </a:pPr>
            <a:r>
              <a:rPr lang="en-US" baseline="0" dirty="0"/>
              <a:t>While this approach still applies to complex business intelligence needs, today there is a new wave.  </a:t>
            </a:r>
          </a:p>
          <a:p>
            <a:pPr defTabSz="990752">
              <a:defRPr/>
            </a:pPr>
            <a:r>
              <a:rPr lang="en-US" dirty="0"/>
              <a:t>This</a:t>
            </a:r>
            <a:r>
              <a:rPr lang="en-US" baseline="0" dirty="0"/>
              <a:t> t</a:t>
            </a:r>
            <a:r>
              <a:rPr lang="en-US" dirty="0"/>
              <a:t>hird wave</a:t>
            </a:r>
            <a:r>
              <a:rPr lang="en-US" baseline="0" dirty="0"/>
              <a:t> of BI makes BI available to every kind of user. </a:t>
            </a:r>
          </a:p>
          <a:p>
            <a:pPr defTabSz="990752">
              <a:defRPr/>
            </a:pPr>
            <a:endParaRPr lang="en-US" b="1" baseline="0" dirty="0"/>
          </a:p>
          <a:p>
            <a:pPr defTabSz="990752">
              <a:defRPr/>
            </a:pPr>
            <a:r>
              <a:rPr lang="en-US" b="1" baseline="0" dirty="0"/>
              <a:t>Talking points:</a:t>
            </a:r>
          </a:p>
          <a:p>
            <a:r>
              <a:rPr lang="en-US" dirty="0"/>
              <a:t>Today we’re going to discuss</a:t>
            </a:r>
            <a:r>
              <a:rPr lang="en-US" baseline="0" dirty="0"/>
              <a:t> </a:t>
            </a:r>
            <a:r>
              <a:rPr lang="en-US" dirty="0"/>
              <a:t>Power BI,</a:t>
            </a:r>
            <a:r>
              <a:rPr lang="en-US" baseline="0" dirty="0"/>
              <a:t> which is a third-wave solution. Power BI enables EVERYONE to collect, analyze, visualize and publish data.</a:t>
            </a:r>
          </a:p>
          <a:p>
            <a:r>
              <a:rPr lang="en-US" sz="1300" dirty="0"/>
              <a:t>This third wave has the potential to expand the reach of analytics to more users than ever before. Existing analytics platforms and tools can be extended, instead of being replaced, by full-featured solutions like Power BI. Power BI directly connects to existing on-premises data, such as Analysis Services tabular models that were created by business analysts in collaboration with IT. Microsoft Excel and the new Power BI Desktop work hand-in-hand with Power BI, publishing reports and models created by business analysts and getting them more easily in the hands of the business users who can gain insight and take action.</a:t>
            </a:r>
            <a:endParaRPr lang="en-US" baseline="0" dirty="0"/>
          </a:p>
        </p:txBody>
      </p:sp>
      <p:sp>
        <p:nvSpPr>
          <p:cNvPr id="4" name="Slide Number Placeholder 3"/>
          <p:cNvSpPr>
            <a:spLocks noGrp="1"/>
          </p:cNvSpPr>
          <p:nvPr>
            <p:ph type="sldNum" sz="quarter" idx="10"/>
          </p:nvPr>
        </p:nvSpPr>
        <p:spPr/>
        <p:txBody>
          <a:bodyPr/>
          <a:lstStyle/>
          <a:p>
            <a:fld id="{DD81A89D-8738-4ED5-BF6E-F438F4965D3F}" type="slidenum">
              <a:rPr lang="en-US" smtClean="0"/>
              <a:t>3</a:t>
            </a:fld>
            <a:endParaRPr lang="en-US" dirty="0"/>
          </a:p>
        </p:txBody>
      </p:sp>
    </p:spTree>
    <p:extLst>
      <p:ext uri="{BB962C8B-B14F-4D97-AF65-F5344CB8AC3E}">
        <p14:creationId xmlns:p14="http://schemas.microsoft.com/office/powerpoint/2010/main" val="64757040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https://powerbi.microsoft.com/en-us/blog/announcing-preview-of-r-visuals-in-power-bi-desktop/</a:t>
            </a:r>
          </a:p>
        </p:txBody>
      </p:sp>
      <p:sp>
        <p:nvSpPr>
          <p:cNvPr id="4" name="Slide Number Placeholder 3"/>
          <p:cNvSpPr>
            <a:spLocks noGrp="1"/>
          </p:cNvSpPr>
          <p:nvPr>
            <p:ph type="sldNum" sz="quarter" idx="10"/>
          </p:nvPr>
        </p:nvSpPr>
        <p:spPr/>
        <p:txBody>
          <a:bodyPr/>
          <a:lstStyle/>
          <a:p>
            <a:fld id="{DD81A89D-8738-4ED5-BF6E-F438F4965D3F}" type="slidenum">
              <a:rPr lang="en-US" smtClean="0"/>
              <a:t>56</a:t>
            </a:fld>
            <a:endParaRPr lang="en-US" dirty="0"/>
          </a:p>
        </p:txBody>
      </p:sp>
    </p:spTree>
    <p:extLst>
      <p:ext uri="{BB962C8B-B14F-4D97-AF65-F5344CB8AC3E}">
        <p14:creationId xmlns:p14="http://schemas.microsoft.com/office/powerpoint/2010/main" val="242769389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base: https://support.powerbi.com/knowledgebase/topics/65160-visualizations-in-reports</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57</a:t>
            </a:fld>
            <a:endParaRPr lang="en-US" dirty="0"/>
          </a:p>
        </p:txBody>
      </p:sp>
    </p:spTree>
    <p:extLst>
      <p:ext uri="{BB962C8B-B14F-4D97-AF65-F5344CB8AC3E}">
        <p14:creationId xmlns:p14="http://schemas.microsoft.com/office/powerpoint/2010/main" val="233938533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58</a:t>
            </a:fld>
            <a:endParaRPr lang="en-US" dirty="0"/>
          </a:p>
        </p:txBody>
      </p:sp>
    </p:spTree>
    <p:extLst>
      <p:ext uri="{BB962C8B-B14F-4D97-AF65-F5344CB8AC3E}">
        <p14:creationId xmlns:p14="http://schemas.microsoft.com/office/powerpoint/2010/main" val="378202627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base: https://support.powerbi.com/knowledgebase/topics/65158-all-about-dashboards</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61</a:t>
            </a:fld>
            <a:endParaRPr lang="en-US" dirty="0"/>
          </a:p>
        </p:txBody>
      </p:sp>
    </p:spTree>
    <p:extLst>
      <p:ext uri="{BB962C8B-B14F-4D97-AF65-F5344CB8AC3E}">
        <p14:creationId xmlns:p14="http://schemas.microsoft.com/office/powerpoint/2010/main" val="370502455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base: https://support.powerbi.com/knowledgebase/topics/65158-all-about-dashboards</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62</a:t>
            </a:fld>
            <a:endParaRPr lang="en-US" dirty="0"/>
          </a:p>
        </p:txBody>
      </p:sp>
    </p:spTree>
    <p:extLst>
      <p:ext uri="{BB962C8B-B14F-4D97-AF65-F5344CB8AC3E}">
        <p14:creationId xmlns:p14="http://schemas.microsoft.com/office/powerpoint/2010/main" val="91770184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base: https://support.powerbi.com/knowledgebase/topics/65158-all-about-dashboards</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63</a:t>
            </a:fld>
            <a:endParaRPr lang="en-US" dirty="0"/>
          </a:p>
        </p:txBody>
      </p:sp>
    </p:spTree>
    <p:extLst>
      <p:ext uri="{BB962C8B-B14F-4D97-AF65-F5344CB8AC3E}">
        <p14:creationId xmlns:p14="http://schemas.microsoft.com/office/powerpoint/2010/main" val="170132019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64</a:t>
            </a:fld>
            <a:endParaRPr lang="en-US" dirty="0"/>
          </a:p>
        </p:txBody>
      </p:sp>
    </p:spTree>
    <p:extLst>
      <p:ext uri="{BB962C8B-B14F-4D97-AF65-F5344CB8AC3E}">
        <p14:creationId xmlns:p14="http://schemas.microsoft.com/office/powerpoint/2010/main" val="14119191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Introduce the </a:t>
            </a:r>
            <a:r>
              <a:rPr lang="en-AU" baseline="0" dirty="0"/>
              <a:t>module title and topics.</a:t>
            </a:r>
          </a:p>
          <a:p>
            <a:r>
              <a:rPr lang="en-AU" baseline="0" dirty="0"/>
              <a:t>It is recommended that you become fully familiar with the module content by researching the topics at the Power BI knowledgebase: https://support.powerbi.com/knowledgebase - many links are provided in the presenter notes.</a:t>
            </a:r>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65</a:t>
            </a:fld>
            <a:endParaRPr lang="en-US" dirty="0"/>
          </a:p>
        </p:txBody>
      </p:sp>
    </p:spTree>
    <p:extLst>
      <p:ext uri="{BB962C8B-B14F-4D97-AF65-F5344CB8AC3E}">
        <p14:creationId xmlns:p14="http://schemas.microsoft.com/office/powerpoint/2010/main" val="122062164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66</a:t>
            </a:fld>
            <a:endParaRPr lang="en-US" dirty="0"/>
          </a:p>
        </p:txBody>
      </p:sp>
    </p:spTree>
    <p:extLst>
      <p:ext uri="{BB962C8B-B14F-4D97-AF65-F5344CB8AC3E}">
        <p14:creationId xmlns:p14="http://schemas.microsoft.com/office/powerpoint/2010/main" val="23486058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base:</a:t>
            </a:r>
            <a:r>
              <a:rPr lang="en-US" baseline="0" dirty="0"/>
              <a:t> https://powerbi.microsoft.com/developers</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67</a:t>
            </a:fld>
            <a:endParaRPr lang="en-US" dirty="0"/>
          </a:p>
        </p:txBody>
      </p:sp>
    </p:spTree>
    <p:extLst>
      <p:ext uri="{BB962C8B-B14F-4D97-AF65-F5344CB8AC3E}">
        <p14:creationId xmlns:p14="http://schemas.microsoft.com/office/powerpoint/2010/main" val="7613108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a:t>
            </a:r>
            <a:r>
              <a:rPr lang="en-US" baseline="0" dirty="0"/>
              <a:t> BI addresses three common business intelligence challenges that an organization may face:</a:t>
            </a:r>
            <a:endParaRPr lang="en-US" b="1" baseline="0" dirty="0"/>
          </a:p>
          <a:p>
            <a:pPr marL="247688" indent="-247688" defTabSz="990752">
              <a:buFont typeface="+mj-lt"/>
              <a:buAutoNum type="arabicPeriod"/>
              <a:defRPr/>
            </a:pPr>
            <a:r>
              <a:rPr lang="en-US" sz="1300" b="1" dirty="0">
                <a:gradFill>
                  <a:gsLst>
                    <a:gs pos="0">
                      <a:srgbClr val="FFFFFF"/>
                    </a:gs>
                    <a:gs pos="100000">
                      <a:srgbClr val="FFFFFF"/>
                    </a:gs>
                  </a:gsLst>
                  <a:lin ang="5400000" scaled="0"/>
                </a:gradFill>
                <a:ea typeface="Segoe UI" pitchFamily="34" charset="0"/>
                <a:cs typeface="Segoe UI" pitchFamily="34" charset="0"/>
              </a:rPr>
              <a:t>Getting an end-to-end view off what is happening </a:t>
            </a:r>
            <a:r>
              <a:rPr lang="en-US" baseline="0" dirty="0"/>
              <a:t>— because d</a:t>
            </a:r>
            <a:r>
              <a:rPr lang="en-US" sz="1100" dirty="0">
                <a:solidFill>
                  <a:schemeClr val="tx1">
                    <a:lumMod val="75000"/>
                    <a:lumOff val="25000"/>
                  </a:schemeClr>
                </a:solidFill>
                <a:ea typeface="Segoe UI" pitchFamily="34" charset="0"/>
                <a:cs typeface="Segoe UI" pitchFamily="34" charset="0"/>
              </a:rPr>
              <a:t>ata is often in disparate locations, </a:t>
            </a:r>
            <a:r>
              <a:rPr lang="en-US" sz="900" dirty="0">
                <a:solidFill>
                  <a:schemeClr val="tx1">
                    <a:lumMod val="75000"/>
                    <a:lumOff val="25000"/>
                  </a:schemeClr>
                </a:solidFill>
                <a:ea typeface="Segoe UI" pitchFamily="34" charset="0"/>
                <a:cs typeface="Segoe UI" pitchFamily="34" charset="0"/>
              </a:rPr>
              <a:t>it can be difficult for business users to see a complete picture of your business </a:t>
            </a:r>
            <a:endParaRPr lang="en-US" baseline="0" dirty="0"/>
          </a:p>
          <a:p>
            <a:pPr marL="247688" indent="-247688" defTabSz="990752">
              <a:buFont typeface="+mj-lt"/>
              <a:buAutoNum type="arabicPeriod"/>
              <a:defRPr/>
            </a:pPr>
            <a:r>
              <a:rPr lang="en-US" b="1" baseline="0" dirty="0"/>
              <a:t>Managing multiple data sources </a:t>
            </a:r>
            <a:r>
              <a:rPr lang="en-US" sz="1100" dirty="0"/>
              <a:t>— </a:t>
            </a:r>
            <a:r>
              <a:rPr lang="en-US" sz="1100" dirty="0">
                <a:solidFill>
                  <a:schemeClr val="tx1">
                    <a:lumMod val="75000"/>
                    <a:lumOff val="25000"/>
                  </a:schemeClr>
                </a:solidFill>
                <a:ea typeface="Segoe UI" pitchFamily="34" charset="0"/>
                <a:cs typeface="Segoe UI" pitchFamily="34" charset="0"/>
              </a:rPr>
              <a:t>Data residing in SaaS solutions and other external locations can be difficult to manage programmatically, or access and refresh securely</a:t>
            </a:r>
            <a:endParaRPr lang="en-US" baseline="0" dirty="0"/>
          </a:p>
          <a:p>
            <a:pPr marL="247688" indent="-247688">
              <a:buFont typeface="+mj-lt"/>
              <a:buAutoNum type="arabicPeriod"/>
            </a:pPr>
            <a:r>
              <a:rPr lang="en-US" b="1" baseline="0" dirty="0"/>
              <a:t>Making the right data available to the right users at the right time</a:t>
            </a:r>
          </a:p>
          <a:p>
            <a:pPr marL="681142" lvl="1" indent="-185766" defTabSz="1010333" fontAlgn="base">
              <a:lnSpc>
                <a:spcPct val="90000"/>
              </a:lnSpc>
              <a:spcBef>
                <a:spcPct val="0"/>
              </a:spcBef>
              <a:spcAft>
                <a:spcPct val="0"/>
              </a:spcAft>
              <a:buFont typeface="Arial" panose="020B0604020202020204" pitchFamily="34" charset="0"/>
              <a:buChar char="•"/>
            </a:pPr>
            <a:r>
              <a:rPr lang="en-US" sz="1300" dirty="0">
                <a:solidFill>
                  <a:schemeClr val="tx1">
                    <a:lumMod val="75000"/>
                    <a:lumOff val="25000"/>
                  </a:schemeClr>
                </a:solidFill>
                <a:ea typeface="Segoe UI" pitchFamily="34" charset="0"/>
                <a:cs typeface="Segoe UI" pitchFamily="34" charset="0"/>
              </a:rPr>
              <a:t>Mobile business users need the latest operational data at their fingertips, no matter where they are or what device they’re using</a:t>
            </a:r>
          </a:p>
          <a:p>
            <a:pPr marL="681142" lvl="1" indent="-185766" defTabSz="1010333" fontAlgn="base">
              <a:lnSpc>
                <a:spcPct val="90000"/>
              </a:lnSpc>
              <a:spcBef>
                <a:spcPct val="0"/>
              </a:spcBef>
              <a:spcAft>
                <a:spcPct val="0"/>
              </a:spcAft>
              <a:buFont typeface="Arial" panose="020B0604020202020204" pitchFamily="34" charset="0"/>
              <a:buChar char="•"/>
            </a:pPr>
            <a:r>
              <a:rPr lang="en-US" sz="1300" dirty="0">
                <a:solidFill>
                  <a:schemeClr val="tx1">
                    <a:lumMod val="75000"/>
                    <a:lumOff val="25000"/>
                  </a:schemeClr>
                </a:solidFill>
                <a:ea typeface="Segoe UI" pitchFamily="34" charset="0"/>
                <a:cs typeface="Segoe UI" pitchFamily="34" charset="0"/>
              </a:rPr>
              <a:t>Different roles have different needs and access levels, so a one-size-fits all solution doesn’t work</a:t>
            </a:r>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4</a:t>
            </a:fld>
            <a:endParaRPr lang="en-US" dirty="0"/>
          </a:p>
        </p:txBody>
      </p:sp>
    </p:spTree>
    <p:extLst>
      <p:ext uri="{BB962C8B-B14F-4D97-AF65-F5344CB8AC3E}">
        <p14:creationId xmlns:p14="http://schemas.microsoft.com/office/powerpoint/2010/main" val="175947324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Useful link: http://docs.powerbi.apiary.io/#</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73</a:t>
            </a:fld>
            <a:endParaRPr lang="en-US" dirty="0"/>
          </a:p>
        </p:txBody>
      </p:sp>
    </p:spTree>
    <p:extLst>
      <p:ext uri="{BB962C8B-B14F-4D97-AF65-F5344CB8AC3E}">
        <p14:creationId xmlns:p14="http://schemas.microsoft.com/office/powerpoint/2010/main" val="184551619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Useful link: https://powerbi.microsoft.com/custom-visuals</a:t>
            </a:r>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77</a:t>
            </a:fld>
            <a:endParaRPr lang="en-US" dirty="0"/>
          </a:p>
        </p:txBody>
      </p:sp>
    </p:spTree>
    <p:extLst>
      <p:ext uri="{BB962C8B-B14F-4D97-AF65-F5344CB8AC3E}">
        <p14:creationId xmlns:p14="http://schemas.microsoft.com/office/powerpoint/2010/main" val="238030912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Useful link: https://powerbi.microsoft.com/custom-visuals</a:t>
            </a:r>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78</a:t>
            </a:fld>
            <a:endParaRPr lang="en-US" dirty="0"/>
          </a:p>
        </p:txBody>
      </p:sp>
    </p:spTree>
    <p:extLst>
      <p:ext uri="{BB962C8B-B14F-4D97-AF65-F5344CB8AC3E}">
        <p14:creationId xmlns:p14="http://schemas.microsoft.com/office/powerpoint/2010/main" val="248074635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Introduce the </a:t>
            </a:r>
            <a:r>
              <a:rPr lang="en-AU" baseline="0" dirty="0"/>
              <a:t>module title and topics.</a:t>
            </a:r>
          </a:p>
          <a:p>
            <a:r>
              <a:rPr lang="en-AU" baseline="0" dirty="0"/>
              <a:t>It is recommended that you become fully familiar with the module content by researching the topics at the Power BI knowledgebase: https://support.powerbi.com/knowledgebase - many links are provided in the presenter notes.</a:t>
            </a:r>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79</a:t>
            </a:fld>
            <a:endParaRPr lang="en-US" dirty="0"/>
          </a:p>
        </p:txBody>
      </p:sp>
    </p:spTree>
    <p:extLst>
      <p:ext uri="{BB962C8B-B14F-4D97-AF65-F5344CB8AC3E}">
        <p14:creationId xmlns:p14="http://schemas.microsoft.com/office/powerpoint/2010/main" val="229908271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6DB2980-E44E-476A-9560-CECFB14A6762}" type="slidenum">
              <a:rPr lang="en-US" smtClean="0"/>
              <a:t>84</a:t>
            </a:fld>
            <a:endParaRPr lang="en-US"/>
          </a:p>
        </p:txBody>
      </p:sp>
    </p:spTree>
    <p:extLst>
      <p:ext uri="{BB962C8B-B14F-4D97-AF65-F5344CB8AC3E}">
        <p14:creationId xmlns:p14="http://schemas.microsoft.com/office/powerpoint/2010/main" val="142784855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cs typeface="Segoe UI" panose="020B0502040204020203" pitchFamily="34" charset="0"/>
              </a:rPr>
              <a:t>As a matter of principle, we will dock to existing concepts in Power BI as far as infrastructure/tenancy model, etc.</a:t>
            </a:r>
          </a:p>
          <a:p>
            <a:endParaRPr lang="en-US" sz="1200" dirty="0">
              <a:cs typeface="Segoe UI" panose="020B0502040204020203" pitchFamily="34" charset="0"/>
            </a:endParaRPr>
          </a:p>
          <a:p>
            <a:r>
              <a:rPr lang="en-US" sz="1200" dirty="0">
                <a:cs typeface="Segoe UI" panose="020B0502040204020203" pitchFamily="34" charset="0"/>
              </a:rPr>
              <a:t>The primary concept in Power BI PaaS is </a:t>
            </a:r>
            <a:r>
              <a:rPr lang="en-US" sz="1200" b="1" dirty="0">
                <a:cs typeface="Segoe UI" panose="020B0502040204020203" pitchFamily="34" charset="0"/>
              </a:rPr>
              <a:t>“workspace”</a:t>
            </a:r>
          </a:p>
          <a:p>
            <a:pPr marL="285695" indent="-285695">
              <a:buFontTx/>
              <a:buChar char="-"/>
            </a:pPr>
            <a:endParaRPr lang="en-US" sz="1200" dirty="0">
              <a:cs typeface="Segoe UI" panose="020B0502040204020203" pitchFamily="34" charset="0"/>
            </a:endParaRPr>
          </a:p>
          <a:p>
            <a:r>
              <a:rPr lang="en-US" sz="1200" dirty="0">
                <a:cs typeface="Segoe UI" panose="020B0502040204020203" pitchFamily="34" charset="0"/>
              </a:rPr>
              <a:t>At a high level, developers can:</a:t>
            </a:r>
          </a:p>
          <a:p>
            <a:pPr marL="285695" indent="-285695">
              <a:buFontTx/>
              <a:buChar char="-"/>
            </a:pPr>
            <a:r>
              <a:rPr lang="en-US" sz="1100" dirty="0">
                <a:cs typeface="Segoe UI" panose="020B0502040204020203" pitchFamily="34" charset="0"/>
              </a:rPr>
              <a:t>Provision workspaces  (manually or programmatically)</a:t>
            </a:r>
          </a:p>
          <a:p>
            <a:pPr marL="285695" indent="-285695">
              <a:buFontTx/>
              <a:buChar char="-"/>
            </a:pPr>
            <a:r>
              <a:rPr lang="en-US" sz="1100" dirty="0">
                <a:cs typeface="Segoe UI" panose="020B0502040204020203" pitchFamily="34" charset="0"/>
              </a:rPr>
              <a:t>Create datasets, reports.</a:t>
            </a:r>
          </a:p>
          <a:p>
            <a:pPr marL="285695" indent="-285695">
              <a:buFontTx/>
              <a:buChar char="-"/>
            </a:pPr>
            <a:r>
              <a:rPr lang="en-US" sz="1100" dirty="0">
                <a:cs typeface="Segoe UI" panose="020B0502040204020203" pitchFamily="34" charset="0"/>
              </a:rPr>
              <a:t>Embed</a:t>
            </a:r>
            <a:r>
              <a:rPr lang="en-US" sz="1100" baseline="0" dirty="0">
                <a:cs typeface="Segoe UI" panose="020B0502040204020203" pitchFamily="34" charset="0"/>
              </a:rPr>
              <a:t> reports</a:t>
            </a:r>
            <a:endParaRPr lang="en-US" sz="1100" dirty="0">
              <a:cs typeface="Segoe UI" panose="020B0502040204020203" pitchFamily="34" charset="0"/>
            </a:endParaRPr>
          </a:p>
          <a:p>
            <a:pPr marL="285695" indent="-285695">
              <a:buFontTx/>
              <a:buChar char="-"/>
            </a:pPr>
            <a:r>
              <a:rPr lang="en-US" sz="1100" dirty="0">
                <a:cs typeface="Segoe UI" panose="020B0502040204020203" pitchFamily="34" charset="0"/>
              </a:rPr>
              <a:t>Control refresh behavior, creds, …</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3329DEA-6433-4493-B9C4-3E0AC755FE5D}"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7</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54273488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Clr>
                <a:srgbClr val="EDC30D"/>
              </a:buClr>
              <a:buFont typeface="Arial" panose="020B0604020202020204" pitchFamily="34" charset="0"/>
              <a:buChar char="•"/>
              <a:defRPr/>
            </a:pPr>
            <a:r>
              <a:rPr lang="en-US" sz="1200" kern="0" dirty="0">
                <a:solidFill>
                  <a:sysClr val="windowText" lastClr="000000"/>
                </a:solidFill>
                <a:latin typeface="Segoe UI" panose="020B0502040204020203" pitchFamily="34" charset="0"/>
                <a:cs typeface="Segoe UI" panose="020B0502040204020203" pitchFamily="34" charset="0"/>
              </a:rPr>
              <a:t>Rendered content is cached to reduce queries</a:t>
            </a:r>
          </a:p>
          <a:p>
            <a:pPr marL="171450" indent="-171450">
              <a:buClr>
                <a:srgbClr val="EDC30D"/>
              </a:buClr>
              <a:buFont typeface="Arial" panose="020B0604020202020204" pitchFamily="34" charset="0"/>
              <a:buChar char="•"/>
              <a:defRPr/>
            </a:pPr>
            <a:r>
              <a:rPr lang="en-US" sz="1200" kern="0" dirty="0">
                <a:solidFill>
                  <a:sysClr val="windowText" lastClr="000000"/>
                </a:solidFill>
                <a:latin typeface="Segoe UI" panose="020B0502040204020203" pitchFamily="34" charset="0"/>
                <a:cs typeface="Segoe UI" panose="020B0502040204020203" pitchFamily="34" charset="0"/>
              </a:rPr>
              <a:t>User filtering may constitute a new render </a:t>
            </a:r>
          </a:p>
          <a:p>
            <a:pPr marL="171450" indent="-171450">
              <a:buClr>
                <a:srgbClr val="EDC30D"/>
              </a:buClr>
              <a:buFont typeface="Arial" panose="020B0604020202020204" pitchFamily="34" charset="0"/>
              <a:buChar char="•"/>
              <a:defRPr/>
            </a:pPr>
            <a:r>
              <a:rPr lang="en-US" sz="1200" kern="0" dirty="0">
                <a:solidFill>
                  <a:sysClr val="windowText" lastClr="000000"/>
                </a:solidFill>
                <a:latin typeface="Segoe UI" panose="020B0502040204020203" pitchFamily="34" charset="0"/>
                <a:cs typeface="Segoe UI" panose="020B0502040204020203" pitchFamily="34" charset="0"/>
              </a:rPr>
              <a:t>App owners control what can be queried</a:t>
            </a:r>
          </a:p>
          <a:p>
            <a:endParaRPr lang="en-US" dirty="0"/>
          </a:p>
        </p:txBody>
      </p:sp>
      <p:sp>
        <p:nvSpPr>
          <p:cNvPr id="4" name="Slide Number Placeholder 3"/>
          <p:cNvSpPr>
            <a:spLocks noGrp="1"/>
          </p:cNvSpPr>
          <p:nvPr>
            <p:ph type="sldNum" sz="quarter" idx="10"/>
          </p:nvPr>
        </p:nvSpPr>
        <p:spPr/>
        <p:txBody>
          <a:bodyPr/>
          <a:lstStyle/>
          <a:p>
            <a:pPr>
              <a:defRPr/>
            </a:pPr>
            <a:fld id="{AEB2D09C-E420-4905-8E74-B16C64801357}" type="slidenum">
              <a:rPr lang="en-US" sz="1800" kern="0" smtClean="0">
                <a:solidFill>
                  <a:sysClr val="windowText" lastClr="000000"/>
                </a:solidFill>
              </a:rPr>
              <a:pPr>
                <a:defRPr/>
              </a:pPr>
              <a:t>88</a:t>
            </a:fld>
            <a:endParaRPr lang="en-US" sz="1800" kern="0">
              <a:solidFill>
                <a:sysClr val="windowText" lastClr="000000"/>
              </a:solidFill>
            </a:endParaRPr>
          </a:p>
        </p:txBody>
      </p:sp>
    </p:spTree>
    <p:extLst>
      <p:ext uri="{BB962C8B-B14F-4D97-AF65-F5344CB8AC3E}">
        <p14:creationId xmlns:p14="http://schemas.microsoft.com/office/powerpoint/2010/main" val="28768868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Thank you for attending this training!</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91</a:t>
            </a:fld>
            <a:endParaRPr lang="en-US" dirty="0"/>
          </a:p>
        </p:txBody>
      </p:sp>
    </p:spTree>
    <p:extLst>
      <p:ext uri="{BB962C8B-B14F-4D97-AF65-F5344CB8AC3E}">
        <p14:creationId xmlns:p14="http://schemas.microsoft.com/office/powerpoint/2010/main" val="1166677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17">
              <a:defRPr/>
            </a:pPr>
            <a:r>
              <a:rPr lang="en-US" sz="1300" b="1" dirty="0">
                <a:gradFill>
                  <a:gsLst>
                    <a:gs pos="1250">
                      <a:srgbClr val="000000"/>
                    </a:gs>
                    <a:gs pos="99000">
                      <a:srgbClr val="000000"/>
                    </a:gs>
                  </a:gsLst>
                  <a:lin ang="5400000" scaled="0"/>
                </a:gradFill>
              </a:rPr>
              <a:t>Key message:</a:t>
            </a:r>
          </a:p>
          <a:p>
            <a:r>
              <a:rPr lang="en-US" sz="1300" dirty="0"/>
              <a:t>Power BI is a business analytics service. With Power BI you can now see all of your data through a single pane of glass. Live Power BI dashboards and reports show visualizations and KPIs from data residing both on-premises and in the cloud, providing a consolidated view across your business regardless of where your data lives.</a:t>
            </a:r>
          </a:p>
          <a:p>
            <a:pPr defTabSz="990717">
              <a:defRPr/>
            </a:pPr>
            <a:endParaRPr lang="en-US" sz="3500" dirty="0">
              <a:gradFill>
                <a:gsLst>
                  <a:gs pos="1250">
                    <a:srgbClr val="000000"/>
                  </a:gs>
                  <a:gs pos="99000">
                    <a:srgbClr val="000000"/>
                  </a:gs>
                </a:gsLst>
                <a:lin ang="5400000" scaled="0"/>
              </a:gradFill>
            </a:endParaRPr>
          </a:p>
          <a:p>
            <a:pPr defTabSz="990717">
              <a:defRPr/>
            </a:pPr>
            <a:r>
              <a:rPr lang="en-US" sz="3500" b="1" dirty="0">
                <a:gradFill>
                  <a:gsLst>
                    <a:gs pos="1250">
                      <a:srgbClr val="000000"/>
                    </a:gs>
                    <a:gs pos="99000">
                      <a:srgbClr val="000000"/>
                    </a:gs>
                  </a:gsLst>
                  <a:lin ang="5400000" scaled="0"/>
                </a:gradFill>
              </a:rPr>
              <a:t>Talking points:</a:t>
            </a:r>
          </a:p>
          <a:p>
            <a:pPr defTabSz="990717"/>
            <a:r>
              <a:rPr lang="en-US" sz="1300" dirty="0">
                <a:gradFill>
                  <a:gsLst>
                    <a:gs pos="1250">
                      <a:srgbClr val="000000"/>
                    </a:gs>
                    <a:gs pos="99000">
                      <a:srgbClr val="000000"/>
                    </a:gs>
                  </a:gsLst>
                  <a:lin ang="5400000" scaled="0"/>
                </a:gradFill>
              </a:rPr>
              <a:t>This is Power BI in a nutshell and the overall benefits to your business. We will look at what this means for the IT Pro and the key benefits for IT on the next slide</a:t>
            </a:r>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5</a:t>
            </a:fld>
            <a:endParaRPr lang="en-US" dirty="0"/>
          </a:p>
        </p:txBody>
      </p:sp>
    </p:spTree>
    <p:extLst>
      <p:ext uri="{BB962C8B-B14F-4D97-AF65-F5344CB8AC3E}">
        <p14:creationId xmlns:p14="http://schemas.microsoft.com/office/powerpoint/2010/main" val="33285905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300" b="1" dirty="0"/>
              <a:t>Key message:</a:t>
            </a:r>
          </a:p>
          <a:p>
            <a:r>
              <a:rPr lang="en-US" sz="1300" dirty="0"/>
              <a:t>There are several capabilities that differentiate Power BI from other offerings in the market.</a:t>
            </a:r>
          </a:p>
          <a:p>
            <a:endParaRPr lang="en-US" sz="1300" dirty="0"/>
          </a:p>
          <a:p>
            <a:r>
              <a:rPr lang="en-US" sz="1300" b="1" dirty="0"/>
              <a:t>Talking points:</a:t>
            </a:r>
          </a:p>
          <a:p>
            <a:pPr defTabSz="990717">
              <a:defRPr/>
            </a:pPr>
            <a:r>
              <a:rPr lang="en-US" sz="1300" dirty="0">
                <a:gradFill>
                  <a:gsLst>
                    <a:gs pos="1250">
                      <a:srgbClr val="000000"/>
                    </a:gs>
                    <a:gs pos="99000">
                      <a:srgbClr val="000000"/>
                    </a:gs>
                  </a:gsLst>
                  <a:lin ang="5400000" scaled="0"/>
                </a:gradFill>
              </a:rPr>
              <a:t>Power BI is a cloud-based analytics service that provides faster time to insight. It is used for visualizing, exploring and extracting insights from data. It brings together data from diverse sources to deliver rich, comprehensive views of business operations. </a:t>
            </a:r>
            <a:endParaRPr lang="en-US" sz="3500" dirty="0">
              <a:gradFill>
                <a:gsLst>
                  <a:gs pos="1250">
                    <a:srgbClr val="000000"/>
                  </a:gs>
                  <a:gs pos="99000">
                    <a:srgbClr val="000000"/>
                  </a:gs>
                </a:gsLst>
                <a:lin ang="5400000" scaled="0"/>
              </a:gradFill>
            </a:endParaRPr>
          </a:p>
          <a:p>
            <a:pPr defTabSz="990717"/>
            <a:r>
              <a:rPr lang="en-US" sz="1300" dirty="0">
                <a:gradFill>
                  <a:gsLst>
                    <a:gs pos="1250">
                      <a:srgbClr val="000000"/>
                    </a:gs>
                    <a:gs pos="99000">
                      <a:srgbClr val="000000"/>
                    </a:gs>
                  </a:gsLst>
                  <a:lin ang="5400000" scaled="0"/>
                </a:gradFill>
              </a:rPr>
              <a:t>What that means is, with Power BI, you can see all of your data through a single pane of glass, and create an analytics environment in minutes to monitor data and share reports. Live dashboards and reports show visualizations and KPIs from data that reside both on-premises and in the cloud, providing a consolidated view across your business regardless of where your data lives. </a:t>
            </a:r>
            <a:endParaRPr lang="en-US" sz="3500" dirty="0">
              <a:latin typeface="Segoe UI Light" pitchFamily="34" charset="0"/>
            </a:endParaRPr>
          </a:p>
          <a:p>
            <a:endParaRPr lang="en-US" sz="3500" dirty="0">
              <a:latin typeface="Segoe UI Light" pitchFamily="34" charset="0"/>
            </a:endParaRPr>
          </a:p>
          <a:p>
            <a:r>
              <a:rPr lang="en-US" sz="1300" b="1" dirty="0"/>
              <a:t>There are several capabilities that are unique to Power BI – these include: </a:t>
            </a:r>
            <a:endParaRPr lang="en-US" sz="3500" b="1" dirty="0">
              <a:latin typeface="Segoe UI Light" pitchFamily="34" charset="0"/>
            </a:endParaRPr>
          </a:p>
          <a:p>
            <a:pPr marL="495376" indent="-495376">
              <a:buFont typeface="Arial" panose="020B0604020202020204" pitchFamily="34" charset="0"/>
              <a:buChar char="•"/>
            </a:pPr>
            <a:r>
              <a:rPr lang="en-US" sz="1300" dirty="0"/>
              <a:t>Pre-built dashboards and reports for popular SaaS solutions such as </a:t>
            </a:r>
            <a:r>
              <a:rPr lang="en-US" sz="1300" dirty="0" err="1"/>
              <a:t>Marketo</a:t>
            </a:r>
            <a:r>
              <a:rPr lang="en-US" sz="1300" dirty="0"/>
              <a:t>, Salesforce, GitHub, </a:t>
            </a:r>
            <a:r>
              <a:rPr lang="en-US" sz="1300" dirty="0" err="1"/>
              <a:t>ZenDesk</a:t>
            </a:r>
            <a:r>
              <a:rPr lang="en-US" sz="1300" dirty="0"/>
              <a:t>, Dynamics CRM, and many others</a:t>
            </a:r>
            <a:endParaRPr lang="en-US" sz="3500" dirty="0">
              <a:latin typeface="Segoe UI Light" pitchFamily="34" charset="0"/>
            </a:endParaRPr>
          </a:p>
          <a:p>
            <a:pPr marL="495376" indent="-495376">
              <a:buFont typeface="Arial" panose="020B0604020202020204" pitchFamily="34" charset="0"/>
              <a:buChar char="•"/>
            </a:pPr>
            <a:r>
              <a:rPr lang="en-US" sz="1300" dirty="0"/>
              <a:t>Dashboards and visualizations that support real-time updates</a:t>
            </a:r>
            <a:endParaRPr lang="en-US" sz="3500" dirty="0">
              <a:latin typeface="Segoe UI Light" pitchFamily="34" charset="0"/>
            </a:endParaRPr>
          </a:p>
          <a:p>
            <a:pPr marL="495376" indent="-495376" defTabSz="990752">
              <a:buFont typeface="Arial" panose="020B0604020202020204" pitchFamily="34" charset="0"/>
              <a:buChar char="•"/>
              <a:defRPr/>
            </a:pPr>
            <a:r>
              <a:rPr lang="en-US" sz="1300" dirty="0"/>
              <a:t>Secure, live connection to on-premises data sources to drive insight across the entire range of organizational information (Analysis Services, Azure S</a:t>
            </a:r>
            <a:r>
              <a:rPr lang="en-US" sz="3500" dirty="0">
                <a:ln w="3175">
                  <a:noFill/>
                </a:ln>
                <a:gradFill>
                  <a:gsLst>
                    <a:gs pos="1250">
                      <a:schemeClr val="tx2"/>
                    </a:gs>
                    <a:gs pos="99000">
                      <a:schemeClr val="tx2"/>
                    </a:gs>
                  </a:gsLst>
                  <a:lin ang="5400000" scaled="0"/>
                </a:gradFill>
              </a:rPr>
              <a:t>QL Database, SQL Database Auditing, Azure SQL Data Warehouse)</a:t>
            </a:r>
          </a:p>
          <a:p>
            <a:pPr marL="495376" indent="-495376" defTabSz="990752">
              <a:buFont typeface="Arial" panose="020B0604020202020204" pitchFamily="34" charset="0"/>
              <a:buChar char="•"/>
              <a:defRPr/>
            </a:pPr>
            <a:r>
              <a:rPr lang="en-US" sz="3500" dirty="0">
                <a:ln w="3175">
                  <a:noFill/>
                </a:ln>
                <a:gradFill>
                  <a:gsLst>
                    <a:gs pos="1250">
                      <a:schemeClr val="tx2"/>
                    </a:gs>
                    <a:gs pos="99000">
                      <a:schemeClr val="tx2"/>
                    </a:gs>
                  </a:gsLst>
                  <a:lin ang="5400000" scaled="0"/>
                </a:gradFill>
              </a:rPr>
              <a:t>Automated scheduled refresh to keep your Power BI data in sync with on premises data sources</a:t>
            </a:r>
            <a:endParaRPr lang="en-US" sz="3500" dirty="0">
              <a:latin typeface="Segoe UI Light" pitchFamily="34" charset="0"/>
            </a:endParaRPr>
          </a:p>
          <a:p>
            <a:pPr marL="495376" indent="-495376">
              <a:buFont typeface="Arial" panose="020B0604020202020204" pitchFamily="34" charset="0"/>
              <a:buChar char="•"/>
            </a:pPr>
            <a:r>
              <a:rPr lang="en-US" sz="1300" dirty="0"/>
              <a:t>Native mobile applications for keeping users connected on the go</a:t>
            </a:r>
            <a:endParaRPr lang="en-US" sz="3500" dirty="0">
              <a:latin typeface="Segoe UI Light" pitchFamily="34" charset="0"/>
            </a:endParaRPr>
          </a:p>
          <a:p>
            <a:pPr marL="495376" indent="-495376">
              <a:buFont typeface="Arial" panose="020B0604020202020204" pitchFamily="34" charset="0"/>
              <a:buChar char="•"/>
            </a:pPr>
            <a:r>
              <a:rPr lang="en-US" sz="1300" dirty="0"/>
              <a:t>Easy integration with other Microsoft offerings, from Excel to Azure services</a:t>
            </a:r>
            <a:endParaRPr lang="en-US" sz="3500" dirty="0">
              <a:latin typeface="Segoe UI Light" pitchFamily="34" charset="0"/>
            </a:endParaRPr>
          </a:p>
          <a:p>
            <a:pPr marL="495376" indent="-495376">
              <a:buFont typeface="Arial" panose="020B0604020202020204" pitchFamily="34" charset="0"/>
              <a:buChar char="•"/>
            </a:pPr>
            <a:r>
              <a:rPr lang="en-US" sz="1300" dirty="0"/>
              <a:t>Intuitive data exploration, which enables users to ask questions of their data in plain English</a:t>
            </a:r>
            <a:endParaRPr lang="en-US" sz="3500" dirty="0">
              <a:latin typeface="Segoe UI Light" pitchFamily="34" charset="0"/>
            </a:endParaRPr>
          </a:p>
          <a:p>
            <a:endParaRPr lang="en-US" sz="3500" dirty="0"/>
          </a:p>
          <a:p>
            <a:pPr defTabSz="990717"/>
            <a:r>
              <a:rPr lang="en-US" sz="1300" dirty="0">
                <a:solidFill>
                  <a:srgbClr val="FFFFFF"/>
                </a:solidFill>
              </a:rPr>
              <a:t>To summarize, Power BI is a SaaS offering that enables anyone to easily connect to their data, create live operational dashboards and explore data via interactive visualizations</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6</a:t>
            </a:fld>
            <a:endParaRPr lang="en-US" dirty="0"/>
          </a:p>
        </p:txBody>
      </p:sp>
    </p:spTree>
    <p:extLst>
      <p:ext uri="{BB962C8B-B14F-4D97-AF65-F5344CB8AC3E}">
        <p14:creationId xmlns:p14="http://schemas.microsoft.com/office/powerpoint/2010/main" val="40900539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Let’s walk through an overview of how Power BI works.  </a:t>
            </a:r>
          </a:p>
          <a:p>
            <a:pPr marL="247688" indent="-247688">
              <a:buFont typeface="+mj-lt"/>
              <a:buAutoNum type="arabicPeriod"/>
            </a:pPr>
            <a:endParaRPr lang="en-US" b="1" baseline="0" dirty="0"/>
          </a:p>
          <a:p>
            <a:r>
              <a:rPr lang="en-US" b="1" dirty="0"/>
              <a:t>1. The</a:t>
            </a:r>
            <a:r>
              <a:rPr lang="en-US" b="1" baseline="0" dirty="0"/>
              <a:t> Power BI service, sometimes referred to as </a:t>
            </a:r>
            <a:r>
              <a:rPr lang="en-US" b="1" dirty="0"/>
              <a:t>powerbi.com,</a:t>
            </a:r>
            <a:r>
              <a:rPr lang="en-US" b="1" baseline="0" dirty="0"/>
              <a:t> </a:t>
            </a:r>
            <a:r>
              <a:rPr lang="en-US" dirty="0"/>
              <a:t>is what allows</a:t>
            </a:r>
            <a:r>
              <a:rPr lang="en-US" baseline="0" dirty="0"/>
              <a:t> you to</a:t>
            </a:r>
            <a:r>
              <a:rPr lang="en-US" dirty="0"/>
              <a:t>: </a:t>
            </a:r>
          </a:p>
          <a:p>
            <a:pPr marL="681142" lvl="1" indent="-185766">
              <a:buFont typeface="Arial" panose="020B0604020202020204" pitchFamily="34" charset="0"/>
              <a:buChar char="•"/>
            </a:pPr>
            <a:r>
              <a:rPr lang="en-US" baseline="0" dirty="0"/>
              <a:t>Create beautiful visualizations to tell compelling data stories </a:t>
            </a:r>
          </a:p>
          <a:p>
            <a:pPr marL="681142" lvl="1" indent="-185766">
              <a:buFont typeface="Arial" panose="020B0604020202020204" pitchFamily="34" charset="0"/>
              <a:buChar char="•"/>
            </a:pPr>
            <a:r>
              <a:rPr lang="en-US" baseline="0" dirty="0"/>
              <a:t>Build rich, live dashboards that turn BI into business insights</a:t>
            </a:r>
          </a:p>
          <a:p>
            <a:pPr marL="681142" lvl="1" indent="-185766">
              <a:buFont typeface="Arial" panose="020B0604020202020204" pitchFamily="34" charset="0"/>
              <a:buChar char="•"/>
            </a:pPr>
            <a:r>
              <a:rPr lang="en-US" dirty="0"/>
              <a:t>Create reports</a:t>
            </a:r>
            <a:r>
              <a:rPr lang="en-US" baseline="0" dirty="0"/>
              <a:t> &amp; datasets from which you can create visualizations and dashboards</a:t>
            </a:r>
          </a:p>
          <a:p>
            <a:pPr marL="681142" lvl="1" indent="-185766">
              <a:buFont typeface="Arial" panose="020B0604020202020204" pitchFamily="34" charset="0"/>
              <a:buChar char="•"/>
            </a:pPr>
            <a:r>
              <a:rPr lang="en-US" baseline="0" dirty="0"/>
              <a:t>Enjoy the benefits of up-to-date data with real-time, automatic and scheduled refreshes</a:t>
            </a:r>
          </a:p>
          <a:p>
            <a:pPr marL="681142" lvl="1" indent="-185766">
              <a:buFont typeface="Arial" panose="020B0604020202020204" pitchFamily="34" charset="0"/>
              <a:buChar char="•"/>
            </a:pPr>
            <a:r>
              <a:rPr lang="en-US" baseline="0" dirty="0"/>
              <a:t>Share dashboards easily with other people in your organization</a:t>
            </a:r>
          </a:p>
          <a:p>
            <a:pPr marL="681142" lvl="1" indent="-185766">
              <a:buFont typeface="Arial" panose="020B0604020202020204" pitchFamily="34" charset="0"/>
              <a:buChar char="•"/>
            </a:pPr>
            <a:r>
              <a:rPr lang="en-US" baseline="0" dirty="0"/>
              <a:t>Ask questions of data in plain English with Natural Language Query</a:t>
            </a:r>
          </a:p>
          <a:p>
            <a:pPr marL="681142" lvl="1" indent="-185766">
              <a:buFont typeface="Arial" panose="020B0604020202020204" pitchFamily="34" charset="0"/>
              <a:buChar char="•"/>
            </a:pPr>
            <a:r>
              <a:rPr lang="en-US" baseline="0" dirty="0"/>
              <a:t>Stay connected to your data all the time with mobile applications</a:t>
            </a:r>
          </a:p>
          <a:p>
            <a:pPr marL="495376" lvl="1"/>
            <a:endParaRPr lang="en-US" baseline="0" dirty="0"/>
          </a:p>
          <a:p>
            <a:r>
              <a:rPr lang="en-US" b="1" baseline="0" dirty="0"/>
              <a:t>2. </a:t>
            </a:r>
            <a:r>
              <a:rPr lang="en-US" b="0" baseline="0" dirty="0"/>
              <a:t>Power BI </a:t>
            </a:r>
            <a:r>
              <a:rPr lang="en-US" b="1" baseline="0" dirty="0"/>
              <a:t>connects to a variety of data sources. </a:t>
            </a:r>
            <a:r>
              <a:rPr lang="en-US" baseline="0" dirty="0"/>
              <a:t>These range across both cloud and on-premises sources, and include:</a:t>
            </a:r>
          </a:p>
          <a:p>
            <a:pPr marL="681142" lvl="1" indent="-185766">
              <a:buFont typeface="Arial" panose="020B0604020202020204" pitchFamily="34" charset="0"/>
              <a:buChar char="•"/>
            </a:pPr>
            <a:r>
              <a:rPr lang="en-US" baseline="0" dirty="0"/>
              <a:t>A variety of </a:t>
            </a:r>
            <a:r>
              <a:rPr lang="en-US" b="1" baseline="0" dirty="0"/>
              <a:t>popular SaaS solutions</a:t>
            </a:r>
            <a:r>
              <a:rPr lang="en-US" baseline="0" dirty="0"/>
              <a:t>, such as </a:t>
            </a:r>
            <a:r>
              <a:rPr lang="en-US" baseline="0" dirty="0" err="1"/>
              <a:t>Marketo</a:t>
            </a:r>
            <a:r>
              <a:rPr lang="en-US" baseline="0" dirty="0"/>
              <a:t>, Salesforce, GitHub, Dynamics CRM, </a:t>
            </a:r>
            <a:r>
              <a:rPr lang="en-US" baseline="0" dirty="0" err="1"/>
              <a:t>Zendesk</a:t>
            </a:r>
            <a:r>
              <a:rPr lang="en-US" baseline="0" dirty="0"/>
              <a:t>, and several others</a:t>
            </a:r>
            <a:endParaRPr lang="en-US" b="0" baseline="0" dirty="0"/>
          </a:p>
          <a:p>
            <a:pPr marL="681142" lvl="1" indent="-185766">
              <a:buFont typeface="Arial" panose="020B0604020202020204" pitchFamily="34" charset="0"/>
              <a:buChar char="•"/>
            </a:pPr>
            <a:r>
              <a:rPr lang="en-US" b="1" baseline="0" dirty="0"/>
              <a:t>On-premises databases </a:t>
            </a:r>
            <a:r>
              <a:rPr lang="en-US" baseline="0" dirty="0"/>
              <a:t>– Power BI offers live connectivity to SQL Server Analysis Services, which we’ll cover in more detail later. And using a gateway solution, Power BI can connect to other database solutions. </a:t>
            </a:r>
          </a:p>
          <a:p>
            <a:pPr marL="681142" lvl="1" indent="-185766">
              <a:buFont typeface="Arial" panose="020B0604020202020204" pitchFamily="34" charset="0"/>
              <a:buChar char="•"/>
            </a:pPr>
            <a:r>
              <a:rPr lang="en-US" b="1" baseline="0" dirty="0"/>
              <a:t>Custom data sources </a:t>
            </a:r>
            <a:r>
              <a:rPr lang="en-US" baseline="0" dirty="0"/>
              <a:t>– </a:t>
            </a:r>
            <a:r>
              <a:rPr lang="en-US" b="0" baseline="0" dirty="0"/>
              <a:t>Power BI can connect to any data source you need it to thanks to its extensibility via REST APIs. This includes both proprietary corporate data sources, as well as external data services. For example, if you are a SaaS solution provider, you can work with Microsoft to connect your solution to Power BI.</a:t>
            </a:r>
            <a:endParaRPr lang="en-US" baseline="0" dirty="0"/>
          </a:p>
          <a:p>
            <a:pPr marL="681142" lvl="1" indent="-185766">
              <a:buFont typeface="Arial" panose="020B0604020202020204" pitchFamily="34" charset="0"/>
              <a:buChar char="•"/>
            </a:pPr>
            <a:r>
              <a:rPr lang="en-US" b="1" baseline="0" dirty="0"/>
              <a:t>Other Azure services</a:t>
            </a:r>
            <a:r>
              <a:rPr lang="en-US" baseline="0" dirty="0"/>
              <a:t> – Power BI integrates tightly with SQL Azure and Stream Analytics, and will be integrating closely with more Azure services over time</a:t>
            </a:r>
          </a:p>
          <a:p>
            <a:pPr marL="681142" lvl="1" indent="-185766">
              <a:buFont typeface="Arial" panose="020B0604020202020204" pitchFamily="34" charset="0"/>
              <a:buChar char="•"/>
            </a:pPr>
            <a:r>
              <a:rPr lang="en-US" b="1" baseline="0" dirty="0"/>
              <a:t>Power BI Desktop and Excel files </a:t>
            </a:r>
            <a:r>
              <a:rPr lang="en-US" baseline="0" dirty="0"/>
              <a:t>– Excel workbooks can be directly connected to Power BI.com, or may be used with Power BI Desktop. Power BI Desktop is a companion application to the Power BI service – it is a desktop tool that supports data analysis and reporting. Like Excel files, Power BI Desktop files may be uploaded to the Power BI service. </a:t>
            </a:r>
          </a:p>
        </p:txBody>
      </p:sp>
      <p:sp>
        <p:nvSpPr>
          <p:cNvPr id="4" name="Slide Number Placeholder 3"/>
          <p:cNvSpPr>
            <a:spLocks noGrp="1"/>
          </p:cNvSpPr>
          <p:nvPr>
            <p:ph type="sldNum" sz="quarter" idx="10"/>
          </p:nvPr>
        </p:nvSpPr>
        <p:spPr/>
        <p:txBody>
          <a:bodyPr/>
          <a:lstStyle/>
          <a:p>
            <a:fld id="{DD81A89D-8738-4ED5-BF6E-F438F4965D3F}" type="slidenum">
              <a:rPr lang="en-US" smtClean="0"/>
              <a:t>8</a:t>
            </a:fld>
            <a:endParaRPr lang="en-US" dirty="0"/>
          </a:p>
        </p:txBody>
      </p:sp>
    </p:spTree>
    <p:extLst>
      <p:ext uri="{BB962C8B-B14F-4D97-AF65-F5344CB8AC3E}">
        <p14:creationId xmlns:p14="http://schemas.microsoft.com/office/powerpoint/2010/main" val="28841329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This slide can be used to categorize the Power BI features into different roles.</a:t>
            </a:r>
          </a:p>
          <a:p>
            <a:r>
              <a:rPr lang="en-AU" dirty="0"/>
              <a:t>During this course, different topics</a:t>
            </a:r>
            <a:r>
              <a:rPr lang="en-AU" baseline="0" dirty="0"/>
              <a:t> will be relevant to different roles – so it is good to define these early on.</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9</a:t>
            </a:fld>
            <a:endParaRPr lang="en-US" dirty="0"/>
          </a:p>
        </p:txBody>
      </p:sp>
    </p:spTree>
    <p:extLst>
      <p:ext uri="{BB962C8B-B14F-4D97-AF65-F5344CB8AC3E}">
        <p14:creationId xmlns:p14="http://schemas.microsoft.com/office/powerpoint/2010/main" val="39086659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010626">
              <a:lnSpc>
                <a:spcPct val="90000"/>
              </a:lnSpc>
              <a:spcAft>
                <a:spcPts val="368"/>
              </a:spcAft>
              <a:defRPr/>
            </a:pPr>
            <a:r>
              <a:rPr lang="en-US" sz="1300" b="1" dirty="0">
                <a:gradFill>
                  <a:gsLst>
                    <a:gs pos="0">
                      <a:srgbClr val="FFFFFF"/>
                    </a:gs>
                    <a:gs pos="100000">
                      <a:srgbClr val="FFFFFF"/>
                    </a:gs>
                  </a:gsLst>
                  <a:lin ang="5400000" scaled="0"/>
                </a:gradFill>
                <a:ea typeface="Segoe UI" pitchFamily="34" charset="0"/>
                <a:cs typeface="Segoe UI" pitchFamily="34" charset="0"/>
              </a:rPr>
              <a:t>Key message:</a:t>
            </a:r>
          </a:p>
          <a:p>
            <a:pPr defTabSz="1010626">
              <a:lnSpc>
                <a:spcPct val="90000"/>
              </a:lnSpc>
              <a:spcAft>
                <a:spcPts val="368"/>
              </a:spcAft>
              <a:defRPr/>
            </a:pPr>
            <a:r>
              <a:rPr lang="en-US" sz="1300" dirty="0">
                <a:gradFill>
                  <a:gsLst>
                    <a:gs pos="0">
                      <a:srgbClr val="FFFFFF"/>
                    </a:gs>
                    <a:gs pos="100000">
                      <a:srgbClr val="FFFFFF"/>
                    </a:gs>
                  </a:gsLst>
                  <a:lin ang="5400000" scaled="0"/>
                </a:gradFill>
                <a:ea typeface="Segoe UI" pitchFamily="34" charset="0"/>
                <a:cs typeface="Segoe UI" pitchFamily="34" charset="0"/>
              </a:rPr>
              <a:t>Get started quickly with the Power BI service (powerbi.com) for faster decision-making by displaying all of your data in one place</a:t>
            </a:r>
          </a:p>
          <a:p>
            <a:pPr defTabSz="1010626">
              <a:lnSpc>
                <a:spcPct val="90000"/>
              </a:lnSpc>
              <a:spcAft>
                <a:spcPts val="368"/>
              </a:spcAft>
              <a:defRPr/>
            </a:pPr>
            <a:endParaRPr lang="en-US" sz="1300" dirty="0">
              <a:gradFill>
                <a:gsLst>
                  <a:gs pos="0">
                    <a:srgbClr val="FFFFFF"/>
                  </a:gs>
                  <a:gs pos="100000">
                    <a:srgbClr val="FFFFFF"/>
                  </a:gs>
                </a:gsLst>
                <a:lin ang="5400000" scaled="0"/>
              </a:gradFill>
              <a:ea typeface="Segoe UI" pitchFamily="34" charset="0"/>
              <a:cs typeface="Segoe UI" pitchFamily="34" charset="0"/>
            </a:endParaRPr>
          </a:p>
          <a:p>
            <a:pPr defTabSz="1010626">
              <a:lnSpc>
                <a:spcPct val="90000"/>
              </a:lnSpc>
              <a:spcAft>
                <a:spcPts val="368"/>
              </a:spcAft>
              <a:defRPr/>
            </a:pPr>
            <a:r>
              <a:rPr lang="en-US" sz="1300" b="1" dirty="0">
                <a:gradFill>
                  <a:gsLst>
                    <a:gs pos="0">
                      <a:srgbClr val="FFFFFF"/>
                    </a:gs>
                    <a:gs pos="100000">
                      <a:srgbClr val="FFFFFF"/>
                    </a:gs>
                  </a:gsLst>
                  <a:lin ang="5400000" scaled="0"/>
                </a:gradFill>
                <a:ea typeface="Segoe UI" pitchFamily="34" charset="0"/>
                <a:cs typeface="Segoe UI" pitchFamily="34" charset="0"/>
              </a:rPr>
              <a:t>Talking points:</a:t>
            </a:r>
          </a:p>
          <a:p>
            <a:pPr marL="185766" indent="-185766" defTabSz="1010626">
              <a:lnSpc>
                <a:spcPct val="90000"/>
              </a:lnSpc>
              <a:spcAft>
                <a:spcPts val="368"/>
              </a:spcAft>
              <a:buFont typeface="Arial" panose="020B0604020202020204" pitchFamily="34" charset="0"/>
              <a:buChar char="•"/>
              <a:defRPr/>
            </a:pPr>
            <a:r>
              <a:rPr lang="en-US" sz="1300" dirty="0">
                <a:gradFill>
                  <a:gsLst>
                    <a:gs pos="0">
                      <a:srgbClr val="FFFFFF"/>
                    </a:gs>
                    <a:gs pos="100000">
                      <a:srgbClr val="FFFFFF"/>
                    </a:gs>
                  </a:gsLst>
                  <a:lin ang="5400000" scaled="0"/>
                </a:gradFill>
                <a:ea typeface="Segoe UI" pitchFamily="34" charset="0"/>
                <a:cs typeface="Segoe UI" pitchFamily="34" charset="0"/>
              </a:rPr>
              <a:t>As discussed earlier, you can get started </a:t>
            </a:r>
            <a:r>
              <a:rPr lang="en-US" sz="1300" dirty="0"/>
              <a:t>quickly with pre-built content packs for popular SaaS solutions</a:t>
            </a:r>
          </a:p>
          <a:p>
            <a:pPr marL="185766" indent="-185766" defTabSz="1010626">
              <a:lnSpc>
                <a:spcPct val="90000"/>
              </a:lnSpc>
              <a:spcAft>
                <a:spcPts val="368"/>
              </a:spcAft>
              <a:buFont typeface="Arial" panose="020B0604020202020204" pitchFamily="34" charset="0"/>
              <a:buChar char="•"/>
              <a:defRPr/>
            </a:pPr>
            <a:r>
              <a:rPr lang="en-US" sz="1300" dirty="0"/>
              <a:t>The primary capability of Power BI is that it empowers you to create and customize live dashboards – dashboards that include visualizations from multiple data sources</a:t>
            </a:r>
          </a:p>
          <a:p>
            <a:pPr marL="681142" lvl="1" indent="-185766" defTabSz="1010626">
              <a:lnSpc>
                <a:spcPct val="90000"/>
              </a:lnSpc>
              <a:spcAft>
                <a:spcPts val="368"/>
              </a:spcAft>
              <a:buFont typeface="Arial" panose="020B0604020202020204" pitchFamily="34" charset="0"/>
              <a:buChar char="•"/>
              <a:defRPr/>
            </a:pPr>
            <a:r>
              <a:rPr lang="en-US" sz="1300" dirty="0">
                <a:gradFill>
                  <a:gsLst>
                    <a:gs pos="0">
                      <a:srgbClr val="FFFFFF"/>
                    </a:gs>
                    <a:gs pos="100000">
                      <a:srgbClr val="FFFFFF"/>
                    </a:gs>
                  </a:gsLst>
                  <a:lin ang="5400000" scaled="0"/>
                </a:gradFill>
                <a:ea typeface="Segoe UI" pitchFamily="34" charset="0"/>
                <a:cs typeface="Segoe UI" pitchFamily="34" charset="0"/>
              </a:rPr>
              <a:t>That is, dashboards can show different types of data from a variety of sources, and can use a range of unique visualizations</a:t>
            </a:r>
          </a:p>
          <a:p>
            <a:pPr marL="681142" lvl="1" indent="-185766" defTabSz="1010626">
              <a:lnSpc>
                <a:spcPct val="90000"/>
              </a:lnSpc>
              <a:spcAft>
                <a:spcPts val="368"/>
              </a:spcAft>
              <a:buFont typeface="Arial" panose="020B0604020202020204" pitchFamily="34" charset="0"/>
              <a:buChar char="•"/>
              <a:defRPr/>
            </a:pPr>
            <a:r>
              <a:rPr lang="en-US" sz="1300" dirty="0">
                <a:gradFill>
                  <a:gsLst>
                    <a:gs pos="0">
                      <a:srgbClr val="FFFFFF"/>
                    </a:gs>
                    <a:gs pos="100000">
                      <a:srgbClr val="FFFFFF"/>
                    </a:gs>
                  </a:gsLst>
                  <a:lin ang="5400000" scaled="0"/>
                </a:gradFill>
                <a:ea typeface="Segoe UI" pitchFamily="34" charset="0"/>
                <a:cs typeface="Segoe UI" pitchFamily="34" charset="0"/>
              </a:rPr>
              <a:t>If applicable, you can track status in real-time thanks to </a:t>
            </a:r>
            <a:r>
              <a:rPr lang="en-US" sz="1300" dirty="0"/>
              <a:t>support for real-time data sources</a:t>
            </a:r>
            <a:endParaRPr lang="en-US" sz="1300" dirty="0">
              <a:gradFill>
                <a:gsLst>
                  <a:gs pos="0">
                    <a:srgbClr val="FFFFFF"/>
                  </a:gs>
                  <a:gs pos="100000">
                    <a:srgbClr val="FFFFFF"/>
                  </a:gs>
                </a:gsLst>
                <a:lin ang="5400000" scaled="0"/>
              </a:gradFill>
              <a:ea typeface="Segoe UI" pitchFamily="34" charset="0"/>
              <a:cs typeface="Segoe UI" pitchFamily="34" charset="0"/>
            </a:endParaRPr>
          </a:p>
          <a:p>
            <a:pPr marL="681142" lvl="1" indent="-185766" defTabSz="1010626">
              <a:lnSpc>
                <a:spcPct val="90000"/>
              </a:lnSpc>
              <a:spcAft>
                <a:spcPts val="368"/>
              </a:spcAft>
              <a:buFont typeface="Arial" panose="020B0604020202020204" pitchFamily="34" charset="0"/>
              <a:buChar char="•"/>
              <a:defRPr/>
            </a:pPr>
            <a:r>
              <a:rPr lang="en-US" sz="1300" dirty="0">
                <a:gradFill>
                  <a:gsLst>
                    <a:gs pos="0">
                      <a:srgbClr val="FFFFFF"/>
                    </a:gs>
                    <a:gs pos="100000">
                      <a:srgbClr val="FFFFFF"/>
                    </a:gs>
                  </a:gsLst>
                  <a:lin ang="5400000" scaled="0"/>
                </a:gradFill>
                <a:ea typeface="Segoe UI" pitchFamily="34" charset="0"/>
                <a:cs typeface="Segoe UI" pitchFamily="34" charset="0"/>
              </a:rPr>
              <a:t>You have full control over your dashboards – pin any visualization from any report to any dashboard</a:t>
            </a:r>
          </a:p>
          <a:p>
            <a:pPr marL="185766" indent="-185766" defTabSz="1010626">
              <a:lnSpc>
                <a:spcPct val="90000"/>
              </a:lnSpc>
              <a:spcAft>
                <a:spcPts val="368"/>
              </a:spcAft>
              <a:buFont typeface="Arial" panose="020B0604020202020204" pitchFamily="34" charset="0"/>
              <a:buChar char="•"/>
              <a:defRPr/>
            </a:pPr>
            <a:r>
              <a:rPr lang="en-US" sz="1300" dirty="0">
                <a:gradFill>
                  <a:gsLst>
                    <a:gs pos="0">
                      <a:srgbClr val="FFFFFF"/>
                    </a:gs>
                    <a:gs pos="100000">
                      <a:srgbClr val="FFFFFF"/>
                    </a:gs>
                  </a:gsLst>
                  <a:lin ang="5400000" scaled="0"/>
                </a:gradFill>
                <a:ea typeface="Segoe UI" pitchFamily="34" charset="0"/>
                <a:cs typeface="Segoe UI" pitchFamily="34" charset="0"/>
              </a:rPr>
              <a:t>Click through visualizations to access their underlying reports to discover more data and new insights</a:t>
            </a:r>
          </a:p>
        </p:txBody>
      </p:sp>
      <p:sp>
        <p:nvSpPr>
          <p:cNvPr id="4" name="Slide Number Placeholder 3"/>
          <p:cNvSpPr>
            <a:spLocks noGrp="1"/>
          </p:cNvSpPr>
          <p:nvPr>
            <p:ph type="sldNum" sz="quarter" idx="10"/>
          </p:nvPr>
        </p:nvSpPr>
        <p:spPr/>
        <p:txBody>
          <a:bodyPr/>
          <a:lstStyle/>
          <a:p>
            <a:fld id="{DD81A89D-8738-4ED5-BF6E-F438F4965D3F}" type="slidenum">
              <a:rPr lang="en-US" smtClean="0"/>
              <a:t>10</a:t>
            </a:fld>
            <a:endParaRPr lang="en-US" dirty="0"/>
          </a:p>
        </p:txBody>
      </p:sp>
    </p:spTree>
    <p:extLst>
      <p:ext uri="{BB962C8B-B14F-4D97-AF65-F5344CB8AC3E}">
        <p14:creationId xmlns:p14="http://schemas.microsoft.com/office/powerpoint/2010/main" val="104909496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4.jpeg"/></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5.jp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image" Target="../media/image6.pn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Presentation Title">
    <p:bg>
      <p:bgPr>
        <a:solidFill>
          <a:srgbClr val="F2C81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488558" y="1776549"/>
            <a:ext cx="9788342" cy="2721023"/>
          </a:xfrm>
        </p:spPr>
        <p:txBody>
          <a:bodyPr/>
          <a:lstStyle>
            <a:lvl1pPr>
              <a:defRPr sz="6000">
                <a:solidFill>
                  <a:schemeClr val="tx1"/>
                </a:solidFill>
                <a:latin typeface="Segoe UI Semibold" panose="020B0702040204020203" pitchFamily="34" charset="0"/>
                <a:cs typeface="Segoe UI Semibold" panose="020B0702040204020203" pitchFamily="34" charset="0"/>
              </a:defRPr>
            </a:lvl1pPr>
          </a:lstStyle>
          <a:p>
            <a:r>
              <a:rPr lang="en-US" dirty="0"/>
              <a:t>Presentation title</a:t>
            </a:r>
          </a:p>
        </p:txBody>
      </p:sp>
      <p:sp>
        <p:nvSpPr>
          <p:cNvPr id="3" name="Subtitle 2"/>
          <p:cNvSpPr>
            <a:spLocks noGrp="1"/>
          </p:cNvSpPr>
          <p:nvPr>
            <p:ph type="subTitle" idx="1" hasCustomPrompt="1"/>
          </p:nvPr>
        </p:nvSpPr>
        <p:spPr>
          <a:xfrm>
            <a:off x="1488558" y="4749150"/>
            <a:ext cx="9788342" cy="1034782"/>
          </a:xfrm>
        </p:spPr>
        <p:txBody>
          <a:bodyPr/>
          <a:lstStyle>
            <a:lvl1pPr marL="0" indent="0" algn="l">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3939" y="199344"/>
            <a:ext cx="1527557" cy="556031"/>
          </a:xfrm>
          <a:prstGeom prst="rect">
            <a:avLst/>
          </a:prstGeom>
        </p:spPr>
      </p:pic>
    </p:spTree>
    <p:extLst>
      <p:ext uri="{BB962C8B-B14F-4D97-AF65-F5344CB8AC3E}">
        <p14:creationId xmlns:p14="http://schemas.microsoft.com/office/powerpoint/2010/main" val="3293406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hoto Tile 2">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 y="-1"/>
            <a:ext cx="12193730" cy="6858001"/>
          </a:xfrm>
          <a:prstGeom prst="rect">
            <a:avLst/>
          </a:prstGeom>
          <a:noFill/>
          <a:ln>
            <a:noFill/>
          </a:ln>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696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9" name="TextBox 8"/>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2319273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hoto Tile 3">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798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rotWithShape="1">
          <a:blip r:embed="rId6">
            <a:extLst>
              <a:ext uri="{28A0092B-C50C-407E-A947-70E740481C1C}">
                <a14:useLocalDpi xmlns:a14="http://schemas.microsoft.com/office/drawing/2010/main" val="0"/>
              </a:ext>
            </a:extLst>
          </a:blip>
          <a:srcRect r="1181" b="970"/>
          <a:stretch/>
        </p:blipFill>
        <p:spPr>
          <a:xfrm>
            <a:off x="0" y="0"/>
            <a:ext cx="12200028" cy="6882063"/>
          </a:xfrm>
          <a:prstGeom prst="rect">
            <a:avLst/>
          </a:prstGeom>
        </p:spPr>
      </p:pic>
      <p:sp>
        <p:nvSpPr>
          <p:cNvPr id="7" name="Rectangle 6"/>
          <p:cNvSpPr/>
          <p:nvPr userDrawn="1"/>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8" name="TextBox 7"/>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4118915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hoto Tile 4">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4">
            <a:extLst>
              <a:ext uri="{28A0092B-C50C-407E-A947-70E740481C1C}">
                <a14:useLocalDpi xmlns:a14="http://schemas.microsoft.com/office/drawing/2010/main" val="0"/>
              </a:ext>
            </a:extLst>
          </a:blip>
          <a:srcRect t="7705" b="8152"/>
          <a:stretch/>
        </p:blipFill>
        <p:spPr>
          <a:xfrm>
            <a:off x="0" y="-1"/>
            <a:ext cx="12192000" cy="6833937"/>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901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8" name="Rectangle 7"/>
          <p:cNvSpPr/>
          <p:nvPr userDrawn="1"/>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9" name="TextBox 8"/>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3035712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hoto Tile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Rectangle 2"/>
          <p:cNvSpPr/>
          <p:nvPr userDrawn="1"/>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4" name="TextBox 3"/>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2619876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oto Tile 6">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1" name="Rectangle 10"/>
          <p:cNvSpPr/>
          <p:nvPr userDrawn="1"/>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12" name="TextBox 11"/>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4263436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resentation Closing">
    <p:bg>
      <p:bgPr>
        <a:solidFill>
          <a:srgbClr val="F2C81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397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5486" y="2863031"/>
            <a:ext cx="3056653" cy="1112622"/>
          </a:xfrm>
          <a:prstGeom prst="rect">
            <a:avLst/>
          </a:prstGeom>
        </p:spPr>
      </p:pic>
    </p:spTree>
    <p:extLst>
      <p:ext uri="{BB962C8B-B14F-4D97-AF65-F5344CB8AC3E}">
        <p14:creationId xmlns:p14="http://schemas.microsoft.com/office/powerpoint/2010/main" val="505370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119274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Left black">
    <p:bg>
      <p:bgRef idx="1001">
        <a:schemeClr val="bg2"/>
      </p:bgRef>
    </p:bg>
    <p:spTree>
      <p:nvGrpSpPr>
        <p:cNvPr id="1" name=""/>
        <p:cNvGrpSpPr/>
        <p:nvPr/>
      </p:nvGrpSpPr>
      <p:grpSpPr>
        <a:xfrm>
          <a:off x="0" y="0"/>
          <a:ext cx="0" cy="0"/>
          <a:chOff x="0" y="0"/>
          <a:chExt cx="0" cy="0"/>
        </a:xfrm>
      </p:grpSpPr>
      <p:sp>
        <p:nvSpPr>
          <p:cNvPr id="9" name="Rectangle 8"/>
          <p:cNvSpPr/>
          <p:nvPr userDrawn="1"/>
        </p:nvSpPr>
        <p:spPr>
          <a:xfrm>
            <a:off x="0" y="0"/>
            <a:ext cx="5052060" cy="685800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tIns="182880" rIns="457200" rtlCol="0" anchor="t"/>
          <a:lstStyle/>
          <a:p>
            <a:endParaRPr lang="en-US" sz="2600" dirty="0">
              <a:solidFill>
                <a:srgbClr val="EDC30D"/>
              </a:solidFill>
              <a:latin typeface="Segoe UI Light" panose="020B0502040204020203" pitchFamily="34" charset="0"/>
              <a:cs typeface="Segoe UI Light" panose="020B0502040204020203" pitchFamily="34" charset="0"/>
            </a:endParaRPr>
          </a:p>
        </p:txBody>
      </p:sp>
      <p:sp>
        <p:nvSpPr>
          <p:cNvPr id="11" name="Text Placeholder 10"/>
          <p:cNvSpPr>
            <a:spLocks noGrp="1"/>
          </p:cNvSpPr>
          <p:nvPr>
            <p:ph type="body" sz="quarter" idx="10"/>
          </p:nvPr>
        </p:nvSpPr>
        <p:spPr>
          <a:xfrm>
            <a:off x="356896" y="2600635"/>
            <a:ext cx="4320544" cy="3785652"/>
          </a:xfrm>
        </p:spPr>
        <p:txBody>
          <a:bodyPr anchor="b">
            <a:noAutofit/>
          </a:bodyPr>
          <a:lstStyle>
            <a:lvl1pPr>
              <a:defRPr sz="2000">
                <a:solidFill>
                  <a:schemeClr val="accent1"/>
                </a:solidFill>
                <a:latin typeface="+mj-lt"/>
              </a:defRPr>
            </a:lvl1pPr>
            <a:lvl2pPr>
              <a:defRPr sz="1800">
                <a:solidFill>
                  <a:schemeClr val="accent1"/>
                </a:solidFill>
                <a:latin typeface="+mj-lt"/>
              </a:defRPr>
            </a:lvl2pPr>
            <a:lvl3pPr>
              <a:defRPr sz="1600">
                <a:solidFill>
                  <a:schemeClr val="accent1"/>
                </a:solidFill>
                <a:latin typeface="+mj-lt"/>
              </a:defRPr>
            </a:lvl3pPr>
            <a:lvl4pPr>
              <a:defRPr sz="1400">
                <a:solidFill>
                  <a:schemeClr val="accent1"/>
                </a:solidFill>
                <a:latin typeface="+mj-lt"/>
              </a:defRPr>
            </a:lvl4pPr>
            <a:lvl5pPr>
              <a:defRPr sz="1400">
                <a:solidFill>
                  <a:schemeClr val="accent1"/>
                </a:solidFill>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1"/>
          <p:cNvSpPr>
            <a:spLocks noGrp="1"/>
          </p:cNvSpPr>
          <p:nvPr>
            <p:ph type="title"/>
          </p:nvPr>
        </p:nvSpPr>
        <p:spPr>
          <a:xfrm>
            <a:off x="364602" y="592633"/>
            <a:ext cx="4643916" cy="1089529"/>
          </a:xfrm>
        </p:spPr>
        <p:txBody>
          <a:bodyPr anchor="t" anchorCtr="0">
            <a:spAutoFit/>
          </a:bodyPr>
          <a:lstStyle>
            <a:lvl1pPr>
              <a:defRPr sz="3600">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2081217313"/>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odule Title">
    <p:bg>
      <p:bgPr>
        <a:solidFill>
          <a:srgbClr val="F2C812"/>
        </a:solidFill>
        <a:effectLst/>
      </p:bgPr>
    </p:bg>
    <p:spTree>
      <p:nvGrpSpPr>
        <p:cNvPr id="1" name=""/>
        <p:cNvGrpSpPr/>
        <p:nvPr/>
      </p:nvGrpSpPr>
      <p:grpSpPr>
        <a:xfrm>
          <a:off x="0" y="0"/>
          <a:ext cx="0" cy="0"/>
          <a:chOff x="0" y="0"/>
          <a:chExt cx="0" cy="0"/>
        </a:xfrm>
      </p:grpSpPr>
      <p:sp>
        <p:nvSpPr>
          <p:cNvPr id="7" name="Rectangle 6"/>
          <p:cNvSpPr/>
          <p:nvPr userDrawn="1"/>
        </p:nvSpPr>
        <p:spPr bwMode="auto">
          <a:xfrm>
            <a:off x="0" y="2890684"/>
            <a:ext cx="12192000" cy="39673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1488557" y="1117590"/>
            <a:ext cx="10408581" cy="1655108"/>
          </a:xfrm>
        </p:spPr>
        <p:txBody>
          <a:bodyPr anchor="b"/>
          <a:lstStyle>
            <a:lvl1pPr indent="0">
              <a:defRPr sz="4800">
                <a:solidFill>
                  <a:schemeClr val="tx1"/>
                </a:solidFill>
                <a:latin typeface="Segoe UI Semibold" panose="020B0702040204020203" pitchFamily="34" charset="0"/>
                <a:cs typeface="Segoe UI Semibold" panose="020B0702040204020203" pitchFamily="34" charset="0"/>
              </a:defRPr>
            </a:lvl1pPr>
          </a:lstStyle>
          <a:p>
            <a:r>
              <a:rPr lang="en-US" dirty="0"/>
              <a:t>Module title</a:t>
            </a:r>
          </a:p>
        </p:txBody>
      </p:sp>
      <p:sp>
        <p:nvSpPr>
          <p:cNvPr id="9" name="Text Placeholder 8"/>
          <p:cNvSpPr>
            <a:spLocks noGrp="1"/>
          </p:cNvSpPr>
          <p:nvPr>
            <p:ph type="body" sz="quarter" idx="10" hasCustomPrompt="1"/>
          </p:nvPr>
        </p:nvSpPr>
        <p:spPr>
          <a:xfrm>
            <a:off x="1488558" y="3178512"/>
            <a:ext cx="10408580" cy="3679487"/>
          </a:xfrm>
        </p:spPr>
        <p:txBody>
          <a:bodyPr>
            <a:normAutofit/>
          </a:bodyPr>
          <a:lstStyle>
            <a:lvl1pPr marL="354013" indent="-354013">
              <a:buFont typeface="Wingdings" panose="05000000000000000000" pitchFamily="2" charset="2"/>
              <a:buChar char="§"/>
              <a:defRPr sz="3200"/>
            </a:lvl1pPr>
          </a:lstStyle>
          <a:p>
            <a:pPr lvl="0"/>
            <a:r>
              <a:rPr lang="en-US" dirty="0"/>
              <a:t>Module content</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3939" y="199344"/>
            <a:ext cx="1527557" cy="556031"/>
          </a:xfrm>
          <a:prstGeom prst="rect">
            <a:avLst/>
          </a:prstGeom>
        </p:spPr>
      </p:pic>
    </p:spTree>
    <p:extLst>
      <p:ext uri="{BB962C8B-B14F-4D97-AF65-F5344CB8AC3E}">
        <p14:creationId xmlns:p14="http://schemas.microsoft.com/office/powerpoint/2010/main" val="1444047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tmplLst>
          <p:tmpl>
            <p:tnLst>
              <p:par>
                <p:cTn presetID="2" presetClass="entr" presetSubtype="4"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ppt_x"/>
                          </p:val>
                        </p:tav>
                        <p:tav tm="100000">
                          <p:val>
                            <p:strVal val="#ppt_x"/>
                          </p:val>
                        </p:tav>
                      </p:tavLst>
                    </p:anim>
                    <p:anim calcmode="lin" valueType="num">
                      <p:cBhvr additive="base">
                        <p:cTn dur="500" fill="hold"/>
                        <p:tgtEl>
                          <p:spTgt spid="9"/>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60000"/>
            <a:ext cx="11655840" cy="720000"/>
          </a:xfrm>
        </p:spPr>
        <p:txBody>
          <a:bodyPr lIns="180000"/>
          <a:lstStyle>
            <a:lvl1pPr>
              <a:defRPr/>
            </a:lvl1pPr>
          </a:lstStyle>
          <a:p>
            <a:r>
              <a:rPr lang="en-US" dirty="0"/>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dirty="0"/>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a:lvl2pPr>
          </a:lstStyle>
          <a:p>
            <a:pPr lvl="0"/>
            <a:r>
              <a:rPr lang="en-US" dirty="0"/>
              <a:t>Slide conten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01413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ey Takeaway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19141" y="360000"/>
            <a:ext cx="10805938" cy="720000"/>
          </a:xfrm>
        </p:spPr>
        <p:txBody>
          <a:bodyPr/>
          <a:lstStyle>
            <a:lvl1pPr>
              <a:defRPr/>
            </a:lvl1pPr>
          </a:lstStyle>
          <a:p>
            <a:r>
              <a:rPr lang="en-US" dirty="0"/>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dirty="0"/>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sz="2800"/>
            </a:lvl2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9" name="Freeform 88"/>
          <p:cNvSpPr>
            <a:spLocks noEditPoints="1"/>
          </p:cNvSpPr>
          <p:nvPr userDrawn="1"/>
        </p:nvSpPr>
        <p:spPr bwMode="auto">
          <a:xfrm>
            <a:off x="467833" y="360000"/>
            <a:ext cx="651308" cy="651308"/>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365644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pportuniti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43897" y="360000"/>
            <a:ext cx="10981182" cy="720000"/>
          </a:xfrm>
        </p:spPr>
        <p:txBody>
          <a:bodyPr/>
          <a:lstStyle>
            <a:lvl1pPr>
              <a:defRPr/>
            </a:lvl1pPr>
          </a:lstStyle>
          <a:p>
            <a:r>
              <a:rPr lang="en-US" dirty="0"/>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dirty="0"/>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sz="2800"/>
            </a:lvl2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7" name="Freeform 13"/>
          <p:cNvSpPr>
            <a:spLocks noEditPoints="1"/>
          </p:cNvSpPr>
          <p:nvPr userDrawn="1"/>
        </p:nvSpPr>
        <p:spPr bwMode="auto">
          <a:xfrm>
            <a:off x="455749" y="365275"/>
            <a:ext cx="350279" cy="645825"/>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sysClr val="windowText" lastClr="000000"/>
              </a:solidFill>
            </a:endParaRPr>
          </a:p>
        </p:txBody>
      </p:sp>
    </p:spTree>
    <p:extLst>
      <p:ext uri="{BB962C8B-B14F-4D97-AF65-F5344CB8AC3E}">
        <p14:creationId xmlns:p14="http://schemas.microsoft.com/office/powerpoint/2010/main" val="510399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Resourc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14478" y="360000"/>
            <a:ext cx="10810601" cy="720000"/>
          </a:xfrm>
        </p:spPr>
        <p:txBody>
          <a:bodyPr/>
          <a:lstStyle>
            <a:lvl1pPr>
              <a:defRPr/>
            </a:lvl1pPr>
          </a:lstStyle>
          <a:p>
            <a:r>
              <a:rPr lang="en-US" dirty="0"/>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dirty="0"/>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a:lvl2pPr>
          </a:lstStyle>
          <a:p>
            <a:pPr lvl="0"/>
            <a:r>
              <a:rPr lang="en-US" dirty="0"/>
              <a:t>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Freeform 72"/>
          <p:cNvSpPr>
            <a:spLocks noEditPoints="1"/>
          </p:cNvSpPr>
          <p:nvPr userDrawn="1"/>
        </p:nvSpPr>
        <p:spPr bwMode="auto">
          <a:xfrm>
            <a:off x="467833" y="360000"/>
            <a:ext cx="646645" cy="647978"/>
          </a:xfrm>
          <a:custGeom>
            <a:avLst/>
            <a:gdLst>
              <a:gd name="T0" fmla="*/ 337 w 411"/>
              <a:gd name="T1" fmla="*/ 198 h 412"/>
              <a:gd name="T2" fmla="*/ 284 w 411"/>
              <a:gd name="T3" fmla="*/ 220 h 412"/>
              <a:gd name="T4" fmla="*/ 249 w 411"/>
              <a:gd name="T5" fmla="*/ 185 h 412"/>
              <a:gd name="T6" fmla="*/ 283 w 411"/>
              <a:gd name="T7" fmla="*/ 107 h 412"/>
              <a:gd name="T8" fmla="*/ 176 w 411"/>
              <a:gd name="T9" fmla="*/ 0 h 412"/>
              <a:gd name="T10" fmla="*/ 68 w 411"/>
              <a:gd name="T11" fmla="*/ 107 h 412"/>
              <a:gd name="T12" fmla="*/ 116 w 411"/>
              <a:gd name="T13" fmla="*/ 196 h 412"/>
              <a:gd name="T14" fmla="*/ 96 w 411"/>
              <a:gd name="T15" fmla="*/ 266 h 412"/>
              <a:gd name="T16" fmla="*/ 74 w 411"/>
              <a:gd name="T17" fmla="*/ 263 h 412"/>
              <a:gd name="T18" fmla="*/ 0 w 411"/>
              <a:gd name="T19" fmla="*/ 337 h 412"/>
              <a:gd name="T20" fmla="*/ 74 w 411"/>
              <a:gd name="T21" fmla="*/ 412 h 412"/>
              <a:gd name="T22" fmla="*/ 149 w 411"/>
              <a:gd name="T23" fmla="*/ 337 h 412"/>
              <a:gd name="T24" fmla="*/ 110 w 411"/>
              <a:gd name="T25" fmla="*/ 272 h 412"/>
              <a:gd name="T26" fmla="*/ 130 w 411"/>
              <a:gd name="T27" fmla="*/ 204 h 412"/>
              <a:gd name="T28" fmla="*/ 176 w 411"/>
              <a:gd name="T29" fmla="*/ 214 h 412"/>
              <a:gd name="T30" fmla="*/ 238 w 411"/>
              <a:gd name="T31" fmla="*/ 195 h 412"/>
              <a:gd name="T32" fmla="*/ 275 w 411"/>
              <a:gd name="T33" fmla="*/ 232 h 412"/>
              <a:gd name="T34" fmla="*/ 262 w 411"/>
              <a:gd name="T35" fmla="*/ 273 h 412"/>
              <a:gd name="T36" fmla="*/ 337 w 411"/>
              <a:gd name="T37" fmla="*/ 347 h 412"/>
              <a:gd name="T38" fmla="*/ 411 w 411"/>
              <a:gd name="T39" fmla="*/ 273 h 412"/>
              <a:gd name="T40" fmla="*/ 337 w 411"/>
              <a:gd name="T41" fmla="*/ 198 h 412"/>
              <a:gd name="T42" fmla="*/ 134 w 411"/>
              <a:gd name="T43" fmla="*/ 337 h 412"/>
              <a:gd name="T44" fmla="*/ 74 w 411"/>
              <a:gd name="T45" fmla="*/ 397 h 412"/>
              <a:gd name="T46" fmla="*/ 14 w 411"/>
              <a:gd name="T47" fmla="*/ 337 h 412"/>
              <a:gd name="T48" fmla="*/ 74 w 411"/>
              <a:gd name="T49" fmla="*/ 278 h 412"/>
              <a:gd name="T50" fmla="*/ 134 w 411"/>
              <a:gd name="T51" fmla="*/ 337 h 412"/>
              <a:gd name="T52" fmla="*/ 83 w 411"/>
              <a:gd name="T53" fmla="*/ 107 h 412"/>
              <a:gd name="T54" fmla="*/ 176 w 411"/>
              <a:gd name="T55" fmla="*/ 14 h 412"/>
              <a:gd name="T56" fmla="*/ 268 w 411"/>
              <a:gd name="T57" fmla="*/ 107 h 412"/>
              <a:gd name="T58" fmla="*/ 176 w 411"/>
              <a:gd name="T59" fmla="*/ 200 h 412"/>
              <a:gd name="T60" fmla="*/ 83 w 411"/>
              <a:gd name="T61" fmla="*/ 107 h 412"/>
              <a:gd name="T62" fmla="*/ 337 w 411"/>
              <a:gd name="T63" fmla="*/ 332 h 412"/>
              <a:gd name="T64" fmla="*/ 277 w 411"/>
              <a:gd name="T65" fmla="*/ 273 h 412"/>
              <a:gd name="T66" fmla="*/ 337 w 411"/>
              <a:gd name="T67" fmla="*/ 213 h 412"/>
              <a:gd name="T68" fmla="*/ 397 w 411"/>
              <a:gd name="T69" fmla="*/ 273 h 412"/>
              <a:gd name="T70" fmla="*/ 337 w 411"/>
              <a:gd name="T71" fmla="*/ 33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1" h="412">
                <a:moveTo>
                  <a:pt x="337" y="198"/>
                </a:moveTo>
                <a:cubicBezTo>
                  <a:pt x="316" y="198"/>
                  <a:pt x="298" y="206"/>
                  <a:pt x="284" y="220"/>
                </a:cubicBezTo>
                <a:cubicBezTo>
                  <a:pt x="249" y="185"/>
                  <a:pt x="249" y="185"/>
                  <a:pt x="249" y="185"/>
                </a:cubicBezTo>
                <a:cubicBezTo>
                  <a:pt x="270" y="166"/>
                  <a:pt x="283" y="138"/>
                  <a:pt x="283" y="107"/>
                </a:cubicBezTo>
                <a:cubicBezTo>
                  <a:pt x="283" y="48"/>
                  <a:pt x="235" y="0"/>
                  <a:pt x="176" y="0"/>
                </a:cubicBezTo>
                <a:cubicBezTo>
                  <a:pt x="117" y="0"/>
                  <a:pt x="68" y="48"/>
                  <a:pt x="68" y="107"/>
                </a:cubicBezTo>
                <a:cubicBezTo>
                  <a:pt x="68" y="144"/>
                  <a:pt x="88" y="177"/>
                  <a:pt x="116" y="196"/>
                </a:cubicBezTo>
                <a:cubicBezTo>
                  <a:pt x="96" y="266"/>
                  <a:pt x="96" y="266"/>
                  <a:pt x="96" y="266"/>
                </a:cubicBezTo>
                <a:cubicBezTo>
                  <a:pt x="89" y="264"/>
                  <a:pt x="82" y="263"/>
                  <a:pt x="74" y="263"/>
                </a:cubicBezTo>
                <a:cubicBezTo>
                  <a:pt x="33" y="263"/>
                  <a:pt x="0" y="296"/>
                  <a:pt x="0" y="337"/>
                </a:cubicBezTo>
                <a:cubicBezTo>
                  <a:pt x="0" y="378"/>
                  <a:pt x="33" y="412"/>
                  <a:pt x="74" y="412"/>
                </a:cubicBezTo>
                <a:cubicBezTo>
                  <a:pt x="115" y="412"/>
                  <a:pt x="149" y="378"/>
                  <a:pt x="149" y="337"/>
                </a:cubicBezTo>
                <a:cubicBezTo>
                  <a:pt x="149" y="309"/>
                  <a:pt x="133" y="284"/>
                  <a:pt x="110" y="272"/>
                </a:cubicBezTo>
                <a:cubicBezTo>
                  <a:pt x="130" y="204"/>
                  <a:pt x="130" y="204"/>
                  <a:pt x="130" y="204"/>
                </a:cubicBezTo>
                <a:cubicBezTo>
                  <a:pt x="144" y="210"/>
                  <a:pt x="159" y="214"/>
                  <a:pt x="176" y="214"/>
                </a:cubicBezTo>
                <a:cubicBezTo>
                  <a:pt x="199" y="214"/>
                  <a:pt x="220" y="207"/>
                  <a:pt x="238" y="195"/>
                </a:cubicBezTo>
                <a:cubicBezTo>
                  <a:pt x="275" y="232"/>
                  <a:pt x="275" y="232"/>
                  <a:pt x="275" y="232"/>
                </a:cubicBezTo>
                <a:cubicBezTo>
                  <a:pt x="267" y="243"/>
                  <a:pt x="262" y="257"/>
                  <a:pt x="262" y="273"/>
                </a:cubicBezTo>
                <a:cubicBezTo>
                  <a:pt x="262" y="314"/>
                  <a:pt x="296" y="347"/>
                  <a:pt x="337" y="347"/>
                </a:cubicBezTo>
                <a:cubicBezTo>
                  <a:pt x="378" y="347"/>
                  <a:pt x="411" y="314"/>
                  <a:pt x="411" y="273"/>
                </a:cubicBezTo>
                <a:cubicBezTo>
                  <a:pt x="411" y="231"/>
                  <a:pt x="378" y="198"/>
                  <a:pt x="337" y="198"/>
                </a:cubicBezTo>
                <a:close/>
                <a:moveTo>
                  <a:pt x="134" y="337"/>
                </a:moveTo>
                <a:cubicBezTo>
                  <a:pt x="134" y="370"/>
                  <a:pt x="107" y="397"/>
                  <a:pt x="74" y="397"/>
                </a:cubicBezTo>
                <a:cubicBezTo>
                  <a:pt x="41" y="397"/>
                  <a:pt x="14" y="370"/>
                  <a:pt x="14" y="337"/>
                </a:cubicBezTo>
                <a:cubicBezTo>
                  <a:pt x="14" y="304"/>
                  <a:pt x="41" y="278"/>
                  <a:pt x="74" y="278"/>
                </a:cubicBezTo>
                <a:cubicBezTo>
                  <a:pt x="107" y="278"/>
                  <a:pt x="134" y="304"/>
                  <a:pt x="134" y="337"/>
                </a:cubicBezTo>
                <a:close/>
                <a:moveTo>
                  <a:pt x="83" y="107"/>
                </a:moveTo>
                <a:cubicBezTo>
                  <a:pt x="83" y="56"/>
                  <a:pt x="125" y="14"/>
                  <a:pt x="176" y="14"/>
                </a:cubicBezTo>
                <a:cubicBezTo>
                  <a:pt x="227" y="14"/>
                  <a:pt x="268" y="56"/>
                  <a:pt x="268" y="107"/>
                </a:cubicBezTo>
                <a:cubicBezTo>
                  <a:pt x="268" y="158"/>
                  <a:pt x="227" y="200"/>
                  <a:pt x="176" y="200"/>
                </a:cubicBezTo>
                <a:cubicBezTo>
                  <a:pt x="125" y="200"/>
                  <a:pt x="83" y="158"/>
                  <a:pt x="83" y="107"/>
                </a:cubicBezTo>
                <a:close/>
                <a:moveTo>
                  <a:pt x="337" y="332"/>
                </a:moveTo>
                <a:cubicBezTo>
                  <a:pt x="304" y="332"/>
                  <a:pt x="277" y="306"/>
                  <a:pt x="277" y="273"/>
                </a:cubicBezTo>
                <a:cubicBezTo>
                  <a:pt x="277" y="240"/>
                  <a:pt x="304" y="213"/>
                  <a:pt x="337" y="213"/>
                </a:cubicBezTo>
                <a:cubicBezTo>
                  <a:pt x="370" y="213"/>
                  <a:pt x="397" y="240"/>
                  <a:pt x="397" y="273"/>
                </a:cubicBezTo>
                <a:cubicBezTo>
                  <a:pt x="397" y="306"/>
                  <a:pt x="370" y="332"/>
                  <a:pt x="337" y="33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623486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emo">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903228"/>
            <a:ext cx="8067761" cy="19740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40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7833" y="1259999"/>
            <a:ext cx="11355572" cy="2160000"/>
          </a:xfrm>
          <a:noFill/>
        </p:spPr>
        <p:txBody>
          <a:bodyPr tIns="91440" bIns="91440" anchor="t" anchorCtr="0"/>
          <a:lstStyle>
            <a:lvl1pPr>
              <a:defRPr sz="6000" spc="-98" baseline="0">
                <a:solidFill>
                  <a:schemeClr val="tx1"/>
                </a:solidFill>
              </a:defRPr>
            </a:lvl1pPr>
          </a:lstStyle>
          <a:p>
            <a:r>
              <a:rPr lang="en-US" dirty="0"/>
              <a:t>Demo title</a:t>
            </a:r>
          </a:p>
        </p:txBody>
      </p:sp>
      <p:sp>
        <p:nvSpPr>
          <p:cNvPr id="3" name="TextBox 2"/>
          <p:cNvSpPr txBox="1"/>
          <p:nvPr userDrawn="1"/>
        </p:nvSpPr>
        <p:spPr>
          <a:xfrm>
            <a:off x="1158875" y="209726"/>
            <a:ext cx="10664530" cy="464882"/>
          </a:xfrm>
          <a:prstGeom prst="rect">
            <a:avLst/>
          </a:prstGeom>
          <a:noFill/>
        </p:spPr>
        <p:txBody>
          <a:bodyPr wrap="square" lIns="183600" tIns="0" rIns="182880" bIns="0" rtlCol="0" anchor="ctr">
            <a:noAutofit/>
          </a:bodyPr>
          <a:lstStyle/>
          <a:p>
            <a:pPr>
              <a:lnSpc>
                <a:spcPct val="90000"/>
              </a:lnSpc>
              <a:spcAft>
                <a:spcPts val="600"/>
              </a:spcAft>
            </a:pPr>
            <a:r>
              <a:rPr lang="en-AU" sz="2400" dirty="0">
                <a:gradFill>
                  <a:gsLst>
                    <a:gs pos="2917">
                      <a:schemeClr val="tx1"/>
                    </a:gs>
                    <a:gs pos="30000">
                      <a:schemeClr val="tx1"/>
                    </a:gs>
                  </a:gsLst>
                  <a:lin ang="5400000" scaled="0"/>
                </a:gradFill>
              </a:rPr>
              <a:t>Demonstration</a:t>
            </a:r>
            <a:endParaRPr lang="en-US" sz="2400" dirty="0">
              <a:gradFill>
                <a:gsLst>
                  <a:gs pos="2917">
                    <a:schemeClr val="tx1"/>
                  </a:gs>
                  <a:gs pos="30000">
                    <a:schemeClr val="tx1"/>
                  </a:gs>
                </a:gsLst>
                <a:lin ang="5400000" scaled="0"/>
              </a:gradFill>
            </a:endParaRPr>
          </a:p>
        </p:txBody>
      </p:sp>
      <p:cxnSp>
        <p:nvCxnSpPr>
          <p:cNvPr id="7" name="Straight Connector 6"/>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0" hasCustomPrompt="1"/>
          </p:nvPr>
        </p:nvSpPr>
        <p:spPr>
          <a:xfrm>
            <a:off x="1158875" y="641094"/>
            <a:ext cx="10664529" cy="367648"/>
          </a:xfrm>
        </p:spPr>
        <p:txBody>
          <a:bodyPr tIns="0" rIns="0" bIns="0" anchor="ctr">
            <a:noAutofit/>
          </a:bodyPr>
          <a:lstStyle>
            <a:lvl1pPr marL="0" indent="0">
              <a:buNone/>
              <a:defRPr sz="2000" baseline="0"/>
            </a:lvl1pPr>
          </a:lstStyle>
          <a:p>
            <a:pPr lvl="0"/>
            <a:r>
              <a:rPr lang="en-US" dirty="0"/>
              <a:t>Demo code</a:t>
            </a:r>
          </a:p>
        </p:txBody>
      </p:sp>
      <p:sp>
        <p:nvSpPr>
          <p:cNvPr id="10" name="Text Placeholder 9"/>
          <p:cNvSpPr>
            <a:spLocks noGrp="1"/>
          </p:cNvSpPr>
          <p:nvPr>
            <p:ph type="body" sz="quarter" idx="11" hasCustomPrompt="1"/>
          </p:nvPr>
        </p:nvSpPr>
        <p:spPr>
          <a:xfrm>
            <a:off x="467833" y="3594100"/>
            <a:ext cx="11355571" cy="2966188"/>
          </a:xfrm>
        </p:spPr>
        <p:txBody>
          <a:bodyPr>
            <a:noAutofit/>
          </a:bodyPr>
          <a:lstStyle>
            <a:lvl1pPr marL="0" indent="0">
              <a:buNone/>
              <a:defRPr sz="2800"/>
            </a:lvl1pPr>
            <a:lvl2pPr marL="336145" indent="0">
              <a:buNone/>
              <a:defRPr/>
            </a:lvl2pPr>
            <a:lvl3pPr marL="560241" indent="0">
              <a:buNone/>
              <a:defRPr/>
            </a:lvl3pPr>
            <a:lvl4pPr marL="784338" indent="0">
              <a:buNone/>
              <a:defRPr/>
            </a:lvl4pPr>
            <a:lvl5pPr marL="1008434" indent="0">
              <a:buNone/>
              <a:defRPr/>
            </a:lvl5pPr>
          </a:lstStyle>
          <a:p>
            <a:pPr lvl="0"/>
            <a:r>
              <a:rPr lang="en-US" dirty="0"/>
              <a:t>Demo description</a:t>
            </a:r>
          </a:p>
        </p:txBody>
      </p:sp>
      <p:sp>
        <p:nvSpPr>
          <p:cNvPr id="11" name="Freeform 74"/>
          <p:cNvSpPr>
            <a:spLocks noEditPoints="1"/>
          </p:cNvSpPr>
          <p:nvPr userDrawn="1"/>
        </p:nvSpPr>
        <p:spPr bwMode="auto">
          <a:xfrm>
            <a:off x="467832" y="317061"/>
            <a:ext cx="646645" cy="649310"/>
          </a:xfrm>
          <a:custGeom>
            <a:avLst/>
            <a:gdLst>
              <a:gd name="T0" fmla="*/ 404 w 411"/>
              <a:gd name="T1" fmla="*/ 0 h 413"/>
              <a:gd name="T2" fmla="*/ 7 w 411"/>
              <a:gd name="T3" fmla="*/ 0 h 413"/>
              <a:gd name="T4" fmla="*/ 0 w 411"/>
              <a:gd name="T5" fmla="*/ 7 h 413"/>
              <a:gd name="T6" fmla="*/ 0 w 411"/>
              <a:gd name="T7" fmla="*/ 338 h 413"/>
              <a:gd name="T8" fmla="*/ 7 w 411"/>
              <a:gd name="T9" fmla="*/ 345 h 413"/>
              <a:gd name="T10" fmla="*/ 68 w 411"/>
              <a:gd name="T11" fmla="*/ 345 h 413"/>
              <a:gd name="T12" fmla="*/ 133 w 411"/>
              <a:gd name="T13" fmla="*/ 411 h 413"/>
              <a:gd name="T14" fmla="*/ 138 w 411"/>
              <a:gd name="T15" fmla="*/ 413 h 413"/>
              <a:gd name="T16" fmla="*/ 141 w 411"/>
              <a:gd name="T17" fmla="*/ 413 h 413"/>
              <a:gd name="T18" fmla="*/ 145 w 411"/>
              <a:gd name="T19" fmla="*/ 406 h 413"/>
              <a:gd name="T20" fmla="*/ 145 w 411"/>
              <a:gd name="T21" fmla="*/ 345 h 413"/>
              <a:gd name="T22" fmla="*/ 404 w 411"/>
              <a:gd name="T23" fmla="*/ 345 h 413"/>
              <a:gd name="T24" fmla="*/ 411 w 411"/>
              <a:gd name="T25" fmla="*/ 338 h 413"/>
              <a:gd name="T26" fmla="*/ 411 w 411"/>
              <a:gd name="T27" fmla="*/ 7 h 413"/>
              <a:gd name="T28" fmla="*/ 404 w 411"/>
              <a:gd name="T29" fmla="*/ 0 h 413"/>
              <a:gd name="T30" fmla="*/ 396 w 411"/>
              <a:gd name="T31" fmla="*/ 330 h 413"/>
              <a:gd name="T32" fmla="*/ 138 w 411"/>
              <a:gd name="T33" fmla="*/ 330 h 413"/>
              <a:gd name="T34" fmla="*/ 130 w 411"/>
              <a:gd name="T35" fmla="*/ 338 h 413"/>
              <a:gd name="T36" fmla="*/ 130 w 411"/>
              <a:gd name="T37" fmla="*/ 388 h 413"/>
              <a:gd name="T38" fmla="*/ 77 w 411"/>
              <a:gd name="T39" fmla="*/ 333 h 413"/>
              <a:gd name="T40" fmla="*/ 71 w 411"/>
              <a:gd name="T41" fmla="*/ 330 h 413"/>
              <a:gd name="T42" fmla="*/ 15 w 411"/>
              <a:gd name="T43" fmla="*/ 330 h 413"/>
              <a:gd name="T44" fmla="*/ 15 w 411"/>
              <a:gd name="T45" fmla="*/ 15 h 413"/>
              <a:gd name="T46" fmla="*/ 396 w 411"/>
              <a:gd name="T47" fmla="*/ 15 h 413"/>
              <a:gd name="T48" fmla="*/ 396 w 411"/>
              <a:gd name="T49" fmla="*/ 33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413">
                <a:moveTo>
                  <a:pt x="404" y="0"/>
                </a:moveTo>
                <a:cubicBezTo>
                  <a:pt x="7" y="0"/>
                  <a:pt x="7" y="0"/>
                  <a:pt x="7" y="0"/>
                </a:cubicBezTo>
                <a:cubicBezTo>
                  <a:pt x="3" y="0"/>
                  <a:pt x="0" y="3"/>
                  <a:pt x="0" y="7"/>
                </a:cubicBezTo>
                <a:cubicBezTo>
                  <a:pt x="0" y="338"/>
                  <a:pt x="0" y="338"/>
                  <a:pt x="0" y="338"/>
                </a:cubicBezTo>
                <a:cubicBezTo>
                  <a:pt x="0" y="342"/>
                  <a:pt x="3" y="345"/>
                  <a:pt x="7" y="345"/>
                </a:cubicBezTo>
                <a:cubicBezTo>
                  <a:pt x="68" y="345"/>
                  <a:pt x="68" y="345"/>
                  <a:pt x="68" y="345"/>
                </a:cubicBezTo>
                <a:cubicBezTo>
                  <a:pt x="133" y="411"/>
                  <a:pt x="133" y="411"/>
                  <a:pt x="133" y="411"/>
                </a:cubicBezTo>
                <a:cubicBezTo>
                  <a:pt x="134" y="413"/>
                  <a:pt x="136" y="413"/>
                  <a:pt x="138" y="413"/>
                </a:cubicBezTo>
                <a:cubicBezTo>
                  <a:pt x="139" y="413"/>
                  <a:pt x="140" y="413"/>
                  <a:pt x="141" y="413"/>
                </a:cubicBezTo>
                <a:cubicBezTo>
                  <a:pt x="143" y="412"/>
                  <a:pt x="145" y="409"/>
                  <a:pt x="145" y="406"/>
                </a:cubicBezTo>
                <a:cubicBezTo>
                  <a:pt x="145" y="345"/>
                  <a:pt x="145" y="345"/>
                  <a:pt x="145" y="345"/>
                </a:cubicBezTo>
                <a:cubicBezTo>
                  <a:pt x="404" y="345"/>
                  <a:pt x="404" y="345"/>
                  <a:pt x="404" y="345"/>
                </a:cubicBezTo>
                <a:cubicBezTo>
                  <a:pt x="408" y="345"/>
                  <a:pt x="411" y="342"/>
                  <a:pt x="411" y="338"/>
                </a:cubicBezTo>
                <a:cubicBezTo>
                  <a:pt x="411" y="7"/>
                  <a:pt x="411" y="7"/>
                  <a:pt x="411" y="7"/>
                </a:cubicBezTo>
                <a:cubicBezTo>
                  <a:pt x="411" y="3"/>
                  <a:pt x="408" y="0"/>
                  <a:pt x="404" y="0"/>
                </a:cubicBezTo>
                <a:close/>
                <a:moveTo>
                  <a:pt x="396" y="330"/>
                </a:moveTo>
                <a:cubicBezTo>
                  <a:pt x="138" y="330"/>
                  <a:pt x="138" y="330"/>
                  <a:pt x="138" y="330"/>
                </a:cubicBezTo>
                <a:cubicBezTo>
                  <a:pt x="134" y="330"/>
                  <a:pt x="130" y="334"/>
                  <a:pt x="130" y="338"/>
                </a:cubicBezTo>
                <a:cubicBezTo>
                  <a:pt x="130" y="388"/>
                  <a:pt x="130" y="388"/>
                  <a:pt x="130" y="388"/>
                </a:cubicBezTo>
                <a:cubicBezTo>
                  <a:pt x="77" y="333"/>
                  <a:pt x="77" y="333"/>
                  <a:pt x="77" y="333"/>
                </a:cubicBezTo>
                <a:cubicBezTo>
                  <a:pt x="75" y="331"/>
                  <a:pt x="73" y="330"/>
                  <a:pt x="71" y="330"/>
                </a:cubicBezTo>
                <a:cubicBezTo>
                  <a:pt x="15" y="330"/>
                  <a:pt x="15" y="330"/>
                  <a:pt x="15" y="330"/>
                </a:cubicBezTo>
                <a:cubicBezTo>
                  <a:pt x="15" y="15"/>
                  <a:pt x="15" y="15"/>
                  <a:pt x="15" y="15"/>
                </a:cubicBezTo>
                <a:cubicBezTo>
                  <a:pt x="396" y="15"/>
                  <a:pt x="396" y="15"/>
                  <a:pt x="396" y="15"/>
                </a:cubicBezTo>
                <a:lnTo>
                  <a:pt x="396" y="33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9584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ab">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903228"/>
            <a:ext cx="8067761" cy="19740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40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7833" y="1259999"/>
            <a:ext cx="11355572" cy="2160000"/>
          </a:xfrm>
          <a:noFill/>
        </p:spPr>
        <p:txBody>
          <a:bodyPr tIns="91440" bIns="91440" anchor="t" anchorCtr="0"/>
          <a:lstStyle>
            <a:lvl1pPr>
              <a:defRPr sz="6000" spc="-98" baseline="0">
                <a:solidFill>
                  <a:schemeClr val="tx1"/>
                </a:solidFill>
              </a:defRPr>
            </a:lvl1pPr>
          </a:lstStyle>
          <a:p>
            <a:r>
              <a:rPr lang="en-US" dirty="0"/>
              <a:t>Lab title</a:t>
            </a:r>
          </a:p>
        </p:txBody>
      </p:sp>
      <p:sp>
        <p:nvSpPr>
          <p:cNvPr id="3" name="TextBox 2"/>
          <p:cNvSpPr txBox="1"/>
          <p:nvPr userDrawn="1"/>
        </p:nvSpPr>
        <p:spPr>
          <a:xfrm>
            <a:off x="1158875" y="209726"/>
            <a:ext cx="10664530" cy="464882"/>
          </a:xfrm>
          <a:prstGeom prst="rect">
            <a:avLst/>
          </a:prstGeom>
          <a:noFill/>
        </p:spPr>
        <p:txBody>
          <a:bodyPr wrap="square" lIns="183600" tIns="0" rIns="182880" bIns="0" rtlCol="0" anchor="ctr">
            <a:noAutofit/>
          </a:bodyPr>
          <a:lstStyle/>
          <a:p>
            <a:pPr>
              <a:lnSpc>
                <a:spcPct val="90000"/>
              </a:lnSpc>
              <a:spcAft>
                <a:spcPts val="600"/>
              </a:spcAft>
            </a:pPr>
            <a:r>
              <a:rPr lang="en-AU" sz="2400" dirty="0">
                <a:gradFill>
                  <a:gsLst>
                    <a:gs pos="2917">
                      <a:schemeClr val="tx1"/>
                    </a:gs>
                    <a:gs pos="30000">
                      <a:schemeClr val="tx1"/>
                    </a:gs>
                  </a:gsLst>
                  <a:lin ang="5400000" scaled="0"/>
                </a:gradFill>
              </a:rPr>
              <a:t>Hands-on lab</a:t>
            </a:r>
            <a:endParaRPr lang="en-US" sz="2400" dirty="0">
              <a:gradFill>
                <a:gsLst>
                  <a:gs pos="2917">
                    <a:schemeClr val="tx1"/>
                  </a:gs>
                  <a:gs pos="30000">
                    <a:schemeClr val="tx1"/>
                  </a:gs>
                </a:gsLst>
                <a:lin ang="5400000" scaled="0"/>
              </a:gradFill>
            </a:endParaRPr>
          </a:p>
        </p:txBody>
      </p:sp>
      <p:cxnSp>
        <p:nvCxnSpPr>
          <p:cNvPr id="7" name="Straight Connector 6"/>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0" hasCustomPrompt="1"/>
          </p:nvPr>
        </p:nvSpPr>
        <p:spPr>
          <a:xfrm>
            <a:off x="1158875" y="641094"/>
            <a:ext cx="10664529" cy="367648"/>
          </a:xfrm>
        </p:spPr>
        <p:txBody>
          <a:bodyPr tIns="0" rIns="0" bIns="0" anchor="ctr">
            <a:noAutofit/>
          </a:bodyPr>
          <a:lstStyle>
            <a:lvl1pPr marL="0" indent="0">
              <a:buNone/>
              <a:defRPr sz="2000" baseline="0"/>
            </a:lvl1pPr>
          </a:lstStyle>
          <a:p>
            <a:pPr lvl="0"/>
            <a:r>
              <a:rPr lang="en-US" dirty="0"/>
              <a:t>Lab code | Minutes</a:t>
            </a:r>
          </a:p>
        </p:txBody>
      </p:sp>
      <p:sp>
        <p:nvSpPr>
          <p:cNvPr id="10" name="Text Placeholder 9"/>
          <p:cNvSpPr>
            <a:spLocks noGrp="1"/>
          </p:cNvSpPr>
          <p:nvPr>
            <p:ph type="body" sz="quarter" idx="11" hasCustomPrompt="1"/>
          </p:nvPr>
        </p:nvSpPr>
        <p:spPr>
          <a:xfrm>
            <a:off x="467833" y="3594100"/>
            <a:ext cx="6018027" cy="2966188"/>
          </a:xfrm>
        </p:spPr>
        <p:txBody>
          <a:bodyPr>
            <a:noAutofit/>
          </a:bodyPr>
          <a:lstStyle>
            <a:lvl1pPr marL="0" indent="0">
              <a:buNone/>
              <a:defRPr sz="2800"/>
            </a:lvl1pPr>
            <a:lvl2pPr marL="336145" indent="0">
              <a:buNone/>
              <a:defRPr/>
            </a:lvl2pPr>
            <a:lvl3pPr marL="560241" indent="0">
              <a:buNone/>
              <a:defRPr/>
            </a:lvl3pPr>
            <a:lvl4pPr marL="784338" indent="0">
              <a:buNone/>
              <a:defRPr/>
            </a:lvl4pPr>
            <a:lvl5pPr marL="1008434" indent="0">
              <a:buNone/>
              <a:defRPr/>
            </a:lvl5pPr>
          </a:lstStyle>
          <a:p>
            <a:pPr lvl="0"/>
            <a:r>
              <a:rPr lang="en-US" dirty="0"/>
              <a:t>Lab description</a:t>
            </a:r>
          </a:p>
        </p:txBody>
      </p:sp>
      <p:sp>
        <p:nvSpPr>
          <p:cNvPr id="9" name="Freeform 88"/>
          <p:cNvSpPr>
            <a:spLocks noEditPoints="1"/>
          </p:cNvSpPr>
          <p:nvPr userDrawn="1"/>
        </p:nvSpPr>
        <p:spPr bwMode="auto">
          <a:xfrm>
            <a:off x="467833" y="288383"/>
            <a:ext cx="651308" cy="651308"/>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561890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hoto Til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593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2" name="Picture 1"/>
          <p:cNvPicPr>
            <a:picLocks noChangeAspect="1"/>
          </p:cNvPicPr>
          <p:nvPr userDrawn="1"/>
        </p:nvPicPr>
        <p:blipFill rotWithShape="1">
          <a:blip r:embed="rId6">
            <a:extLst>
              <a:ext uri="{28A0092B-C50C-407E-A947-70E740481C1C}">
                <a14:useLocalDpi xmlns:a14="http://schemas.microsoft.com/office/drawing/2010/main" val="0"/>
              </a:ext>
            </a:extLst>
          </a:blip>
          <a:srcRect r="4762" b="19386"/>
          <a:stretch/>
        </p:blipFill>
        <p:spPr>
          <a:xfrm>
            <a:off x="0" y="1"/>
            <a:ext cx="12192000" cy="6874524"/>
          </a:xfrm>
          <a:prstGeom prst="rect">
            <a:avLst/>
          </a:prstGeom>
        </p:spPr>
      </p:pic>
      <p:sp>
        <p:nvSpPr>
          <p:cNvPr id="11" name="Rectangle 10"/>
          <p:cNvSpPr/>
          <p:nvPr userDrawn="1"/>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12" name="TextBox 11"/>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66892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556063"/>
          </a:xfrm>
          <a:prstGeom prst="rect">
            <a:avLst/>
          </a:prstGeom>
        </p:spPr>
        <p:txBody>
          <a:bodyPr vert="horz" wrap="square" lIns="146304" tIns="91440" rIns="146304" bIns="91440" rtlCol="0" anchor="ctr">
            <a:noAutofit/>
          </a:bodyPr>
          <a:lstStyle/>
          <a:p>
            <a:r>
              <a:rPr lang="en-US" dirty="0"/>
              <a:t>Click to edit slide title</a:t>
            </a:r>
          </a:p>
        </p:txBody>
      </p:sp>
      <p:sp>
        <p:nvSpPr>
          <p:cNvPr id="4" name="Text Placeholder 3"/>
          <p:cNvSpPr>
            <a:spLocks noGrp="1"/>
          </p:cNvSpPr>
          <p:nvPr>
            <p:ph type="body" idx="1"/>
          </p:nvPr>
        </p:nvSpPr>
        <p:spPr>
          <a:xfrm>
            <a:off x="269241" y="1807534"/>
            <a:ext cx="11653521" cy="5050466"/>
          </a:xfrm>
          <a:prstGeom prst="rect">
            <a:avLst/>
          </a:prstGeom>
        </p:spPr>
        <p:txBody>
          <a:bodyPr vert="horz" wrap="square" lIns="182880" tIns="146304" rIns="182880" bIns="146304" rtlCol="0">
            <a:normAutofit/>
          </a:body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28291642"/>
      </p:ext>
    </p:extLst>
  </p:cSld>
  <p:clrMap bg1="lt1" tx1="dk1" bg2="lt2" tx2="dk2" accent1="accent1" accent2="accent2" accent3="accent3" accent4="accent4" accent5="accent5" accent6="accent6" hlink="hlink" folHlink="folHlink"/>
  <p:sldLayoutIdLst>
    <p:sldLayoutId id="2147483739" r:id="rId1"/>
    <p:sldLayoutId id="2147483888" r:id="rId2"/>
    <p:sldLayoutId id="2147483885" r:id="rId3"/>
    <p:sldLayoutId id="2147483889" r:id="rId4"/>
    <p:sldLayoutId id="2147483887" r:id="rId5"/>
    <p:sldLayoutId id="2147483886" r:id="rId6"/>
    <p:sldLayoutId id="2147483884" r:id="rId7"/>
    <p:sldLayoutId id="2147483883" r:id="rId8"/>
    <p:sldLayoutId id="2147483879" r:id="rId9"/>
    <p:sldLayoutId id="2147483880" r:id="rId10"/>
    <p:sldLayoutId id="2147483882" r:id="rId11"/>
    <p:sldLayoutId id="2147483881" r:id="rId12"/>
    <p:sldLayoutId id="2147483877" r:id="rId13"/>
    <p:sldLayoutId id="2147483781" r:id="rId14"/>
    <p:sldLayoutId id="2147483876" r:id="rId15"/>
    <p:sldLayoutId id="2147483890" r:id="rId16"/>
    <p:sldLayoutId id="2147483891"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n-lt"/>
          <a:ea typeface="+mn-ea"/>
          <a:cs typeface="Segoe UI"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Tx/>
        <a:buNone/>
        <a:tabLst/>
        <a:defRPr sz="40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image" Target="../media/image31.png"/></Relationships>
</file>

<file path=ppt/slides/_rels/slide1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 Id="rId9" Type="http://schemas.openxmlformats.org/officeDocument/2006/relationships/image" Target="../media/image39.png"/></Relationships>
</file>

<file path=ppt/slides/_rels/slide2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3.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2.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4.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3.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4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10.png"/></Relationships>
</file>

<file path=ppt/slides/_rels/slide50.xml.rels><?xml version="1.0" encoding="UTF-8" standalone="yes"?>
<Relationships xmlns="http://schemas.openxmlformats.org/package/2006/relationships"><Relationship Id="rId3" Type="http://schemas.openxmlformats.org/officeDocument/2006/relationships/diagramLayout" Target="../diagrams/layout5.xml"/><Relationship Id="rId7" Type="http://schemas.openxmlformats.org/officeDocument/2006/relationships/image" Target="../media/image56.png"/><Relationship Id="rId2" Type="http://schemas.openxmlformats.org/officeDocument/2006/relationships/diagramData" Target="../diagrams/data5.xml"/><Relationship Id="rId1" Type="http://schemas.openxmlformats.org/officeDocument/2006/relationships/slideLayout" Target="../slideLayouts/slideLayout3.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5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hyperlink" Target="https://app.powerbi.com/visuals" TargetMode="Externa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3" Type="http://schemas.openxmlformats.org/officeDocument/2006/relationships/diagramLayout" Target="../diagrams/layout6.xml"/><Relationship Id="rId7" Type="http://schemas.openxmlformats.org/officeDocument/2006/relationships/image" Target="../media/image59.png"/><Relationship Id="rId2" Type="http://schemas.openxmlformats.org/officeDocument/2006/relationships/diagramData" Target="../diagrams/data6.xml"/><Relationship Id="rId1" Type="http://schemas.openxmlformats.org/officeDocument/2006/relationships/slideLayout" Target="../slideLayouts/slideLayout3.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4.xml"/><Relationship Id="rId1" Type="http://schemas.openxmlformats.org/officeDocument/2006/relationships/slideLayout" Target="../slideLayouts/slideLayout3.xml"/><Relationship Id="rId4" Type="http://schemas.openxmlformats.org/officeDocument/2006/relationships/image" Target="../media/image67.png"/></Relationships>
</file>

<file path=ppt/slides/_rels/slide6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emf"/><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8" Type="http://schemas.openxmlformats.org/officeDocument/2006/relationships/image" Target="../media/image16.png"/><Relationship Id="rId3" Type="http://schemas.microsoft.com/office/2007/relationships/hdphoto" Target="../media/hdphoto1.wdp"/><Relationship Id="rId7" Type="http://schemas.openxmlformats.org/officeDocument/2006/relationships/image" Target="../media/image15.png"/><Relationship Id="rId2" Type="http://schemas.openxmlformats.org/officeDocument/2006/relationships/image" Target="../media/image20.png"/><Relationship Id="rId1" Type="http://schemas.openxmlformats.org/officeDocument/2006/relationships/slideLayout" Target="../slideLayouts/slideLayout3.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21.png"/><Relationship Id="rId9" Type="http://schemas.openxmlformats.org/officeDocument/2006/relationships/image" Target="../media/image17.png"/></Relationships>
</file>

<file path=ppt/slides/_rels/slide70.xml.rels><?xml version="1.0" encoding="UTF-8" standalone="yes"?>
<Relationships xmlns="http://schemas.openxmlformats.org/package/2006/relationships"><Relationship Id="rId2" Type="http://schemas.openxmlformats.org/officeDocument/2006/relationships/hyperlink" Target="http://dev.powerbi.com/apps" TargetMode="External"/><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3" Type="http://schemas.openxmlformats.org/officeDocument/2006/relationships/image" Target="../media/image22.png"/><Relationship Id="rId7" Type="http://schemas.openxmlformats.org/officeDocument/2006/relationships/image" Target="../media/image21.png"/><Relationship Id="rId12"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microsoft.com/office/2007/relationships/hdphoto" Target="../media/hdphoto1.wdp"/><Relationship Id="rId11" Type="http://schemas.openxmlformats.org/officeDocument/2006/relationships/image" Target="../media/image16.png"/><Relationship Id="rId5" Type="http://schemas.openxmlformats.org/officeDocument/2006/relationships/image" Target="../media/image20.png"/><Relationship Id="rId10" Type="http://schemas.openxmlformats.org/officeDocument/2006/relationships/image" Target="../media/image15.png"/><Relationship Id="rId4" Type="http://schemas.openxmlformats.org/officeDocument/2006/relationships/image" Target="../media/image23.png"/><Relationship Id="rId9" Type="http://schemas.openxmlformats.org/officeDocument/2006/relationships/image" Target="../media/image14.png"/><Relationship Id="rId14" Type="http://schemas.openxmlformats.org/officeDocument/2006/relationships/image" Target="../media/image19.pn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5.pn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Layout" Target="../slideLayouts/slideLayout3.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76.png"/><Relationship Id="rId9" Type="http://schemas.openxmlformats.org/officeDocument/2006/relationships/image" Target="../media/image81.png"/></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6.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7.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5.xml"/><Relationship Id="rId1" Type="http://schemas.openxmlformats.org/officeDocument/2006/relationships/slideLayout" Target="../slideLayouts/slideLayout17.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7.xml"/></Relationships>
</file>

<file path=ppt/slides/_rels/slide89.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0.xml.rels><?xml version="1.0" encoding="UTF-8" standalone="yes"?>
<Relationships xmlns="http://schemas.openxmlformats.org/package/2006/relationships"><Relationship Id="rId8" Type="http://schemas.openxmlformats.org/officeDocument/2006/relationships/hyperlink" Target="http://blogs.msdn.com/powerbidev" TargetMode="External"/><Relationship Id="rId3" Type="http://schemas.openxmlformats.org/officeDocument/2006/relationships/hyperlink" Target="http://visuals.powerbi.com/" TargetMode="External"/><Relationship Id="rId7" Type="http://schemas.openxmlformats.org/officeDocument/2006/relationships/hyperlink" Target="https://azure.microsoft.com/services/power-bi-embedded" TargetMode="External"/><Relationship Id="rId2" Type="http://schemas.openxmlformats.org/officeDocument/2006/relationships/hyperlink" Target="http://github.com/PowerBI" TargetMode="External"/><Relationship Id="rId1" Type="http://schemas.openxmlformats.org/officeDocument/2006/relationships/slideLayout" Target="../slideLayouts/slideLayout16.xml"/><Relationship Id="rId6" Type="http://schemas.openxmlformats.org/officeDocument/2006/relationships/hyperlink" Target="http://stackoverflow.com/questions/tagged/powerbi" TargetMode="External"/><Relationship Id="rId5" Type="http://schemas.openxmlformats.org/officeDocument/2006/relationships/hyperlink" Target="https://github.com/Microsoft-DXTW/Power-BI-Embedded-Explorer" TargetMode="External"/><Relationship Id="rId4" Type="http://schemas.openxmlformats.org/officeDocument/2006/relationships/hyperlink" Target="http://dev.powerbi.com/" TargetMode="Externa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F2C81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zh-TW" altLang="en-US" dirty="0"/>
              <a:t>透過 </a:t>
            </a:r>
            <a:r>
              <a:rPr lang="en-US" altLang="zh-TW" dirty="0"/>
              <a:t>Microsoft Power BI </a:t>
            </a:r>
            <a:r>
              <a:rPr lang="zh-TW" altLang="en-US" dirty="0"/>
              <a:t>將資料融入</a:t>
            </a:r>
            <a:r>
              <a:rPr lang="en-US" dirty="0"/>
              <a:t> </a:t>
            </a:r>
            <a:r>
              <a:rPr lang="zh-TW" altLang="en-US" b="1" dirty="0">
                <a:solidFill>
                  <a:schemeClr val="bg1"/>
                </a:solidFill>
              </a:rPr>
              <a:t>生活</a:t>
            </a:r>
            <a:r>
              <a:rPr lang="en-US" dirty="0"/>
              <a:t> </a:t>
            </a:r>
          </a:p>
        </p:txBody>
      </p:sp>
      <p:sp>
        <p:nvSpPr>
          <p:cNvPr id="9" name="Subtitle 8"/>
          <p:cNvSpPr>
            <a:spLocks noGrp="1"/>
          </p:cNvSpPr>
          <p:nvPr>
            <p:ph type="subTitle" idx="1"/>
          </p:nvPr>
        </p:nvSpPr>
        <p:spPr/>
        <p:txBody>
          <a:bodyPr>
            <a:normAutofit/>
          </a:bodyPr>
          <a:lstStyle/>
          <a:p>
            <a:endParaRPr lang="en-US" dirty="0"/>
          </a:p>
        </p:txBody>
      </p:sp>
    </p:spTree>
    <p:extLst>
      <p:ext uri="{BB962C8B-B14F-4D97-AF65-F5344CB8AC3E}">
        <p14:creationId xmlns:p14="http://schemas.microsoft.com/office/powerpoint/2010/main" val="2292053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a:t>開始使用 </a:t>
            </a:r>
            <a:r>
              <a:rPr lang="en-AU" dirty="0"/>
              <a:t>Power BI</a:t>
            </a:r>
            <a:endParaRPr lang="en-US" dirty="0"/>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a:xfrm>
            <a:off x="269875" y="1749425"/>
            <a:ext cx="7949215" cy="4926013"/>
          </a:xfrm>
        </p:spPr>
        <p:txBody>
          <a:bodyPr>
            <a:normAutofit/>
          </a:bodyPr>
          <a:lstStyle/>
          <a:p>
            <a:r>
              <a:rPr lang="zh-TW" altLang="en-US" dirty="0"/>
              <a:t>免費註冊、幾秒內就能開始使用</a:t>
            </a:r>
            <a:endParaRPr lang="en-US" dirty="0"/>
          </a:p>
          <a:p>
            <a:pPr lvl="1"/>
            <a:r>
              <a:rPr lang="en-US" dirty="0"/>
              <a:t>Power BI </a:t>
            </a:r>
            <a:r>
              <a:rPr lang="zh-TW" altLang="en-US" dirty="0"/>
              <a:t>僅支援公司、組織或學校的帳號</a:t>
            </a:r>
            <a:endParaRPr lang="en-US" dirty="0"/>
          </a:p>
        </p:txBody>
      </p:sp>
      <p:pic>
        <p:nvPicPr>
          <p:cNvPr id="5" name="Picture 4"/>
          <p:cNvPicPr>
            <a:picLocks noChangeAspect="1"/>
          </p:cNvPicPr>
          <p:nvPr/>
        </p:nvPicPr>
        <p:blipFill>
          <a:blip r:embed="rId3"/>
          <a:stretch>
            <a:fillRect/>
          </a:stretch>
        </p:blipFill>
        <p:spPr>
          <a:xfrm>
            <a:off x="8355723" y="1875291"/>
            <a:ext cx="3308643" cy="2114163"/>
          </a:xfrm>
          <a:prstGeom prst="rect">
            <a:avLst/>
          </a:prstGeom>
          <a:ln w="3175">
            <a:solidFill>
              <a:schemeClr val="tx1"/>
            </a:solidFill>
          </a:ln>
          <a:effectLst/>
        </p:spPr>
      </p:pic>
    </p:spTree>
    <p:extLst>
      <p:ext uri="{BB962C8B-B14F-4D97-AF65-F5344CB8AC3E}">
        <p14:creationId xmlns:p14="http://schemas.microsoft.com/office/powerpoint/2010/main" val="3348647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a:t>行動裝置應用程式</a:t>
            </a:r>
            <a:endParaRPr lang="en-US" dirty="0"/>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a:xfrm>
            <a:off x="269876" y="1749425"/>
            <a:ext cx="7686456" cy="4926013"/>
          </a:xfrm>
        </p:spPr>
        <p:txBody>
          <a:bodyPr>
            <a:normAutofit/>
          </a:bodyPr>
          <a:lstStyle/>
          <a:p>
            <a:r>
              <a:rPr lang="zh-TW" altLang="en-US" dirty="0"/>
              <a:t>在您的行動裝置上，使用原生的應用程式來存取儀表板，支援：</a:t>
            </a:r>
            <a:endParaRPr lang="en-US" dirty="0"/>
          </a:p>
          <a:p>
            <a:pPr lvl="1"/>
            <a:r>
              <a:rPr lang="en-US" dirty="0"/>
              <a:t>Windows</a:t>
            </a:r>
          </a:p>
          <a:p>
            <a:pPr lvl="1"/>
            <a:r>
              <a:rPr lang="en-US" dirty="0"/>
              <a:t>iOS (iPhone and iPad)</a:t>
            </a:r>
          </a:p>
          <a:p>
            <a:pPr lvl="1"/>
            <a:r>
              <a:rPr lang="en-US" dirty="0"/>
              <a:t>Android</a:t>
            </a:r>
          </a:p>
          <a:p>
            <a:r>
              <a:rPr lang="zh-TW" altLang="en-US" dirty="0"/>
              <a:t>行動應用程式的功能：</a:t>
            </a:r>
            <a:endParaRPr lang="en-US" dirty="0"/>
          </a:p>
          <a:p>
            <a:pPr lvl="1"/>
            <a:r>
              <a:rPr lang="zh-TW" altLang="en-US" dirty="0"/>
              <a:t>針對重要的視覺化圖表設定最愛</a:t>
            </a:r>
            <a:endParaRPr lang="en-US" dirty="0"/>
          </a:p>
          <a:p>
            <a:pPr lvl="1"/>
            <a:r>
              <a:rPr lang="zh-TW" altLang="en-US" dirty="0"/>
              <a:t>縮放檢視視覺化圖表</a:t>
            </a:r>
            <a:endParaRPr lang="en-US" dirty="0"/>
          </a:p>
          <a:p>
            <a:pPr lvl="1"/>
            <a:r>
              <a:rPr lang="zh-TW" altLang="en-US" dirty="0"/>
              <a:t>在圖表上標記並分享給其它人</a:t>
            </a:r>
            <a:endParaRPr lang="en-US" dirty="0"/>
          </a:p>
          <a:p>
            <a:pPr lvl="1"/>
            <a:r>
              <a:rPr lang="zh-TW" altLang="en-US" dirty="0"/>
              <a:t>針對關鍵的商業指標設定警示或通知</a:t>
            </a:r>
            <a:endParaRPr lang="en-US" dirty="0"/>
          </a:p>
        </p:txBody>
      </p:sp>
      <p:pic>
        <p:nvPicPr>
          <p:cNvPr id="5" name="Picture Placeholder 2"/>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8523889" y="1849244"/>
            <a:ext cx="3227665" cy="4726373"/>
          </a:xfrm>
          <a:prstGeom prst="rect">
            <a:avLst/>
          </a:prstGeom>
        </p:spPr>
      </p:pic>
    </p:spTree>
    <p:extLst>
      <p:ext uri="{BB962C8B-B14F-4D97-AF65-F5344CB8AC3E}">
        <p14:creationId xmlns:p14="http://schemas.microsoft.com/office/powerpoint/2010/main" val="1439245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AU" dirty="0"/>
              <a:t>02</a:t>
            </a:r>
            <a:br>
              <a:rPr lang="en-AU" dirty="0"/>
            </a:br>
            <a:r>
              <a:rPr lang="zh-TW" altLang="en-US" dirty="0"/>
              <a:t>認識並建立資料集</a:t>
            </a:r>
            <a:endParaRPr lang="en-US" dirty="0"/>
          </a:p>
        </p:txBody>
      </p:sp>
      <p:sp>
        <p:nvSpPr>
          <p:cNvPr id="3" name="Text Placeholder 2"/>
          <p:cNvSpPr>
            <a:spLocks noGrp="1"/>
          </p:cNvSpPr>
          <p:nvPr>
            <p:ph type="body" sz="quarter" idx="10"/>
          </p:nvPr>
        </p:nvSpPr>
        <p:spPr/>
        <p:txBody>
          <a:bodyPr>
            <a:normAutofit/>
          </a:bodyPr>
          <a:lstStyle/>
          <a:p>
            <a:r>
              <a:rPr lang="zh-TW" altLang="en-US" sz="2800" dirty="0"/>
              <a:t>內容套件</a:t>
            </a:r>
            <a:endParaRPr lang="en-US" altLang="zh-TW" sz="2800" dirty="0"/>
          </a:p>
          <a:p>
            <a:r>
              <a:rPr lang="zh-TW" altLang="en-US" sz="2800" dirty="0"/>
              <a:t>連接資料來源</a:t>
            </a:r>
            <a:endParaRPr lang="en-US" altLang="zh-TW" sz="2800" dirty="0"/>
          </a:p>
          <a:p>
            <a:r>
              <a:rPr lang="en-US" sz="2800" dirty="0" err="1"/>
              <a:t>DirectQuery</a:t>
            </a:r>
            <a:endParaRPr lang="en-AU" sz="2800" dirty="0"/>
          </a:p>
          <a:p>
            <a:endParaRPr lang="en-US" sz="2800" dirty="0"/>
          </a:p>
        </p:txBody>
      </p:sp>
    </p:spTree>
    <p:extLst>
      <p:ext uri="{BB962C8B-B14F-4D97-AF65-F5344CB8AC3E}">
        <p14:creationId xmlns:p14="http://schemas.microsoft.com/office/powerpoint/2010/main" val="2247858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zh-TW" altLang="en-US" dirty="0"/>
              <a:t>從</a:t>
            </a:r>
            <a:r>
              <a:rPr lang="en-AU" dirty="0"/>
              <a:t> Power BI </a:t>
            </a:r>
            <a:r>
              <a:rPr lang="zh-TW" altLang="en-US" dirty="0"/>
              <a:t>連接資料來源</a:t>
            </a:r>
            <a:endParaRPr lang="en-US" dirty="0"/>
          </a:p>
        </p:txBody>
      </p:sp>
      <p:sp>
        <p:nvSpPr>
          <p:cNvPr id="9" name="Content Placeholder 8"/>
          <p:cNvSpPr>
            <a:spLocks noGrp="1"/>
          </p:cNvSpPr>
          <p:nvPr>
            <p:ph sz="quarter" idx="10"/>
          </p:nvPr>
        </p:nvSpPr>
        <p:spPr/>
        <p:txBody>
          <a:bodyPr/>
          <a:lstStyle/>
          <a:p>
            <a:endParaRPr lang="en-US" dirty="0"/>
          </a:p>
        </p:txBody>
      </p:sp>
      <p:sp>
        <p:nvSpPr>
          <p:cNvPr id="6" name="Text Placeholder 5"/>
          <p:cNvSpPr>
            <a:spLocks noGrp="1"/>
          </p:cNvSpPr>
          <p:nvPr>
            <p:ph type="body" sz="quarter" idx="11"/>
          </p:nvPr>
        </p:nvSpPr>
        <p:spPr>
          <a:xfrm>
            <a:off x="269875" y="2676939"/>
            <a:ext cx="11776351" cy="4181061"/>
          </a:xfrm>
        </p:spPr>
        <p:txBody>
          <a:bodyPr>
            <a:normAutofit/>
          </a:bodyPr>
          <a:lstStyle/>
          <a:p>
            <a:r>
              <a:rPr lang="zh-TW" altLang="en-US" dirty="0"/>
              <a:t>從 </a:t>
            </a:r>
            <a:r>
              <a:rPr lang="en-AU" dirty="0"/>
              <a:t>Power BI </a:t>
            </a:r>
            <a:r>
              <a:rPr lang="zh-TW" altLang="en-US" dirty="0"/>
              <a:t>中連接資料很簡單，並且支援多種不同的格式</a:t>
            </a:r>
            <a:r>
              <a:rPr lang="en-US" dirty="0"/>
              <a:t>:</a:t>
            </a:r>
          </a:p>
          <a:p>
            <a:pPr lvl="1"/>
            <a:r>
              <a:rPr lang="zh-TW" altLang="en-US" dirty="0"/>
              <a:t>內容套件</a:t>
            </a:r>
            <a:r>
              <a:rPr lang="en-AU" dirty="0"/>
              <a:t>:</a:t>
            </a:r>
          </a:p>
          <a:p>
            <a:pPr lvl="2"/>
            <a:r>
              <a:rPr lang="zh-TW" altLang="en-US" dirty="0"/>
              <a:t>從我的組織</a:t>
            </a:r>
            <a:endParaRPr lang="en-AU" dirty="0"/>
          </a:p>
          <a:p>
            <a:pPr lvl="2"/>
            <a:r>
              <a:rPr lang="zh-TW" altLang="en-US" dirty="0"/>
              <a:t>網路服務</a:t>
            </a:r>
            <a:endParaRPr lang="en-AU" dirty="0"/>
          </a:p>
          <a:p>
            <a:pPr lvl="1"/>
            <a:r>
              <a:rPr lang="zh-TW" altLang="en-US" dirty="0"/>
              <a:t>檔案，包括</a:t>
            </a:r>
            <a:r>
              <a:rPr lang="en-AU" dirty="0"/>
              <a:t>:</a:t>
            </a:r>
          </a:p>
          <a:p>
            <a:pPr lvl="2"/>
            <a:r>
              <a:rPr lang="en-AU" dirty="0"/>
              <a:t>Power BI Desktop </a:t>
            </a:r>
            <a:r>
              <a:rPr lang="zh-TW" altLang="en-US" dirty="0"/>
              <a:t>檔案</a:t>
            </a:r>
            <a:endParaRPr lang="en-AU" dirty="0"/>
          </a:p>
          <a:p>
            <a:pPr lvl="2"/>
            <a:r>
              <a:rPr lang="en-AU" dirty="0"/>
              <a:t>Excel </a:t>
            </a:r>
            <a:r>
              <a:rPr lang="zh-TW" altLang="en-US" dirty="0"/>
              <a:t>工作簿</a:t>
            </a:r>
            <a:endParaRPr lang="en-AU" dirty="0"/>
          </a:p>
          <a:p>
            <a:pPr lvl="1"/>
            <a:r>
              <a:rPr lang="zh-TW" altLang="en-US" dirty="0"/>
              <a:t>資料庫及資料服務</a:t>
            </a:r>
            <a:r>
              <a:rPr lang="en-AU" dirty="0"/>
              <a:t> – </a:t>
            </a:r>
            <a:r>
              <a:rPr lang="zh-TW" altLang="en-US" dirty="0"/>
              <a:t>同時包含雲端平台及傳統機房</a:t>
            </a:r>
            <a:endParaRPr lang="en-AU" dirty="0"/>
          </a:p>
          <a:p>
            <a:endParaRPr lang="en-AU" dirty="0"/>
          </a:p>
        </p:txBody>
      </p:sp>
      <p:pic>
        <p:nvPicPr>
          <p:cNvPr id="10" name="Picture 9"/>
          <p:cNvPicPr>
            <a:picLocks noChangeAspect="1"/>
          </p:cNvPicPr>
          <p:nvPr/>
        </p:nvPicPr>
        <p:blipFill>
          <a:blip r:embed="rId3"/>
          <a:stretch>
            <a:fillRect/>
          </a:stretch>
        </p:blipFill>
        <p:spPr>
          <a:xfrm>
            <a:off x="473692" y="1969917"/>
            <a:ext cx="2777586" cy="707022"/>
          </a:xfrm>
          <a:prstGeom prst="rect">
            <a:avLst/>
          </a:prstGeom>
        </p:spPr>
      </p:pic>
    </p:spTree>
    <p:extLst>
      <p:ext uri="{BB962C8B-B14F-4D97-AF65-F5344CB8AC3E}">
        <p14:creationId xmlns:p14="http://schemas.microsoft.com/office/powerpoint/2010/main" val="1743349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a:t>從</a:t>
            </a:r>
            <a:r>
              <a:rPr lang="en-AU" altLang="zh-TW" dirty="0"/>
              <a:t> Power BI </a:t>
            </a:r>
            <a:r>
              <a:rPr lang="zh-TW" altLang="en-US" dirty="0"/>
              <a:t>連接資料來源</a:t>
            </a:r>
            <a:endParaRPr lang="en-US" dirty="0"/>
          </a:p>
        </p:txBody>
      </p:sp>
      <p:sp>
        <p:nvSpPr>
          <p:cNvPr id="3" name="Content Placeholder 2"/>
          <p:cNvSpPr>
            <a:spLocks noGrp="1"/>
          </p:cNvSpPr>
          <p:nvPr>
            <p:ph sz="quarter" idx="10"/>
          </p:nvPr>
        </p:nvSpPr>
        <p:spPr/>
        <p:txBody>
          <a:bodyPr/>
          <a:lstStyle/>
          <a:p>
            <a:r>
              <a:rPr lang="zh-TW" altLang="en-US" dirty="0"/>
              <a:t>格式</a:t>
            </a:r>
            <a:r>
              <a:rPr lang="en-AU" dirty="0"/>
              <a:t>: </a:t>
            </a:r>
            <a:r>
              <a:rPr lang="zh-TW" altLang="en-US" dirty="0"/>
              <a:t>內容套件</a:t>
            </a:r>
            <a:r>
              <a:rPr lang="en-AU" dirty="0"/>
              <a:t>: SaaS </a:t>
            </a:r>
            <a:r>
              <a:rPr lang="zh-TW" altLang="en-US" dirty="0"/>
              <a:t>應用程式</a:t>
            </a:r>
            <a:endParaRPr lang="en-US" dirty="0"/>
          </a:p>
        </p:txBody>
      </p:sp>
      <p:sp>
        <p:nvSpPr>
          <p:cNvPr id="4" name="Text Placeholder 3"/>
          <p:cNvSpPr>
            <a:spLocks noGrp="1"/>
          </p:cNvSpPr>
          <p:nvPr>
            <p:ph type="body" sz="quarter" idx="11"/>
          </p:nvPr>
        </p:nvSpPr>
        <p:spPr/>
        <p:txBody>
          <a:bodyPr>
            <a:normAutofit/>
          </a:bodyPr>
          <a:lstStyle/>
          <a:p>
            <a:r>
              <a:rPr lang="en-AU" dirty="0"/>
              <a:t>Power BI </a:t>
            </a:r>
            <a:r>
              <a:rPr lang="zh-TW" altLang="en-US" dirty="0"/>
              <a:t>能夠連接 </a:t>
            </a:r>
            <a:r>
              <a:rPr lang="en-AU" dirty="0"/>
              <a:t>SaaS </a:t>
            </a:r>
            <a:r>
              <a:rPr lang="zh-TW" altLang="en-US" dirty="0"/>
              <a:t>應用程式</a:t>
            </a:r>
            <a:endParaRPr lang="en-AU" dirty="0"/>
          </a:p>
          <a:p>
            <a:pPr lvl="1"/>
            <a:r>
              <a:rPr lang="zh-TW" altLang="en-US" dirty="0"/>
              <a:t>必須原本就擁有帳號</a:t>
            </a:r>
            <a:endParaRPr lang="en-AU" dirty="0"/>
          </a:p>
          <a:p>
            <a:pPr lvl="1"/>
            <a:r>
              <a:rPr lang="zh-TW" altLang="en-US" dirty="0"/>
              <a:t>每個內容套件提供預先建立好的儀表板及報表</a:t>
            </a:r>
            <a:endParaRPr lang="en-AU" dirty="0"/>
          </a:p>
          <a:p>
            <a:endParaRPr lang="en-AU" dirty="0"/>
          </a:p>
          <a:p>
            <a:endParaRPr lang="en-AU" dirty="0"/>
          </a:p>
          <a:p>
            <a:endParaRPr lang="en-AU" dirty="0"/>
          </a:p>
          <a:p>
            <a:endParaRPr lang="en-AU" sz="2400" dirty="0"/>
          </a:p>
          <a:p>
            <a:endParaRPr lang="en-AU" sz="2400" dirty="0"/>
          </a:p>
        </p:txBody>
      </p:sp>
      <p:pic>
        <p:nvPicPr>
          <p:cNvPr id="7" name="Picture 6"/>
          <p:cNvPicPr>
            <a:picLocks noChangeAspect="1"/>
          </p:cNvPicPr>
          <p:nvPr/>
        </p:nvPicPr>
        <p:blipFill>
          <a:blip r:embed="rId3"/>
          <a:stretch>
            <a:fillRect/>
          </a:stretch>
        </p:blipFill>
        <p:spPr>
          <a:xfrm>
            <a:off x="498451" y="3437575"/>
            <a:ext cx="10226602" cy="3174240"/>
          </a:xfrm>
          <a:prstGeom prst="rect">
            <a:avLst/>
          </a:prstGeom>
        </p:spPr>
      </p:pic>
      <p:sp>
        <p:nvSpPr>
          <p:cNvPr id="8" name="TextBox 7"/>
          <p:cNvSpPr txBox="1"/>
          <p:nvPr/>
        </p:nvSpPr>
        <p:spPr>
          <a:xfrm>
            <a:off x="7774299" y="5451461"/>
            <a:ext cx="2903974" cy="1406539"/>
          </a:xfrm>
          <a:prstGeom prst="rect">
            <a:avLst/>
          </a:prstGeom>
          <a:noFill/>
        </p:spPr>
        <p:txBody>
          <a:bodyPr wrap="square" lIns="182880" tIns="146304" rIns="182880" bIns="146304" rtlCol="0">
            <a:spAutoFit/>
          </a:bodyPr>
          <a:lstStyle/>
          <a:p>
            <a:pPr algn="r"/>
            <a:endParaRPr lang="en-AU" sz="2000" dirty="0"/>
          </a:p>
          <a:p>
            <a:pPr algn="r"/>
            <a:r>
              <a:rPr lang="en-AU" dirty="0"/>
              <a:t>* </a:t>
            </a:r>
            <a:r>
              <a:rPr lang="zh-TW" altLang="en-US" dirty="0"/>
              <a:t>至 </a:t>
            </a:r>
            <a:r>
              <a:rPr lang="en-US" altLang="zh-TW" dirty="0"/>
              <a:t>2016 </a:t>
            </a:r>
            <a:r>
              <a:rPr lang="zh-TW" altLang="en-US" dirty="0"/>
              <a:t>年 </a:t>
            </a:r>
            <a:r>
              <a:rPr lang="en-US" altLang="zh-TW" dirty="0"/>
              <a:t>3 </a:t>
            </a:r>
            <a:r>
              <a:rPr lang="zh-TW" altLang="en-US" dirty="0"/>
              <a:t>月為止</a:t>
            </a:r>
            <a:endParaRPr lang="en-AU" dirty="0"/>
          </a:p>
          <a:p>
            <a:pPr algn="r"/>
            <a:r>
              <a:rPr lang="zh-TW" altLang="en-US" dirty="0"/>
              <a:t>持續增加中</a:t>
            </a:r>
            <a:r>
              <a:rPr lang="en-AU" dirty="0"/>
              <a:t>!</a:t>
            </a:r>
            <a:endParaRPr lang="en-US" dirty="0"/>
          </a:p>
          <a:p>
            <a:pPr>
              <a:lnSpc>
                <a:spcPct val="90000"/>
              </a:lnSpc>
              <a:spcAft>
                <a:spcPts val="600"/>
              </a:spcAft>
            </a:pPr>
            <a:endParaRPr lang="en-AU"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852066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a:t>從</a:t>
            </a:r>
            <a:r>
              <a:rPr lang="en-AU" altLang="zh-TW" dirty="0"/>
              <a:t> Power BI </a:t>
            </a:r>
            <a:r>
              <a:rPr lang="zh-TW" altLang="en-US" dirty="0"/>
              <a:t>連接資料來源</a:t>
            </a:r>
            <a:endParaRPr lang="en-US" dirty="0"/>
          </a:p>
        </p:txBody>
      </p:sp>
      <p:sp>
        <p:nvSpPr>
          <p:cNvPr id="3" name="Content Placeholder 2"/>
          <p:cNvSpPr>
            <a:spLocks noGrp="1"/>
          </p:cNvSpPr>
          <p:nvPr>
            <p:ph sz="quarter" idx="10"/>
          </p:nvPr>
        </p:nvSpPr>
        <p:spPr/>
        <p:txBody>
          <a:bodyPr/>
          <a:lstStyle/>
          <a:p>
            <a:r>
              <a:rPr lang="zh-TW" altLang="en-US" dirty="0"/>
              <a:t>格式</a:t>
            </a:r>
            <a:r>
              <a:rPr lang="en-AU" dirty="0"/>
              <a:t>: </a:t>
            </a:r>
            <a:r>
              <a:rPr lang="zh-TW" altLang="en-US" dirty="0"/>
              <a:t>檔案</a:t>
            </a:r>
            <a:endParaRPr lang="en-US" dirty="0"/>
          </a:p>
        </p:txBody>
      </p:sp>
      <p:sp>
        <p:nvSpPr>
          <p:cNvPr id="4" name="Text Placeholder 3"/>
          <p:cNvSpPr>
            <a:spLocks noGrp="1"/>
          </p:cNvSpPr>
          <p:nvPr>
            <p:ph type="body" sz="quarter" idx="11"/>
          </p:nvPr>
        </p:nvSpPr>
        <p:spPr>
          <a:xfrm>
            <a:off x="2108491" y="1749425"/>
            <a:ext cx="9816809" cy="5108575"/>
          </a:xfrm>
        </p:spPr>
        <p:txBody>
          <a:bodyPr>
            <a:normAutofit/>
          </a:bodyPr>
          <a:lstStyle/>
          <a:p>
            <a:r>
              <a:rPr lang="zh-TW" altLang="en-US" dirty="0"/>
              <a:t>透過上傳、或是連接至商務用</a:t>
            </a:r>
            <a:r>
              <a:rPr lang="en-AU" dirty="0"/>
              <a:t> OneDrive </a:t>
            </a:r>
            <a:r>
              <a:rPr lang="zh-TW" altLang="en-US" dirty="0"/>
              <a:t>或個人用 </a:t>
            </a:r>
            <a:r>
              <a:rPr lang="en-AU" dirty="0"/>
              <a:t>OneDrive </a:t>
            </a:r>
            <a:r>
              <a:rPr lang="zh-TW" altLang="en-US" dirty="0"/>
              <a:t>來存取檔案資料</a:t>
            </a:r>
            <a:endParaRPr lang="en-AU" dirty="0"/>
          </a:p>
          <a:p>
            <a:pPr lvl="1"/>
            <a:r>
              <a:rPr lang="zh-TW" altLang="en-US" dirty="0"/>
              <a:t>在 </a:t>
            </a:r>
            <a:r>
              <a:rPr lang="en-US" altLang="zh-TW" dirty="0"/>
              <a:t>OneDrive </a:t>
            </a:r>
            <a:r>
              <a:rPr lang="zh-TW" altLang="en-US" dirty="0"/>
              <a:t>上檔案內容若有更新，儀表板及報表上的資料也會自動更新</a:t>
            </a:r>
            <a:endParaRPr lang="en-AU" dirty="0"/>
          </a:p>
          <a:p>
            <a:r>
              <a:rPr lang="zh-TW" altLang="en-US" dirty="0"/>
              <a:t>支援的檔案類型</a:t>
            </a:r>
            <a:r>
              <a:rPr lang="en-AU" dirty="0"/>
              <a:t>:</a:t>
            </a:r>
          </a:p>
          <a:p>
            <a:pPr lvl="1"/>
            <a:r>
              <a:rPr lang="en-AU" dirty="0"/>
              <a:t>Power BI Desktop </a:t>
            </a:r>
            <a:r>
              <a:rPr lang="zh-TW" altLang="en-US" dirty="0"/>
              <a:t>檔案</a:t>
            </a:r>
            <a:endParaRPr lang="en-AU" dirty="0"/>
          </a:p>
          <a:p>
            <a:pPr lvl="1"/>
            <a:r>
              <a:rPr lang="en-AU" dirty="0"/>
              <a:t>Excel </a:t>
            </a:r>
            <a:r>
              <a:rPr lang="zh-TW" altLang="en-US" dirty="0"/>
              <a:t>工作簿</a:t>
            </a:r>
            <a:endParaRPr lang="en-AU" dirty="0"/>
          </a:p>
          <a:p>
            <a:pPr lvl="1"/>
            <a:r>
              <a:rPr lang="en-AU" dirty="0"/>
              <a:t>CSV </a:t>
            </a:r>
            <a:r>
              <a:rPr lang="zh-TW" altLang="en-US" dirty="0"/>
              <a:t>檔案</a:t>
            </a:r>
            <a:endParaRPr lang="en-AU" dirty="0"/>
          </a:p>
          <a:p>
            <a:r>
              <a:rPr lang="zh-TW" altLang="en-US" dirty="0"/>
              <a:t>檔案大小上限</a:t>
            </a:r>
            <a:r>
              <a:rPr lang="en-AU" dirty="0"/>
              <a:t>: 250MB</a:t>
            </a:r>
            <a:endParaRPr lang="en-US" dirty="0"/>
          </a:p>
        </p:txBody>
      </p:sp>
      <p:pic>
        <p:nvPicPr>
          <p:cNvPr id="5" name="Picture 4"/>
          <p:cNvPicPr>
            <a:picLocks noChangeAspect="1"/>
          </p:cNvPicPr>
          <p:nvPr/>
        </p:nvPicPr>
        <p:blipFill>
          <a:blip r:embed="rId2"/>
          <a:stretch>
            <a:fillRect/>
          </a:stretch>
        </p:blipFill>
        <p:spPr>
          <a:xfrm>
            <a:off x="462428" y="1974711"/>
            <a:ext cx="1481457" cy="1755800"/>
          </a:xfrm>
          <a:prstGeom prst="rect">
            <a:avLst/>
          </a:prstGeom>
        </p:spPr>
      </p:pic>
    </p:spTree>
    <p:extLst>
      <p:ext uri="{BB962C8B-B14F-4D97-AF65-F5344CB8AC3E}">
        <p14:creationId xmlns:p14="http://schemas.microsoft.com/office/powerpoint/2010/main" val="257805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a:t>從</a:t>
            </a:r>
            <a:r>
              <a:rPr lang="en-AU" altLang="zh-TW" dirty="0"/>
              <a:t> Power BI </a:t>
            </a:r>
            <a:r>
              <a:rPr lang="zh-TW" altLang="en-US" dirty="0"/>
              <a:t>連接資料來源</a:t>
            </a:r>
            <a:endParaRPr lang="en-US" dirty="0"/>
          </a:p>
        </p:txBody>
      </p:sp>
      <p:sp>
        <p:nvSpPr>
          <p:cNvPr id="3" name="Content Placeholder 2"/>
          <p:cNvSpPr>
            <a:spLocks noGrp="1"/>
          </p:cNvSpPr>
          <p:nvPr>
            <p:ph sz="quarter" idx="10"/>
          </p:nvPr>
        </p:nvSpPr>
        <p:spPr/>
        <p:txBody>
          <a:bodyPr/>
          <a:lstStyle/>
          <a:p>
            <a:r>
              <a:rPr lang="zh-TW" altLang="en-US" dirty="0"/>
              <a:t>格式</a:t>
            </a:r>
            <a:r>
              <a:rPr lang="en-AU" dirty="0"/>
              <a:t>: </a:t>
            </a:r>
            <a:r>
              <a:rPr lang="zh-TW" altLang="en-US" dirty="0"/>
              <a:t>檔案</a:t>
            </a:r>
            <a:r>
              <a:rPr lang="en-AU" dirty="0"/>
              <a:t>: Excel 2016</a:t>
            </a:r>
            <a:endParaRPr lang="en-US" dirty="0"/>
          </a:p>
        </p:txBody>
      </p:sp>
      <p:sp>
        <p:nvSpPr>
          <p:cNvPr id="4" name="Text Placeholder 3"/>
          <p:cNvSpPr>
            <a:spLocks noGrp="1"/>
          </p:cNvSpPr>
          <p:nvPr>
            <p:ph type="body" sz="quarter" idx="11"/>
          </p:nvPr>
        </p:nvSpPr>
        <p:spPr>
          <a:xfrm>
            <a:off x="269876" y="1749425"/>
            <a:ext cx="5588314" cy="5108575"/>
          </a:xfrm>
        </p:spPr>
        <p:txBody>
          <a:bodyPr/>
          <a:lstStyle/>
          <a:p>
            <a:r>
              <a:rPr lang="en-AU" dirty="0"/>
              <a:t>Excel 2016 </a:t>
            </a:r>
            <a:r>
              <a:rPr lang="zh-TW" altLang="en-US" dirty="0"/>
              <a:t>可以直接發佈至</a:t>
            </a:r>
            <a:r>
              <a:rPr lang="en-AU" dirty="0"/>
              <a:t> Power BI </a:t>
            </a:r>
            <a:r>
              <a:rPr lang="zh-TW" altLang="en-US" dirty="0"/>
              <a:t>服務</a:t>
            </a:r>
            <a:endParaRPr lang="en-AU" dirty="0"/>
          </a:p>
          <a:p>
            <a:pPr lvl="1"/>
            <a:r>
              <a:rPr lang="zh-TW" altLang="en-US" dirty="0"/>
              <a:t>發佈必須透過商務用</a:t>
            </a:r>
            <a:r>
              <a:rPr lang="en-AU" dirty="0"/>
              <a:t> OneDrive</a:t>
            </a:r>
          </a:p>
          <a:p>
            <a:pPr lvl="1"/>
            <a:r>
              <a:rPr lang="zh-TW" altLang="en-US" dirty="0"/>
              <a:t>從</a:t>
            </a:r>
            <a:r>
              <a:rPr lang="en-AU" dirty="0"/>
              <a:t> Excel 2016 </a:t>
            </a:r>
            <a:r>
              <a:rPr lang="zh-TW" altLang="en-US" dirty="0"/>
              <a:t>更新資料內容也會反映在</a:t>
            </a:r>
            <a:r>
              <a:rPr lang="en-AU" dirty="0"/>
              <a:t> Power BI </a:t>
            </a:r>
            <a:r>
              <a:rPr lang="zh-TW" altLang="en-US" dirty="0"/>
              <a:t>資料集中</a:t>
            </a:r>
            <a:endParaRPr lang="en-AU" dirty="0"/>
          </a:p>
        </p:txBody>
      </p:sp>
      <p:pic>
        <p:nvPicPr>
          <p:cNvPr id="10" name="Picture 9"/>
          <p:cNvPicPr>
            <a:picLocks noChangeAspect="1"/>
          </p:cNvPicPr>
          <p:nvPr/>
        </p:nvPicPr>
        <p:blipFill>
          <a:blip r:embed="rId2"/>
          <a:stretch>
            <a:fillRect/>
          </a:stretch>
        </p:blipFill>
        <p:spPr>
          <a:xfrm>
            <a:off x="5858190" y="1930295"/>
            <a:ext cx="5742857" cy="3266667"/>
          </a:xfrm>
          <a:prstGeom prst="rect">
            <a:avLst/>
          </a:prstGeom>
        </p:spPr>
      </p:pic>
    </p:spTree>
    <p:extLst>
      <p:ext uri="{BB962C8B-B14F-4D97-AF65-F5344CB8AC3E}">
        <p14:creationId xmlns:p14="http://schemas.microsoft.com/office/powerpoint/2010/main" val="39088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a:t>從</a:t>
            </a:r>
            <a:r>
              <a:rPr lang="en-AU" altLang="zh-TW" dirty="0"/>
              <a:t> Power BI </a:t>
            </a:r>
            <a:r>
              <a:rPr lang="zh-TW" altLang="en-US" dirty="0"/>
              <a:t>連接資料來源</a:t>
            </a:r>
            <a:endParaRPr lang="en-US" dirty="0"/>
          </a:p>
        </p:txBody>
      </p:sp>
      <p:sp>
        <p:nvSpPr>
          <p:cNvPr id="3" name="Content Placeholder 2"/>
          <p:cNvSpPr>
            <a:spLocks noGrp="1"/>
          </p:cNvSpPr>
          <p:nvPr>
            <p:ph sz="quarter" idx="10"/>
          </p:nvPr>
        </p:nvSpPr>
        <p:spPr/>
        <p:txBody>
          <a:bodyPr/>
          <a:lstStyle/>
          <a:p>
            <a:r>
              <a:rPr lang="zh-TW" altLang="en-US" dirty="0"/>
              <a:t>格式</a:t>
            </a:r>
            <a:r>
              <a:rPr lang="en-AU" dirty="0"/>
              <a:t>: </a:t>
            </a:r>
            <a:r>
              <a:rPr lang="zh-TW" altLang="en-US" dirty="0"/>
              <a:t>檔案</a:t>
            </a:r>
            <a:r>
              <a:rPr lang="en-AU" dirty="0"/>
              <a:t>: Power BI </a:t>
            </a:r>
            <a:r>
              <a:rPr lang="zh-TW" altLang="en-US" dirty="0"/>
              <a:t>名稱轉換</a:t>
            </a:r>
            <a:endParaRPr lang="en-US" dirty="0"/>
          </a:p>
        </p:txBody>
      </p:sp>
      <p:sp>
        <p:nvSpPr>
          <p:cNvPr id="4" name="Text Placeholder 3"/>
          <p:cNvSpPr>
            <a:spLocks noGrp="1"/>
          </p:cNvSpPr>
          <p:nvPr>
            <p:ph type="body" sz="quarter" idx="11"/>
          </p:nvPr>
        </p:nvSpPr>
        <p:spPr/>
        <p:txBody>
          <a:bodyPr>
            <a:normAutofit/>
          </a:bodyPr>
          <a:lstStyle/>
          <a:p>
            <a:r>
              <a:rPr lang="en-AU" dirty="0"/>
              <a:t>Power BI Desktop </a:t>
            </a:r>
            <a:r>
              <a:rPr lang="zh-TW" altLang="en-US" dirty="0"/>
              <a:t>檔案</a:t>
            </a:r>
            <a:r>
              <a:rPr lang="en-AU" dirty="0"/>
              <a:t>:</a:t>
            </a:r>
          </a:p>
          <a:p>
            <a:pPr lvl="1"/>
            <a:r>
              <a:rPr lang="zh-TW" altLang="en-US" dirty="0"/>
              <a:t>檔案</a:t>
            </a:r>
            <a:r>
              <a:rPr lang="en-AU" dirty="0"/>
              <a:t> </a:t>
            </a:r>
            <a:r>
              <a:rPr lang="en-AU" dirty="0">
                <a:latin typeface="Courier New" panose="02070309020205020404" pitchFamily="49" charset="0"/>
                <a:cs typeface="Courier New" panose="02070309020205020404" pitchFamily="49" charset="0"/>
              </a:rPr>
              <a:t>►</a:t>
            </a:r>
            <a:r>
              <a:rPr lang="en-AU" dirty="0"/>
              <a:t> Power BI </a:t>
            </a:r>
            <a:r>
              <a:rPr lang="zh-TW" altLang="en-US" dirty="0"/>
              <a:t>資料集</a:t>
            </a:r>
            <a:endParaRPr lang="en-AU" dirty="0"/>
          </a:p>
          <a:p>
            <a:pPr lvl="1"/>
            <a:r>
              <a:rPr lang="zh-TW" altLang="en-US" dirty="0"/>
              <a:t>報表</a:t>
            </a:r>
            <a:r>
              <a:rPr lang="en-AU" dirty="0"/>
              <a:t> </a:t>
            </a:r>
            <a:r>
              <a:rPr lang="en-AU" dirty="0">
                <a:latin typeface="Courier New" panose="02070309020205020404" pitchFamily="49" charset="0"/>
                <a:cs typeface="Courier New" panose="02070309020205020404" pitchFamily="49" charset="0"/>
              </a:rPr>
              <a:t>►</a:t>
            </a:r>
            <a:r>
              <a:rPr lang="en-AU" dirty="0"/>
              <a:t> Power BI </a:t>
            </a:r>
            <a:r>
              <a:rPr lang="zh-TW" altLang="en-US" dirty="0"/>
              <a:t>報表</a:t>
            </a:r>
            <a:endParaRPr lang="en-AU" dirty="0"/>
          </a:p>
          <a:p>
            <a:pPr lvl="1"/>
            <a:r>
              <a:rPr lang="en-AU" dirty="0"/>
              <a:t>An empty dashboard is automatically created, with a token tile to connect to the dataset (i.e. Q&amp;A ready)</a:t>
            </a:r>
          </a:p>
          <a:p>
            <a:r>
              <a:rPr lang="en-AU" dirty="0"/>
              <a:t>Excel </a:t>
            </a:r>
            <a:r>
              <a:rPr lang="zh-TW" altLang="en-US" dirty="0"/>
              <a:t>工作簿</a:t>
            </a:r>
            <a:r>
              <a:rPr lang="en-AU" dirty="0"/>
              <a:t>:</a:t>
            </a:r>
          </a:p>
          <a:p>
            <a:pPr lvl="1"/>
            <a:r>
              <a:rPr lang="en-US" dirty="0"/>
              <a:t>Data model content takes precedence over worksheet content</a:t>
            </a:r>
            <a:endParaRPr lang="en-AU" dirty="0"/>
          </a:p>
          <a:p>
            <a:pPr lvl="1"/>
            <a:r>
              <a:rPr lang="en-AU" dirty="0"/>
              <a:t>Workbook data model </a:t>
            </a:r>
            <a:r>
              <a:rPr lang="en-AU" dirty="0">
                <a:latin typeface="Courier New" panose="02070309020205020404" pitchFamily="49" charset="0"/>
                <a:cs typeface="Courier New" panose="02070309020205020404" pitchFamily="49" charset="0"/>
              </a:rPr>
              <a:t>►</a:t>
            </a:r>
            <a:r>
              <a:rPr lang="en-AU" dirty="0"/>
              <a:t> Power BI dataset</a:t>
            </a:r>
          </a:p>
          <a:p>
            <a:pPr lvl="1"/>
            <a:r>
              <a:rPr lang="en-AU" dirty="0"/>
              <a:t>Power View sheets </a:t>
            </a:r>
            <a:r>
              <a:rPr lang="en-AU" dirty="0">
                <a:latin typeface="Courier New" panose="02070309020205020404" pitchFamily="49" charset="0"/>
                <a:cs typeface="Courier New" panose="02070309020205020404" pitchFamily="49" charset="0"/>
              </a:rPr>
              <a:t>►</a:t>
            </a:r>
            <a:r>
              <a:rPr lang="en-AU" dirty="0"/>
              <a:t> Pages of a Power BI report</a:t>
            </a:r>
          </a:p>
          <a:p>
            <a:pPr lvl="1"/>
            <a:r>
              <a:rPr lang="en-AU" dirty="0"/>
              <a:t>PivotTables, PivotCharts and custom fields are not recognized</a:t>
            </a:r>
          </a:p>
        </p:txBody>
      </p:sp>
    </p:spTree>
    <p:extLst>
      <p:ext uri="{BB962C8B-B14F-4D97-AF65-F5344CB8AC3E}">
        <p14:creationId xmlns:p14="http://schemas.microsoft.com/office/powerpoint/2010/main" val="3898446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a:t>從</a:t>
            </a:r>
            <a:r>
              <a:rPr lang="en-AU" altLang="zh-TW" dirty="0"/>
              <a:t> Power BI </a:t>
            </a:r>
            <a:r>
              <a:rPr lang="zh-TW" altLang="en-US" dirty="0"/>
              <a:t>連接資料來源</a:t>
            </a:r>
            <a:endParaRPr lang="en-US" dirty="0"/>
          </a:p>
        </p:txBody>
      </p:sp>
      <p:sp>
        <p:nvSpPr>
          <p:cNvPr id="3" name="Content Placeholder 2"/>
          <p:cNvSpPr>
            <a:spLocks noGrp="1"/>
          </p:cNvSpPr>
          <p:nvPr>
            <p:ph sz="quarter" idx="10"/>
          </p:nvPr>
        </p:nvSpPr>
        <p:spPr/>
        <p:txBody>
          <a:bodyPr/>
          <a:lstStyle/>
          <a:p>
            <a:r>
              <a:rPr lang="zh-TW" altLang="en-US" dirty="0"/>
              <a:t>格式</a:t>
            </a:r>
            <a:r>
              <a:rPr lang="en-AU" dirty="0"/>
              <a:t>: </a:t>
            </a:r>
            <a:r>
              <a:rPr lang="zh-TW" altLang="en-US" dirty="0"/>
              <a:t>資料庫及資料服務</a:t>
            </a:r>
            <a:endParaRPr lang="en-US" dirty="0"/>
          </a:p>
        </p:txBody>
      </p:sp>
      <p:sp>
        <p:nvSpPr>
          <p:cNvPr id="4" name="Text Placeholder 3"/>
          <p:cNvSpPr>
            <a:spLocks noGrp="1"/>
          </p:cNvSpPr>
          <p:nvPr>
            <p:ph type="body" sz="quarter" idx="11"/>
          </p:nvPr>
        </p:nvSpPr>
        <p:spPr>
          <a:xfrm>
            <a:off x="2108491" y="1749425"/>
            <a:ext cx="9816589" cy="5108575"/>
          </a:xfrm>
        </p:spPr>
        <p:txBody>
          <a:bodyPr>
            <a:normAutofit/>
          </a:bodyPr>
          <a:lstStyle/>
          <a:p>
            <a:r>
              <a:rPr lang="zh-TW" altLang="en-US" dirty="0"/>
              <a:t>透過 </a:t>
            </a:r>
            <a:r>
              <a:rPr lang="en-US" altLang="zh-TW" b="1" dirty="0"/>
              <a:t>direct connect</a:t>
            </a:r>
            <a:r>
              <a:rPr lang="en-US" altLang="zh-TW" dirty="0"/>
              <a:t> </a:t>
            </a:r>
            <a:r>
              <a:rPr lang="zh-TW" altLang="en-US" dirty="0"/>
              <a:t>功能連接，特定</a:t>
            </a:r>
            <a:r>
              <a:rPr lang="en-AU" dirty="0"/>
              <a:t> Azure </a:t>
            </a:r>
            <a:r>
              <a:rPr lang="zh-TW" altLang="en-US" dirty="0"/>
              <a:t>服務</a:t>
            </a:r>
            <a:endParaRPr lang="en-AU" b="1" dirty="0"/>
          </a:p>
          <a:p>
            <a:pPr lvl="1"/>
            <a:r>
              <a:rPr lang="zh-TW" altLang="en-US" dirty="0"/>
              <a:t>回到 </a:t>
            </a:r>
            <a:r>
              <a:rPr lang="en-US" altLang="zh-TW" dirty="0"/>
              <a:t>Azure </a:t>
            </a:r>
            <a:r>
              <a:rPr lang="zh-TW" altLang="en-US" dirty="0"/>
              <a:t>上進行查詢並回傳資料</a:t>
            </a:r>
            <a:r>
              <a:rPr lang="en-AU" dirty="0"/>
              <a:t> (</a:t>
            </a:r>
            <a:r>
              <a:rPr lang="zh-TW" altLang="en-US" dirty="0"/>
              <a:t>儀表板上的磚每</a:t>
            </a:r>
            <a:r>
              <a:rPr lang="en-AU" dirty="0"/>
              <a:t> 15 </a:t>
            </a:r>
            <a:r>
              <a:rPr lang="zh-TW" altLang="en-US" dirty="0"/>
              <a:t>分鐘更新</a:t>
            </a:r>
            <a:r>
              <a:rPr lang="en-AU" dirty="0"/>
              <a:t>)</a:t>
            </a:r>
          </a:p>
          <a:p>
            <a:pPr lvl="1"/>
            <a:r>
              <a:rPr lang="en-AU" dirty="0"/>
              <a:t>These experiences are intended for users who are familiar with the databases and entities they connect to</a:t>
            </a:r>
          </a:p>
          <a:p>
            <a:pPr lvl="1"/>
            <a:r>
              <a:rPr lang="zh-TW" altLang="en-US" dirty="0"/>
              <a:t>必須要用</a:t>
            </a:r>
            <a:r>
              <a:rPr lang="en-AU" dirty="0"/>
              <a:t> </a:t>
            </a:r>
            <a:r>
              <a:rPr lang="en-AU" b="1" dirty="0"/>
              <a:t>Power BI Pro </a:t>
            </a:r>
            <a:r>
              <a:rPr lang="zh-TW" altLang="en-US" dirty="0"/>
              <a:t>授權才能使用</a:t>
            </a:r>
            <a:endParaRPr lang="en-AU" dirty="0"/>
          </a:p>
          <a:p>
            <a:pPr lvl="1"/>
            <a:endParaRPr lang="en-US" dirty="0"/>
          </a:p>
        </p:txBody>
      </p:sp>
      <p:pic>
        <p:nvPicPr>
          <p:cNvPr id="7" name="Picture 6"/>
          <p:cNvPicPr>
            <a:picLocks noChangeAspect="1"/>
          </p:cNvPicPr>
          <p:nvPr/>
        </p:nvPicPr>
        <p:blipFill>
          <a:blip r:embed="rId3"/>
          <a:stretch>
            <a:fillRect/>
          </a:stretch>
        </p:blipFill>
        <p:spPr>
          <a:xfrm>
            <a:off x="464400" y="1976401"/>
            <a:ext cx="1488315" cy="1762659"/>
          </a:xfrm>
          <a:prstGeom prst="rect">
            <a:avLst/>
          </a:prstGeom>
        </p:spPr>
      </p:pic>
      <p:pic>
        <p:nvPicPr>
          <p:cNvPr id="60418" name="Picture 2" descr="C:\Users\Peter\AppData\Local\Temp\SNAGHTML1d13f4a6.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74705" y="5042441"/>
            <a:ext cx="4513410" cy="15173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739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a:t>從</a:t>
            </a:r>
            <a:r>
              <a:rPr lang="en-AU" altLang="zh-TW" dirty="0"/>
              <a:t> Power BI </a:t>
            </a:r>
            <a:r>
              <a:rPr lang="zh-TW" altLang="en-US" dirty="0"/>
              <a:t>連接資料來源</a:t>
            </a:r>
            <a:endParaRPr lang="en-US" dirty="0"/>
          </a:p>
        </p:txBody>
      </p:sp>
      <p:sp>
        <p:nvSpPr>
          <p:cNvPr id="3" name="Content Placeholder 2"/>
          <p:cNvSpPr>
            <a:spLocks noGrp="1"/>
          </p:cNvSpPr>
          <p:nvPr>
            <p:ph sz="quarter" idx="10"/>
          </p:nvPr>
        </p:nvSpPr>
        <p:spPr/>
        <p:txBody>
          <a:bodyPr/>
          <a:lstStyle/>
          <a:p>
            <a:r>
              <a:rPr lang="en-AU" dirty="0"/>
              <a:t>Formats: Database and data services: SQL Server Analysis Services</a:t>
            </a:r>
            <a:endParaRPr lang="en-US" dirty="0"/>
          </a:p>
        </p:txBody>
      </p:sp>
      <p:sp>
        <p:nvSpPr>
          <p:cNvPr id="4" name="Text Placeholder 3"/>
          <p:cNvSpPr>
            <a:spLocks noGrp="1"/>
          </p:cNvSpPr>
          <p:nvPr>
            <p:ph type="body" sz="quarter" idx="11"/>
          </p:nvPr>
        </p:nvSpPr>
        <p:spPr>
          <a:xfrm>
            <a:off x="2358887" y="1749425"/>
            <a:ext cx="9566413" cy="5108575"/>
          </a:xfrm>
        </p:spPr>
        <p:txBody>
          <a:bodyPr>
            <a:normAutofit/>
          </a:bodyPr>
          <a:lstStyle/>
          <a:p>
            <a:r>
              <a:rPr lang="en-AU" dirty="0"/>
              <a:t>Live connections to on-premises data can be made to SQL Server Analysis Services</a:t>
            </a:r>
          </a:p>
          <a:p>
            <a:pPr lvl="1"/>
            <a:r>
              <a:rPr lang="en-AU" dirty="0"/>
              <a:t>Supported for SQL Server 2012 and later</a:t>
            </a:r>
          </a:p>
          <a:p>
            <a:pPr lvl="1"/>
            <a:r>
              <a:rPr lang="en-AU" dirty="0"/>
              <a:t>The user’s identity is passed through, and so read access is required, and role permissions (row filters) will be enforced</a:t>
            </a:r>
          </a:p>
          <a:p>
            <a:pPr lvl="1"/>
            <a:r>
              <a:rPr lang="en-AU" dirty="0"/>
              <a:t>Q&amp;A natural language querying is not supported</a:t>
            </a:r>
          </a:p>
          <a:p>
            <a:pPr lvl="1"/>
            <a:r>
              <a:rPr lang="en-AU" dirty="0"/>
              <a:t>Only available with the </a:t>
            </a:r>
            <a:r>
              <a:rPr lang="en-AU" b="1" dirty="0"/>
              <a:t>Power BI Pro </a:t>
            </a:r>
            <a:r>
              <a:rPr lang="en-AU" dirty="0"/>
              <a:t>license</a:t>
            </a:r>
          </a:p>
        </p:txBody>
      </p:sp>
      <p:pic>
        <p:nvPicPr>
          <p:cNvPr id="5" name="Picture 4"/>
          <p:cNvPicPr>
            <a:picLocks noChangeAspect="1"/>
          </p:cNvPicPr>
          <p:nvPr/>
        </p:nvPicPr>
        <p:blipFill>
          <a:blip r:embed="rId2"/>
          <a:stretch>
            <a:fillRect/>
          </a:stretch>
        </p:blipFill>
        <p:spPr>
          <a:xfrm>
            <a:off x="464400" y="1976400"/>
            <a:ext cx="1775614" cy="1767993"/>
          </a:xfrm>
          <a:prstGeom prst="rect">
            <a:avLst/>
          </a:prstGeom>
        </p:spPr>
      </p:pic>
      <p:sp>
        <p:nvSpPr>
          <p:cNvPr id="6" name="TextBox 5"/>
          <p:cNvSpPr txBox="1"/>
          <p:nvPr/>
        </p:nvSpPr>
        <p:spPr>
          <a:xfrm>
            <a:off x="2563139" y="5184601"/>
            <a:ext cx="6038250" cy="794064"/>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You can now work with live data from Analysis Services with the Power BI Gateway—Enterprise.</a:t>
            </a:r>
            <a:endParaRPr lang="en-US"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977439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AU" dirty="0"/>
              <a:t>01</a:t>
            </a:r>
            <a:br>
              <a:rPr lang="en-AU" dirty="0"/>
            </a:br>
            <a:r>
              <a:rPr lang="en-US" dirty="0"/>
              <a:t>Power BI </a:t>
            </a:r>
            <a:r>
              <a:rPr lang="zh-TW" altLang="en-US" dirty="0"/>
              <a:t>簡介以及 </a:t>
            </a:r>
            <a:r>
              <a:rPr lang="en-US" altLang="zh-TW" dirty="0"/>
              <a:t>Power BI </a:t>
            </a:r>
            <a:r>
              <a:rPr lang="zh-TW" altLang="en-US" dirty="0"/>
              <a:t>家族</a:t>
            </a:r>
            <a:endParaRPr lang="en-US" dirty="0"/>
          </a:p>
        </p:txBody>
      </p:sp>
      <p:sp>
        <p:nvSpPr>
          <p:cNvPr id="3" name="Text Placeholder 2"/>
          <p:cNvSpPr>
            <a:spLocks noGrp="1"/>
          </p:cNvSpPr>
          <p:nvPr>
            <p:ph type="body" sz="quarter" idx="10"/>
          </p:nvPr>
        </p:nvSpPr>
        <p:spPr/>
        <p:txBody>
          <a:bodyPr/>
          <a:lstStyle/>
          <a:p>
            <a:r>
              <a:rPr lang="zh-TW" altLang="en-US" dirty="0"/>
              <a:t>新一代商業智慧 </a:t>
            </a:r>
            <a:r>
              <a:rPr lang="en-US" altLang="zh-TW" dirty="0"/>
              <a:t>(BI, Business Intelligence)</a:t>
            </a:r>
            <a:endParaRPr lang="en-AU" dirty="0"/>
          </a:p>
          <a:p>
            <a:r>
              <a:rPr lang="zh-TW" altLang="en-US" dirty="0"/>
              <a:t>認識</a:t>
            </a:r>
            <a:r>
              <a:rPr lang="en-AU" dirty="0"/>
              <a:t> Microsoft Power BI</a:t>
            </a:r>
          </a:p>
          <a:p>
            <a:r>
              <a:rPr lang="en-AU" dirty="0"/>
              <a:t>Power BI </a:t>
            </a:r>
            <a:r>
              <a:rPr lang="zh-TW" altLang="en-US" dirty="0"/>
              <a:t>功能概觀</a:t>
            </a:r>
            <a:endParaRPr lang="en-AU" dirty="0"/>
          </a:p>
          <a:p>
            <a:r>
              <a:rPr lang="zh-TW" altLang="en-US" dirty="0"/>
              <a:t>開始使用 </a:t>
            </a:r>
            <a:r>
              <a:rPr lang="en-AU" dirty="0"/>
              <a:t>Power BI</a:t>
            </a:r>
          </a:p>
          <a:p>
            <a:endParaRPr lang="en-AU" dirty="0"/>
          </a:p>
        </p:txBody>
      </p:sp>
    </p:spTree>
    <p:extLst>
      <p:ext uri="{BB962C8B-B14F-4D97-AF65-F5344CB8AC3E}">
        <p14:creationId xmlns:p14="http://schemas.microsoft.com/office/powerpoint/2010/main" val="715789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a:t>與</a:t>
            </a:r>
            <a:r>
              <a:rPr lang="en-AU" dirty="0"/>
              <a:t> Azure </a:t>
            </a:r>
            <a:r>
              <a:rPr lang="zh-TW" altLang="en-US" dirty="0"/>
              <a:t>服務整合</a:t>
            </a:r>
            <a:endParaRPr lang="en-US" dirty="0"/>
          </a:p>
        </p:txBody>
      </p:sp>
      <p:sp>
        <p:nvSpPr>
          <p:cNvPr id="33" name="Content Placeholder 3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a:xfrm>
            <a:off x="3987394" y="1749425"/>
            <a:ext cx="8098589" cy="5108575"/>
          </a:xfrm>
        </p:spPr>
        <p:txBody>
          <a:bodyPr>
            <a:normAutofit/>
          </a:bodyPr>
          <a:lstStyle/>
          <a:p>
            <a:r>
              <a:rPr lang="en-US" dirty="0"/>
              <a:t>Azure </a:t>
            </a:r>
            <a:r>
              <a:rPr lang="zh-TW" altLang="en-US" dirty="0"/>
              <a:t>與</a:t>
            </a:r>
            <a:r>
              <a:rPr lang="en-US" dirty="0"/>
              <a:t> Power BI </a:t>
            </a:r>
            <a:r>
              <a:rPr lang="zh-TW" altLang="en-US" dirty="0"/>
              <a:t>已經內建一些連接與整合，便於讓資料能順暢流通</a:t>
            </a:r>
            <a:endParaRPr lang="en-US" dirty="0"/>
          </a:p>
          <a:p>
            <a:r>
              <a:rPr lang="zh-TW" altLang="en-US" dirty="0"/>
              <a:t>這些整合可以讓 </a:t>
            </a:r>
            <a:r>
              <a:rPr lang="en-US" altLang="zh-TW" dirty="0"/>
              <a:t>IT </a:t>
            </a:r>
            <a:r>
              <a:rPr lang="zh-TW" altLang="en-US" dirty="0"/>
              <a:t>減少設計複雜程序的負擔</a:t>
            </a:r>
            <a:r>
              <a:rPr lang="en-US" dirty="0"/>
              <a:t>:</a:t>
            </a:r>
          </a:p>
          <a:p>
            <a:pPr lvl="1"/>
            <a:r>
              <a:rPr lang="en-AU" dirty="0"/>
              <a:t>Direct connect:</a:t>
            </a:r>
          </a:p>
          <a:p>
            <a:pPr lvl="2"/>
            <a:r>
              <a:rPr lang="en-US" dirty="0"/>
              <a:t>Azure SQL Database</a:t>
            </a:r>
          </a:p>
          <a:p>
            <a:pPr lvl="2"/>
            <a:r>
              <a:rPr lang="en-US" dirty="0"/>
              <a:t>Azure SQL Data Warehouse</a:t>
            </a:r>
          </a:p>
          <a:p>
            <a:pPr lvl="2"/>
            <a:r>
              <a:rPr lang="en-AU" dirty="0"/>
              <a:t>Spark on Azure HDInsight</a:t>
            </a:r>
          </a:p>
          <a:p>
            <a:pPr lvl="1"/>
            <a:r>
              <a:rPr lang="en-AU" dirty="0"/>
              <a:t>Power BI Desktop</a:t>
            </a:r>
          </a:p>
          <a:p>
            <a:pPr lvl="1"/>
            <a:r>
              <a:rPr lang="zh-TW" altLang="en-US" dirty="0"/>
              <a:t>透過 </a:t>
            </a:r>
            <a:r>
              <a:rPr lang="en-AU" dirty="0"/>
              <a:t>Azure Stream Analytics </a:t>
            </a:r>
            <a:r>
              <a:rPr lang="zh-TW" altLang="en-US" dirty="0"/>
              <a:t>做即時儀表板更新</a:t>
            </a:r>
            <a:endParaRPr lang="en-US" dirty="0"/>
          </a:p>
        </p:txBody>
      </p:sp>
      <p:grpSp>
        <p:nvGrpSpPr>
          <p:cNvPr id="34" name="Group 33"/>
          <p:cNvGrpSpPr/>
          <p:nvPr/>
        </p:nvGrpSpPr>
        <p:grpSpPr>
          <a:xfrm>
            <a:off x="413402" y="1884191"/>
            <a:ext cx="3242256" cy="4622626"/>
            <a:chOff x="8457470" y="1557251"/>
            <a:chExt cx="3242256" cy="4308956"/>
          </a:xfrm>
        </p:grpSpPr>
        <p:sp>
          <p:nvSpPr>
            <p:cNvPr id="35" name="Rectangle 34"/>
            <p:cNvSpPr/>
            <p:nvPr/>
          </p:nvSpPr>
          <p:spPr bwMode="auto">
            <a:xfrm>
              <a:off x="8457470" y="1557251"/>
              <a:ext cx="3242256" cy="4308956"/>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36" name="Group 35"/>
            <p:cNvGrpSpPr/>
            <p:nvPr/>
          </p:nvGrpSpPr>
          <p:grpSpPr>
            <a:xfrm>
              <a:off x="9772754" y="4751760"/>
              <a:ext cx="943424" cy="756782"/>
              <a:chOff x="10233165" y="3488430"/>
              <a:chExt cx="943424" cy="756782"/>
            </a:xfrm>
          </p:grpSpPr>
          <p:pic>
            <p:nvPicPr>
              <p:cNvPr id="57" name="Picture 56"/>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10476277" y="3488430"/>
                <a:ext cx="457200" cy="457200"/>
              </a:xfrm>
              <a:prstGeom prst="rect">
                <a:avLst/>
              </a:prstGeom>
            </p:spPr>
          </p:pic>
          <p:sp>
            <p:nvSpPr>
              <p:cNvPr id="58" name="TextBox 57"/>
              <p:cNvSpPr txBox="1"/>
              <p:nvPr/>
            </p:nvSpPr>
            <p:spPr>
              <a:xfrm>
                <a:off x="10233165" y="3811247"/>
                <a:ext cx="943424" cy="433965"/>
              </a:xfrm>
              <a:prstGeom prst="rect">
                <a:avLst/>
              </a:prstGeom>
              <a:noFill/>
            </p:spPr>
            <p:txBody>
              <a:bodyPr wrap="square" lIns="182880" tIns="146304" rIns="182880" bIns="146304" rtlCol="0">
                <a:spAutoFit/>
              </a:bodyPr>
              <a:lstStyle/>
              <a:p>
                <a:pPr>
                  <a:lnSpc>
                    <a:spcPct val="90000"/>
                  </a:lnSpc>
                  <a:spcAft>
                    <a:spcPts val="600"/>
                  </a:spcAft>
                </a:pPr>
                <a:r>
                  <a:rPr lang="en-US" sz="1000" dirty="0"/>
                  <a:t>HDInsight</a:t>
                </a:r>
              </a:p>
            </p:txBody>
          </p:sp>
        </p:grpSp>
        <p:grpSp>
          <p:nvGrpSpPr>
            <p:cNvPr id="37" name="Group 36"/>
            <p:cNvGrpSpPr/>
            <p:nvPr/>
          </p:nvGrpSpPr>
          <p:grpSpPr>
            <a:xfrm>
              <a:off x="8600016" y="3735604"/>
              <a:ext cx="943424" cy="786554"/>
              <a:chOff x="8600989" y="2320219"/>
              <a:chExt cx="943424" cy="786554"/>
            </a:xfrm>
          </p:grpSpPr>
          <p:pic>
            <p:nvPicPr>
              <p:cNvPr id="55" name="Picture 54"/>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8844101" y="2320219"/>
                <a:ext cx="457200" cy="457200"/>
              </a:xfrm>
              <a:prstGeom prst="rect">
                <a:avLst/>
              </a:prstGeom>
            </p:spPr>
          </p:pic>
          <p:sp>
            <p:nvSpPr>
              <p:cNvPr id="56" name="TextBox 55"/>
              <p:cNvSpPr txBox="1"/>
              <p:nvPr/>
            </p:nvSpPr>
            <p:spPr>
              <a:xfrm>
                <a:off x="8600989" y="2672808"/>
                <a:ext cx="943424" cy="433965"/>
              </a:xfrm>
              <a:prstGeom prst="rect">
                <a:avLst/>
              </a:prstGeom>
              <a:noFill/>
            </p:spPr>
            <p:txBody>
              <a:bodyPr wrap="square" lIns="182880" tIns="146304" rIns="182880" bIns="146304" rtlCol="0">
                <a:spAutoFit/>
              </a:bodyPr>
              <a:lstStyle/>
              <a:p>
                <a:pPr algn="ctr">
                  <a:lnSpc>
                    <a:spcPct val="90000"/>
                  </a:lnSpc>
                  <a:spcAft>
                    <a:spcPts val="600"/>
                  </a:spcAft>
                </a:pPr>
                <a:r>
                  <a:rPr lang="en-US" sz="1000" dirty="0"/>
                  <a:t>Storage</a:t>
                </a:r>
              </a:p>
            </p:txBody>
          </p:sp>
        </p:grpSp>
        <p:grpSp>
          <p:nvGrpSpPr>
            <p:cNvPr id="38" name="Group 37"/>
            <p:cNvGrpSpPr/>
            <p:nvPr/>
          </p:nvGrpSpPr>
          <p:grpSpPr>
            <a:xfrm>
              <a:off x="9766273" y="1846951"/>
              <a:ext cx="943424" cy="950812"/>
              <a:chOff x="10610076" y="2020001"/>
              <a:chExt cx="943424" cy="950812"/>
            </a:xfrm>
          </p:grpSpPr>
          <p:pic>
            <p:nvPicPr>
              <p:cNvPr id="53" name="Picture 52"/>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10853188" y="2020001"/>
                <a:ext cx="457200" cy="457200"/>
              </a:xfrm>
              <a:prstGeom prst="rect">
                <a:avLst/>
              </a:prstGeom>
            </p:spPr>
          </p:pic>
          <p:sp>
            <p:nvSpPr>
              <p:cNvPr id="54" name="TextBox 53"/>
              <p:cNvSpPr txBox="1"/>
              <p:nvPr/>
            </p:nvSpPr>
            <p:spPr>
              <a:xfrm>
                <a:off x="10610076" y="2398349"/>
                <a:ext cx="943424" cy="572464"/>
              </a:xfrm>
              <a:prstGeom prst="rect">
                <a:avLst/>
              </a:prstGeom>
              <a:noFill/>
            </p:spPr>
            <p:txBody>
              <a:bodyPr wrap="square" lIns="182880" tIns="146304" rIns="182880" bIns="146304" rtlCol="0">
                <a:spAutoFit/>
              </a:bodyPr>
              <a:lstStyle/>
              <a:p>
                <a:pPr algn="ctr">
                  <a:lnSpc>
                    <a:spcPct val="90000"/>
                  </a:lnSpc>
                  <a:spcAft>
                    <a:spcPts val="600"/>
                  </a:spcAft>
                </a:pPr>
                <a:r>
                  <a:rPr lang="en-US" sz="1000" dirty="0"/>
                  <a:t>Event Hubs</a:t>
                </a:r>
              </a:p>
            </p:txBody>
          </p:sp>
        </p:grpSp>
        <p:grpSp>
          <p:nvGrpSpPr>
            <p:cNvPr id="39" name="Group 38"/>
            <p:cNvGrpSpPr/>
            <p:nvPr/>
          </p:nvGrpSpPr>
          <p:grpSpPr>
            <a:xfrm>
              <a:off x="8568483" y="2759970"/>
              <a:ext cx="943424" cy="948116"/>
              <a:chOff x="9002661" y="3227014"/>
              <a:chExt cx="943424" cy="948116"/>
            </a:xfrm>
          </p:grpSpPr>
          <p:pic>
            <p:nvPicPr>
              <p:cNvPr id="51" name="Picture 50"/>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9234246" y="3227014"/>
                <a:ext cx="457200" cy="457200"/>
              </a:xfrm>
              <a:prstGeom prst="rect">
                <a:avLst/>
              </a:prstGeom>
            </p:spPr>
          </p:pic>
          <p:sp>
            <p:nvSpPr>
              <p:cNvPr id="52" name="TextBox 51"/>
              <p:cNvSpPr txBox="1"/>
              <p:nvPr/>
            </p:nvSpPr>
            <p:spPr>
              <a:xfrm>
                <a:off x="9002661" y="3602666"/>
                <a:ext cx="943424" cy="572464"/>
              </a:xfrm>
              <a:prstGeom prst="rect">
                <a:avLst/>
              </a:prstGeom>
              <a:noFill/>
            </p:spPr>
            <p:txBody>
              <a:bodyPr wrap="square" lIns="182880" tIns="146304" rIns="182880" bIns="146304" rtlCol="0">
                <a:spAutoFit/>
              </a:bodyPr>
              <a:lstStyle/>
              <a:p>
                <a:pPr algn="ctr">
                  <a:lnSpc>
                    <a:spcPct val="90000"/>
                  </a:lnSpc>
                  <a:spcAft>
                    <a:spcPts val="600"/>
                  </a:spcAft>
                </a:pPr>
                <a:r>
                  <a:rPr lang="en-US" sz="1000" dirty="0"/>
                  <a:t>Machine Learning</a:t>
                </a:r>
              </a:p>
            </p:txBody>
          </p:sp>
        </p:grpSp>
        <p:grpSp>
          <p:nvGrpSpPr>
            <p:cNvPr id="40" name="Group 39"/>
            <p:cNvGrpSpPr/>
            <p:nvPr/>
          </p:nvGrpSpPr>
          <p:grpSpPr>
            <a:xfrm>
              <a:off x="9035599" y="4344290"/>
              <a:ext cx="1015682" cy="842205"/>
              <a:chOff x="10601932" y="1930074"/>
              <a:chExt cx="1015682" cy="842205"/>
            </a:xfrm>
          </p:grpSpPr>
          <p:pic>
            <p:nvPicPr>
              <p:cNvPr id="49" name="Picture 48"/>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10866422" y="1930074"/>
                <a:ext cx="457200" cy="457200"/>
              </a:xfrm>
              <a:prstGeom prst="rect">
                <a:avLst/>
              </a:prstGeom>
            </p:spPr>
          </p:pic>
          <p:sp>
            <p:nvSpPr>
              <p:cNvPr id="50" name="TextBox 49"/>
              <p:cNvSpPr txBox="1"/>
              <p:nvPr/>
            </p:nvSpPr>
            <p:spPr>
              <a:xfrm>
                <a:off x="10601932" y="2338314"/>
                <a:ext cx="1015682" cy="433965"/>
              </a:xfrm>
              <a:prstGeom prst="rect">
                <a:avLst/>
              </a:prstGeom>
              <a:noFill/>
            </p:spPr>
            <p:txBody>
              <a:bodyPr wrap="square" lIns="182880" tIns="146304" rIns="182880" bIns="146304" rtlCol="0">
                <a:spAutoFit/>
              </a:bodyPr>
              <a:lstStyle/>
              <a:p>
                <a:pPr algn="ctr">
                  <a:lnSpc>
                    <a:spcPct val="90000"/>
                  </a:lnSpc>
                  <a:spcAft>
                    <a:spcPts val="600"/>
                  </a:spcAft>
                </a:pPr>
                <a:r>
                  <a:rPr lang="en-US" sz="1000" dirty="0"/>
                  <a:t>SQL Server</a:t>
                </a:r>
              </a:p>
            </p:txBody>
          </p:sp>
        </p:grpSp>
        <p:grpSp>
          <p:nvGrpSpPr>
            <p:cNvPr id="41" name="Group 40"/>
            <p:cNvGrpSpPr/>
            <p:nvPr/>
          </p:nvGrpSpPr>
          <p:grpSpPr>
            <a:xfrm>
              <a:off x="9040195" y="1941060"/>
              <a:ext cx="943424" cy="887242"/>
              <a:chOff x="9002242" y="1575399"/>
              <a:chExt cx="943424" cy="887242"/>
            </a:xfrm>
          </p:grpSpPr>
          <p:pic>
            <p:nvPicPr>
              <p:cNvPr id="47" name="Picture 46"/>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9245773" y="1575399"/>
                <a:ext cx="457200" cy="457200"/>
              </a:xfrm>
              <a:prstGeom prst="rect">
                <a:avLst/>
              </a:prstGeom>
            </p:spPr>
          </p:pic>
          <p:sp>
            <p:nvSpPr>
              <p:cNvPr id="48" name="TextBox 47"/>
              <p:cNvSpPr txBox="1"/>
              <p:nvPr/>
            </p:nvSpPr>
            <p:spPr>
              <a:xfrm>
                <a:off x="9002242" y="1890177"/>
                <a:ext cx="943424" cy="572464"/>
              </a:xfrm>
              <a:prstGeom prst="rect">
                <a:avLst/>
              </a:prstGeom>
              <a:noFill/>
            </p:spPr>
            <p:txBody>
              <a:bodyPr wrap="square" lIns="182880" tIns="146304" rIns="182880" bIns="146304" rtlCol="0">
                <a:spAutoFit/>
              </a:bodyPr>
              <a:lstStyle/>
              <a:p>
                <a:pPr algn="ctr">
                  <a:lnSpc>
                    <a:spcPct val="90000"/>
                  </a:lnSpc>
                  <a:spcAft>
                    <a:spcPts val="600"/>
                  </a:spcAft>
                </a:pPr>
                <a:r>
                  <a:rPr lang="en-US" sz="1000" dirty="0"/>
                  <a:t>Stream Analytics</a:t>
                </a:r>
              </a:p>
            </p:txBody>
          </p:sp>
        </p:grpSp>
        <p:pic>
          <p:nvPicPr>
            <p:cNvPr id="42" name="Picture 4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494047" y="3228912"/>
              <a:ext cx="640080" cy="674100"/>
            </a:xfrm>
            <a:prstGeom prst="rect">
              <a:avLst/>
            </a:prstGeom>
          </p:spPr>
        </p:pic>
        <p:sp>
          <p:nvSpPr>
            <p:cNvPr id="43" name="TextBox 42"/>
            <p:cNvSpPr txBox="1"/>
            <p:nvPr/>
          </p:nvSpPr>
          <p:spPr>
            <a:xfrm>
              <a:off x="10304430" y="3778425"/>
              <a:ext cx="1087964" cy="489365"/>
            </a:xfrm>
            <a:prstGeom prst="rect">
              <a:avLst/>
            </a:prstGeom>
            <a:noFill/>
          </p:spPr>
          <p:txBody>
            <a:bodyPr wrap="square" lIns="182880" tIns="146304" rIns="182880" bIns="146304" rtlCol="0">
              <a:spAutoFit/>
            </a:bodyPr>
            <a:lstStyle/>
            <a:p>
              <a:pPr algn="ctr">
                <a:lnSpc>
                  <a:spcPct val="90000"/>
                </a:lnSpc>
                <a:spcAft>
                  <a:spcPts val="600"/>
                </a:spcAft>
              </a:pPr>
              <a:r>
                <a:rPr lang="en-US" sz="1400" dirty="0"/>
                <a:t>Power BI</a:t>
              </a:r>
            </a:p>
          </p:txBody>
        </p:sp>
        <p:cxnSp>
          <p:nvCxnSpPr>
            <p:cNvPr id="44" name="Straight Arrow Connector 43"/>
            <p:cNvCxnSpPr/>
            <p:nvPr/>
          </p:nvCxnSpPr>
          <p:spPr>
            <a:xfrm>
              <a:off x="9983619" y="2759970"/>
              <a:ext cx="267392" cy="298704"/>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flipV="1">
              <a:off x="9543440" y="3614383"/>
              <a:ext cx="541705" cy="2"/>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flipV="1">
              <a:off x="10009385" y="4192804"/>
              <a:ext cx="295045" cy="357390"/>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93634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a:t>與</a:t>
            </a:r>
            <a:r>
              <a:rPr lang="en-AU" altLang="zh-TW" dirty="0"/>
              <a:t> Azure </a:t>
            </a:r>
            <a:r>
              <a:rPr lang="zh-TW" altLang="en-US" dirty="0"/>
              <a:t>服務整合</a:t>
            </a:r>
            <a:endParaRPr lang="en-US" dirty="0"/>
          </a:p>
        </p:txBody>
      </p:sp>
      <p:sp>
        <p:nvSpPr>
          <p:cNvPr id="33" name="Content Placeholder 32"/>
          <p:cNvSpPr>
            <a:spLocks noGrp="1"/>
          </p:cNvSpPr>
          <p:nvPr>
            <p:ph sz="quarter" idx="10"/>
          </p:nvPr>
        </p:nvSpPr>
        <p:spPr/>
        <p:txBody>
          <a:bodyPr/>
          <a:lstStyle/>
          <a:p>
            <a:r>
              <a:rPr lang="en-AU" dirty="0"/>
              <a:t>Power BI Desktop</a:t>
            </a:r>
            <a:endParaRPr lang="en-US" dirty="0"/>
          </a:p>
        </p:txBody>
      </p:sp>
      <p:sp>
        <p:nvSpPr>
          <p:cNvPr id="4" name="Text Placeholder 3"/>
          <p:cNvSpPr>
            <a:spLocks noGrp="1"/>
          </p:cNvSpPr>
          <p:nvPr>
            <p:ph type="body" sz="quarter" idx="11"/>
          </p:nvPr>
        </p:nvSpPr>
        <p:spPr>
          <a:xfrm>
            <a:off x="269876" y="1749425"/>
            <a:ext cx="5587586" cy="5108575"/>
          </a:xfrm>
        </p:spPr>
        <p:txBody>
          <a:bodyPr/>
          <a:lstStyle/>
          <a:p>
            <a:r>
              <a:rPr lang="zh-TW" altLang="en-US" dirty="0"/>
              <a:t>連接到不同的</a:t>
            </a:r>
            <a:r>
              <a:rPr lang="en-AU" dirty="0"/>
              <a:t> Azure </a:t>
            </a:r>
            <a:r>
              <a:rPr lang="zh-TW" altLang="en-US" dirty="0"/>
              <a:t>服務，並且建立查詢</a:t>
            </a:r>
            <a:endParaRPr lang="en-AU" dirty="0"/>
          </a:p>
          <a:p>
            <a:pPr lvl="1"/>
            <a:r>
              <a:rPr lang="zh-TW" altLang="en-US" dirty="0"/>
              <a:t>查詢可以與不同的資料來源進行整合，不一定要是 </a:t>
            </a:r>
            <a:r>
              <a:rPr lang="en-US" altLang="zh-TW" dirty="0"/>
              <a:t>Azure</a:t>
            </a:r>
            <a:endParaRPr lang="en-AU" dirty="0"/>
          </a:p>
          <a:p>
            <a:pPr lvl="1"/>
            <a:r>
              <a:rPr lang="zh-TW" altLang="en-US" dirty="0"/>
              <a:t>從</a:t>
            </a:r>
            <a:r>
              <a:rPr lang="en-AU" dirty="0"/>
              <a:t> Power BI Desktop </a:t>
            </a:r>
            <a:r>
              <a:rPr lang="zh-TW" altLang="en-US" dirty="0"/>
              <a:t>檔案中取出的資料集也可以重新讀取</a:t>
            </a:r>
            <a:endParaRPr lang="en-US" dirty="0"/>
          </a:p>
          <a:p>
            <a:pPr lvl="1"/>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42684" y="1825765"/>
            <a:ext cx="4656223" cy="4648603"/>
          </a:xfrm>
          <a:prstGeom prst="rect">
            <a:avLst/>
          </a:prstGeom>
        </p:spPr>
      </p:pic>
    </p:spTree>
    <p:extLst>
      <p:ext uri="{BB962C8B-B14F-4D97-AF65-F5344CB8AC3E}">
        <p14:creationId xmlns:p14="http://schemas.microsoft.com/office/powerpoint/2010/main" val="2240158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a:t>與</a:t>
            </a:r>
            <a:r>
              <a:rPr lang="en-AU" altLang="zh-TW" dirty="0"/>
              <a:t> Azure </a:t>
            </a:r>
            <a:r>
              <a:rPr lang="zh-TW" altLang="en-US" dirty="0"/>
              <a:t>服務整合</a:t>
            </a:r>
            <a:endParaRPr lang="en-US" dirty="0"/>
          </a:p>
        </p:txBody>
      </p:sp>
      <p:sp>
        <p:nvSpPr>
          <p:cNvPr id="33" name="Content Placeholder 32"/>
          <p:cNvSpPr>
            <a:spLocks noGrp="1"/>
          </p:cNvSpPr>
          <p:nvPr>
            <p:ph sz="quarter" idx="10"/>
          </p:nvPr>
        </p:nvSpPr>
        <p:spPr/>
        <p:txBody>
          <a:bodyPr/>
          <a:lstStyle/>
          <a:p>
            <a:r>
              <a:rPr lang="zh-TW" altLang="en-US" dirty="0"/>
              <a:t>透過 </a:t>
            </a:r>
            <a:r>
              <a:rPr lang="en-US" dirty="0"/>
              <a:t>Azure Stream Analytics </a:t>
            </a:r>
            <a:r>
              <a:rPr lang="zh-TW" altLang="en-US" dirty="0"/>
              <a:t>做即時儀表板更新</a:t>
            </a:r>
          </a:p>
        </p:txBody>
      </p:sp>
      <p:sp>
        <p:nvSpPr>
          <p:cNvPr id="4" name="Text Placeholder 3"/>
          <p:cNvSpPr>
            <a:spLocks noGrp="1"/>
          </p:cNvSpPr>
          <p:nvPr>
            <p:ph type="body" sz="quarter" idx="11"/>
          </p:nvPr>
        </p:nvSpPr>
        <p:spPr/>
        <p:txBody>
          <a:bodyPr/>
          <a:lstStyle/>
          <a:p>
            <a:r>
              <a:rPr lang="en-AU" dirty="0"/>
              <a:t>Use Azure Stream Analytics to push live, streaming data to Power BI</a:t>
            </a:r>
          </a:p>
          <a:p>
            <a:pPr lvl="1"/>
            <a:r>
              <a:rPr lang="en-AU" dirty="0"/>
              <a:t>Enables real-time dashboards at scale, over data from devices and applications</a:t>
            </a:r>
          </a:p>
          <a:p>
            <a:pPr lvl="1"/>
            <a:r>
              <a:rPr lang="en-AU" dirty="0"/>
              <a:t>Can stream millions of events per second</a:t>
            </a:r>
          </a:p>
          <a:p>
            <a:pPr lvl="1"/>
            <a:r>
              <a:rPr lang="en-AU" dirty="0"/>
              <a:t>Can perform aggregation over time windows</a:t>
            </a:r>
          </a:p>
          <a:p>
            <a:endParaRPr lang="en-US" dirty="0"/>
          </a:p>
        </p:txBody>
      </p:sp>
      <p:pic>
        <p:nvPicPr>
          <p:cNvPr id="10" name="Picture 9"/>
          <p:cNvPicPr>
            <a:picLocks noChangeAspect="1"/>
          </p:cNvPicPr>
          <p:nvPr/>
        </p:nvPicPr>
        <p:blipFill>
          <a:blip r:embed="rId2"/>
          <a:stretch>
            <a:fillRect/>
          </a:stretch>
        </p:blipFill>
        <p:spPr>
          <a:xfrm>
            <a:off x="8686962" y="4044294"/>
            <a:ext cx="2781843" cy="1969170"/>
          </a:xfrm>
          <a:prstGeom prst="rect">
            <a:avLst/>
          </a:prstGeom>
        </p:spPr>
      </p:pic>
      <p:pic>
        <p:nvPicPr>
          <p:cNvPr id="11" name="Picture 10"/>
          <p:cNvPicPr>
            <a:picLocks noChangeAspect="1"/>
          </p:cNvPicPr>
          <p:nvPr/>
        </p:nvPicPr>
        <p:blipFill>
          <a:blip r:embed="rId3"/>
          <a:stretch>
            <a:fillRect/>
          </a:stretch>
        </p:blipFill>
        <p:spPr>
          <a:xfrm>
            <a:off x="703648" y="4412535"/>
            <a:ext cx="7748325" cy="1232688"/>
          </a:xfrm>
          <a:prstGeom prst="rect">
            <a:avLst/>
          </a:prstGeom>
        </p:spPr>
      </p:pic>
      <p:sp>
        <p:nvSpPr>
          <p:cNvPr id="13" name="TextBox 12"/>
          <p:cNvSpPr txBox="1"/>
          <p:nvPr/>
        </p:nvSpPr>
        <p:spPr>
          <a:xfrm>
            <a:off x="269240" y="6070173"/>
            <a:ext cx="8066377" cy="544765"/>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Tip: </a:t>
            </a:r>
            <a:r>
              <a:rPr lang="en-US" dirty="0">
                <a:gradFill>
                  <a:gsLst>
                    <a:gs pos="2917">
                      <a:schemeClr val="tx1"/>
                    </a:gs>
                    <a:gs pos="30000">
                      <a:schemeClr val="tx1"/>
                    </a:gs>
                  </a:gsLst>
                  <a:lin ang="5400000" scaled="0"/>
                </a:gradFill>
              </a:rPr>
              <a:t>Use Q&amp;A to ask: “Show Web Requests where Timestamp </a:t>
            </a:r>
            <a:r>
              <a:rPr lang="en-US" u="sng" dirty="0">
                <a:gradFill>
                  <a:gsLst>
                    <a:gs pos="2917">
                      <a:schemeClr val="tx1"/>
                    </a:gs>
                    <a:gs pos="30000">
                      <a:schemeClr val="tx1"/>
                    </a:gs>
                  </a:gsLst>
                  <a:lin ang="5400000" scaled="0"/>
                </a:gradFill>
              </a:rPr>
              <a:t>is last minute</a:t>
            </a:r>
            <a:r>
              <a:rPr lang="en-US" dirty="0">
                <a:gradFill>
                  <a:gsLst>
                    <a:gs pos="2917">
                      <a:schemeClr val="tx1"/>
                    </a:gs>
                    <a:gs pos="30000">
                      <a:schemeClr val="tx1"/>
                    </a:gs>
                  </a:gsLst>
                  <a:lin ang="5400000" scaled="0"/>
                </a:gradFill>
              </a:rPr>
              <a:t>”</a:t>
            </a:r>
          </a:p>
        </p:txBody>
      </p:sp>
    </p:spTree>
    <p:extLst>
      <p:ext uri="{BB962C8B-B14F-4D97-AF65-F5344CB8AC3E}">
        <p14:creationId xmlns:p14="http://schemas.microsoft.com/office/powerpoint/2010/main" val="3319261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3"/>
          <p:cNvPicPr>
            <a:picLocks noChangeAspect="1"/>
          </p:cNvPicPr>
          <p:nvPr/>
        </p:nvPicPr>
        <p:blipFill>
          <a:blip r:embed="rId2"/>
          <a:stretch>
            <a:fillRect/>
          </a:stretch>
        </p:blipFill>
        <p:spPr>
          <a:xfrm>
            <a:off x="5049078" y="2347464"/>
            <a:ext cx="6321955" cy="3456988"/>
          </a:xfrm>
          <a:prstGeom prst="rect">
            <a:avLst/>
          </a:prstGeom>
        </p:spPr>
      </p:pic>
      <p:sp>
        <p:nvSpPr>
          <p:cNvPr id="2" name="Title 1"/>
          <p:cNvSpPr>
            <a:spLocks noGrp="1"/>
          </p:cNvSpPr>
          <p:nvPr>
            <p:ph type="title"/>
          </p:nvPr>
        </p:nvSpPr>
        <p:spPr/>
        <p:txBody>
          <a:bodyPr/>
          <a:lstStyle/>
          <a:p>
            <a:r>
              <a:rPr lang="zh-TW" altLang="en-US" dirty="0"/>
              <a:t>與</a:t>
            </a:r>
            <a:r>
              <a:rPr lang="en-AU" altLang="zh-TW" dirty="0"/>
              <a:t> Azure </a:t>
            </a:r>
            <a:r>
              <a:rPr lang="zh-TW" altLang="en-US" dirty="0"/>
              <a:t>服務整合</a:t>
            </a:r>
            <a:endParaRPr lang="en-US" dirty="0"/>
          </a:p>
        </p:txBody>
      </p:sp>
      <p:sp>
        <p:nvSpPr>
          <p:cNvPr id="3" name="Content Placeholder 2"/>
          <p:cNvSpPr>
            <a:spLocks noGrp="1"/>
          </p:cNvSpPr>
          <p:nvPr>
            <p:ph sz="quarter" idx="10"/>
          </p:nvPr>
        </p:nvSpPr>
        <p:spPr/>
        <p:txBody>
          <a:bodyPr/>
          <a:lstStyle/>
          <a:p>
            <a:r>
              <a:rPr lang="zh-TW" altLang="en-US" dirty="0"/>
              <a:t>進階分析操作</a:t>
            </a:r>
            <a:endParaRPr lang="en-US" dirty="0"/>
          </a:p>
        </p:txBody>
      </p:sp>
      <p:sp>
        <p:nvSpPr>
          <p:cNvPr id="4" name="Text Placeholder 3"/>
          <p:cNvSpPr>
            <a:spLocks noGrp="1"/>
          </p:cNvSpPr>
          <p:nvPr>
            <p:ph type="body" sz="quarter" idx="11"/>
          </p:nvPr>
        </p:nvSpPr>
        <p:spPr>
          <a:xfrm>
            <a:off x="269876" y="1749425"/>
            <a:ext cx="5110508" cy="5108575"/>
          </a:xfrm>
        </p:spPr>
        <p:txBody>
          <a:bodyPr/>
          <a:lstStyle/>
          <a:p>
            <a:r>
              <a:rPr lang="zh-TW" altLang="en-US" dirty="0"/>
              <a:t>組合</a:t>
            </a:r>
            <a:r>
              <a:rPr lang="en-US" dirty="0"/>
              <a:t> Azure </a:t>
            </a:r>
            <a:r>
              <a:rPr lang="zh-TW" altLang="en-US" dirty="0"/>
              <a:t>服務來驅動進階資料分析</a:t>
            </a:r>
            <a:r>
              <a:rPr lang="en-US" dirty="0"/>
              <a:t>:</a:t>
            </a:r>
          </a:p>
          <a:p>
            <a:pPr lvl="1"/>
            <a:r>
              <a:rPr lang="en-AU" b="1" dirty="0"/>
              <a:t>Azure HDInsight</a:t>
            </a:r>
            <a:r>
              <a:rPr lang="en-AU" dirty="0"/>
              <a:t>: </a:t>
            </a:r>
            <a:br>
              <a:rPr lang="en-AU" dirty="0"/>
            </a:br>
            <a:r>
              <a:rPr lang="zh-TW" altLang="en-US" dirty="0"/>
              <a:t>處理大數據</a:t>
            </a:r>
            <a:endParaRPr lang="en-AU" dirty="0"/>
          </a:p>
          <a:p>
            <a:pPr lvl="1"/>
            <a:r>
              <a:rPr lang="en-AU" b="1" dirty="0"/>
              <a:t>Azure Machine Learning</a:t>
            </a:r>
            <a:r>
              <a:rPr lang="en-AU" dirty="0"/>
              <a:t>: </a:t>
            </a:r>
            <a:br>
              <a:rPr lang="en-US" dirty="0"/>
            </a:br>
            <a:r>
              <a:rPr lang="zh-TW" altLang="en-US" dirty="0"/>
              <a:t>預測性分析</a:t>
            </a:r>
            <a:endParaRPr lang="en-AU" dirty="0"/>
          </a:p>
          <a:p>
            <a:pPr lvl="1"/>
            <a:r>
              <a:rPr lang="en-AU" b="1" dirty="0"/>
              <a:t>Azure Data Factory</a:t>
            </a:r>
            <a:r>
              <a:rPr lang="en-AU" dirty="0"/>
              <a:t>: </a:t>
            </a:r>
            <a:br>
              <a:rPr lang="en-AU" dirty="0"/>
            </a:br>
            <a:r>
              <a:rPr lang="zh-TW" altLang="en-US" dirty="0"/>
              <a:t>排程及延展</a:t>
            </a:r>
            <a:endParaRPr lang="en-US" dirty="0"/>
          </a:p>
        </p:txBody>
      </p:sp>
    </p:spTree>
    <p:extLst>
      <p:ext uri="{BB962C8B-B14F-4D97-AF65-F5344CB8AC3E}">
        <p14:creationId xmlns:p14="http://schemas.microsoft.com/office/powerpoint/2010/main" val="1295111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03</a:t>
            </a:r>
            <a:br>
              <a:rPr lang="en-US" dirty="0"/>
            </a:br>
            <a:r>
              <a:rPr lang="zh-TW" altLang="en-US" dirty="0"/>
              <a:t>從資料集拉出報表</a:t>
            </a:r>
            <a:endParaRPr lang="en-US" dirty="0"/>
          </a:p>
        </p:txBody>
      </p:sp>
      <p:sp>
        <p:nvSpPr>
          <p:cNvPr id="3" name="Text Placeholder 2"/>
          <p:cNvSpPr>
            <a:spLocks noGrp="1"/>
          </p:cNvSpPr>
          <p:nvPr>
            <p:ph type="body" sz="quarter" idx="10"/>
          </p:nvPr>
        </p:nvSpPr>
        <p:spPr/>
        <p:txBody>
          <a:bodyPr/>
          <a:lstStyle/>
          <a:p>
            <a:r>
              <a:rPr lang="zh-TW" altLang="en-US" dirty="0"/>
              <a:t>認識 </a:t>
            </a:r>
            <a:r>
              <a:rPr lang="en-US" altLang="zh-TW" dirty="0"/>
              <a:t>Power BI Desktop</a:t>
            </a:r>
          </a:p>
          <a:p>
            <a:r>
              <a:rPr lang="zh-TW" altLang="en-US" dirty="0"/>
              <a:t>視覺化工具</a:t>
            </a:r>
            <a:endParaRPr lang="en-US" altLang="zh-TW" dirty="0"/>
          </a:p>
          <a:p>
            <a:r>
              <a:rPr lang="zh-TW" altLang="en-US" dirty="0"/>
              <a:t>上傳至 </a:t>
            </a:r>
            <a:r>
              <a:rPr lang="en-US" altLang="zh-TW" dirty="0"/>
              <a:t>PowerBI.com</a:t>
            </a:r>
          </a:p>
          <a:p>
            <a:r>
              <a:rPr lang="zh-TW" altLang="en-US" dirty="0"/>
              <a:t>儀表板</a:t>
            </a:r>
            <a:endParaRPr lang="en-US" dirty="0"/>
          </a:p>
          <a:p>
            <a:endParaRPr lang="en-US" dirty="0"/>
          </a:p>
        </p:txBody>
      </p:sp>
    </p:spTree>
    <p:extLst>
      <p:ext uri="{BB962C8B-B14F-4D97-AF65-F5344CB8AC3E}">
        <p14:creationId xmlns:p14="http://schemas.microsoft.com/office/powerpoint/2010/main" val="3841061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a:t>從</a:t>
            </a:r>
            <a:r>
              <a:rPr lang="en-AU" dirty="0"/>
              <a:t> Power BI Desktop </a:t>
            </a:r>
            <a:r>
              <a:rPr lang="zh-TW" altLang="en-US" dirty="0"/>
              <a:t>開始</a:t>
            </a:r>
            <a:endParaRPr lang="en-AU" dirty="0"/>
          </a:p>
        </p:txBody>
      </p:sp>
      <p:sp>
        <p:nvSpPr>
          <p:cNvPr id="8" name="Content Placeholder 7"/>
          <p:cNvSpPr>
            <a:spLocks noGrp="1"/>
          </p:cNvSpPr>
          <p:nvPr>
            <p:ph sz="quarter" idx="10"/>
          </p:nvPr>
        </p:nvSpPr>
        <p:spPr/>
        <p:txBody>
          <a:bodyPr/>
          <a:lstStyle/>
          <a:p>
            <a:r>
              <a:rPr lang="zh-TW" altLang="en-US" dirty="0"/>
              <a:t>用戶操作</a:t>
            </a:r>
            <a:r>
              <a:rPr lang="en-AU" dirty="0"/>
              <a:t>: </a:t>
            </a:r>
            <a:r>
              <a:rPr lang="zh-TW" altLang="en-US" dirty="0"/>
              <a:t>取得資料</a:t>
            </a:r>
            <a:endParaRPr lang="en-US" dirty="0"/>
          </a:p>
        </p:txBody>
      </p:sp>
      <p:sp>
        <p:nvSpPr>
          <p:cNvPr id="4" name="Text Placeholder 3"/>
          <p:cNvSpPr>
            <a:spLocks noGrp="1"/>
          </p:cNvSpPr>
          <p:nvPr>
            <p:ph type="body" sz="quarter" idx="11"/>
          </p:nvPr>
        </p:nvSpPr>
        <p:spPr>
          <a:xfrm>
            <a:off x="269875" y="3811799"/>
            <a:ext cx="11655425" cy="3046202"/>
          </a:xfrm>
        </p:spPr>
        <p:txBody>
          <a:bodyPr>
            <a:normAutofit/>
          </a:bodyPr>
          <a:lstStyle/>
          <a:p>
            <a:r>
              <a:rPr lang="en-US" dirty="0"/>
              <a:t>“</a:t>
            </a:r>
            <a:r>
              <a:rPr lang="zh-TW" altLang="en-US" dirty="0"/>
              <a:t>取得資料 </a:t>
            </a:r>
            <a:r>
              <a:rPr lang="en-US" altLang="zh-TW" dirty="0"/>
              <a:t>(getting data)</a:t>
            </a:r>
            <a:r>
              <a:rPr lang="en-US" dirty="0"/>
              <a:t>” </a:t>
            </a:r>
            <a:r>
              <a:rPr lang="zh-TW" altLang="en-US" dirty="0"/>
              <a:t>被定義為一種查詢</a:t>
            </a:r>
            <a:endParaRPr lang="en-US" dirty="0"/>
          </a:p>
          <a:p>
            <a:pPr lvl="1"/>
            <a:r>
              <a:rPr lang="zh-TW" altLang="en-US" dirty="0"/>
              <a:t>資料來源包括檔案、資料庫、</a:t>
            </a:r>
            <a:r>
              <a:rPr lang="en-US" altLang="zh-TW" dirty="0"/>
              <a:t>Azure </a:t>
            </a:r>
            <a:r>
              <a:rPr lang="zh-TW" altLang="en-US" dirty="0"/>
              <a:t>及其它</a:t>
            </a:r>
            <a:endParaRPr lang="en-US" dirty="0"/>
          </a:p>
          <a:p>
            <a:r>
              <a:rPr lang="zh-TW" altLang="en-US" dirty="0"/>
              <a:t>能簡單快速地以</a:t>
            </a:r>
            <a:r>
              <a:rPr lang="en-AU" dirty="0"/>
              <a:t> “as is” </a:t>
            </a:r>
            <a:r>
              <a:rPr lang="zh-TW" altLang="en-US" dirty="0"/>
              <a:t>載入資料</a:t>
            </a:r>
            <a:endParaRPr lang="en-AU" dirty="0"/>
          </a:p>
          <a:p>
            <a:pPr lvl="1"/>
            <a:r>
              <a:rPr lang="zh-TW" altLang="en-US" dirty="0"/>
              <a:t>基本操作</a:t>
            </a:r>
            <a:r>
              <a:rPr lang="en-AU" dirty="0"/>
              <a:t>: Select type </a:t>
            </a:r>
            <a:r>
              <a:rPr lang="en-AU" dirty="0">
                <a:latin typeface="Courier New" panose="02070309020205020404" pitchFamily="49" charset="0"/>
                <a:cs typeface="Courier New" panose="02070309020205020404" pitchFamily="49" charset="0"/>
              </a:rPr>
              <a:t>►</a:t>
            </a:r>
            <a:r>
              <a:rPr lang="en-AU" dirty="0"/>
              <a:t> Define connection </a:t>
            </a:r>
            <a:r>
              <a:rPr lang="en-AU" dirty="0">
                <a:latin typeface="Courier New" panose="02070309020205020404" pitchFamily="49" charset="0"/>
                <a:cs typeface="Courier New" panose="02070309020205020404" pitchFamily="49" charset="0"/>
              </a:rPr>
              <a:t>►</a:t>
            </a:r>
            <a:r>
              <a:rPr lang="en-AU" dirty="0"/>
              <a:t> Authenticate </a:t>
            </a:r>
            <a:r>
              <a:rPr lang="en-AU" dirty="0">
                <a:latin typeface="Courier New" panose="02070309020205020404" pitchFamily="49" charset="0"/>
                <a:cs typeface="Courier New" panose="02070309020205020404" pitchFamily="49" charset="0"/>
              </a:rPr>
              <a:t>►</a:t>
            </a:r>
            <a:r>
              <a:rPr lang="en-AU" dirty="0"/>
              <a:t> Load</a:t>
            </a:r>
          </a:p>
          <a:p>
            <a:pPr lvl="1"/>
            <a:r>
              <a:rPr lang="en-AU" dirty="0"/>
              <a:t>Optionally, the </a:t>
            </a:r>
            <a:r>
              <a:rPr lang="en-AU" b="1" dirty="0"/>
              <a:t>Query Editor </a:t>
            </a:r>
            <a:r>
              <a:rPr lang="en-AU" dirty="0"/>
              <a:t>can be used to transform queries</a:t>
            </a:r>
          </a:p>
        </p:txBody>
      </p:sp>
      <p:pic>
        <p:nvPicPr>
          <p:cNvPr id="10" name="Picture 9"/>
          <p:cNvPicPr>
            <a:picLocks noChangeAspect="1"/>
          </p:cNvPicPr>
          <p:nvPr/>
        </p:nvPicPr>
        <p:blipFill rotWithShape="1">
          <a:blip r:embed="rId3"/>
          <a:srcRect b="63878"/>
          <a:stretch/>
        </p:blipFill>
        <p:spPr>
          <a:xfrm>
            <a:off x="458930" y="1734894"/>
            <a:ext cx="10593641" cy="1721740"/>
          </a:xfrm>
          <a:prstGeom prst="rect">
            <a:avLst/>
          </a:prstGeom>
        </p:spPr>
      </p:pic>
      <p:sp>
        <p:nvSpPr>
          <p:cNvPr id="13" name="Rectangle 12"/>
          <p:cNvSpPr/>
          <p:nvPr/>
        </p:nvSpPr>
        <p:spPr bwMode="auto">
          <a:xfrm>
            <a:off x="1999623" y="2009671"/>
            <a:ext cx="753626" cy="1527350"/>
          </a:xfrm>
          <a:prstGeom prst="rect">
            <a:avLst/>
          </a:prstGeom>
          <a:noFill/>
          <a:ln w="28575">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80411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a:blip r:embed="rId3"/>
          <a:stretch>
            <a:fillRect/>
          </a:stretch>
        </p:blipFill>
        <p:spPr>
          <a:xfrm>
            <a:off x="458930" y="1734893"/>
            <a:ext cx="10593641" cy="4766391"/>
          </a:xfrm>
          <a:prstGeom prst="rect">
            <a:avLst/>
          </a:prstGeom>
        </p:spPr>
      </p:pic>
      <p:sp>
        <p:nvSpPr>
          <p:cNvPr id="2" name="Title 1"/>
          <p:cNvSpPr>
            <a:spLocks noGrp="1"/>
          </p:cNvSpPr>
          <p:nvPr>
            <p:ph type="title"/>
          </p:nvPr>
        </p:nvSpPr>
        <p:spPr/>
        <p:txBody>
          <a:bodyPr/>
          <a:lstStyle/>
          <a:p>
            <a:r>
              <a:rPr lang="zh-TW" altLang="en-US" dirty="0"/>
              <a:t>從</a:t>
            </a:r>
            <a:r>
              <a:rPr lang="en-AU" altLang="zh-TW" dirty="0"/>
              <a:t> Power BI Desktop </a:t>
            </a:r>
            <a:r>
              <a:rPr lang="zh-TW" altLang="en-US" dirty="0"/>
              <a:t>開始</a:t>
            </a:r>
            <a:endParaRPr lang="en-US" dirty="0"/>
          </a:p>
        </p:txBody>
      </p:sp>
      <p:sp>
        <p:nvSpPr>
          <p:cNvPr id="3" name="Content Placeholder 2"/>
          <p:cNvSpPr>
            <a:spLocks noGrp="1"/>
          </p:cNvSpPr>
          <p:nvPr>
            <p:ph sz="quarter" idx="10"/>
          </p:nvPr>
        </p:nvSpPr>
        <p:spPr/>
        <p:txBody>
          <a:bodyPr/>
          <a:lstStyle/>
          <a:p>
            <a:r>
              <a:rPr lang="zh-TW" altLang="en-US" dirty="0"/>
              <a:t>用戶操作</a:t>
            </a:r>
            <a:r>
              <a:rPr lang="en-AU" dirty="0"/>
              <a:t>: </a:t>
            </a:r>
            <a:r>
              <a:rPr lang="zh-TW" altLang="en-US" dirty="0"/>
              <a:t>三種內容檢視</a:t>
            </a:r>
            <a:endParaRPr lang="en-US" dirty="0"/>
          </a:p>
        </p:txBody>
      </p:sp>
      <p:grpSp>
        <p:nvGrpSpPr>
          <p:cNvPr id="10" name="Group 9"/>
          <p:cNvGrpSpPr/>
          <p:nvPr/>
        </p:nvGrpSpPr>
        <p:grpSpPr>
          <a:xfrm>
            <a:off x="1281887" y="3504158"/>
            <a:ext cx="2938421" cy="627864"/>
            <a:chOff x="1101017" y="3524255"/>
            <a:chExt cx="2938421" cy="627864"/>
          </a:xfrm>
        </p:grpSpPr>
        <p:cxnSp>
          <p:nvCxnSpPr>
            <p:cNvPr id="6" name="Straight Arrow Connector 5"/>
            <p:cNvCxnSpPr/>
            <p:nvPr/>
          </p:nvCxnSpPr>
          <p:spPr>
            <a:xfrm>
              <a:off x="1101017" y="3838187"/>
              <a:ext cx="657445" cy="0"/>
            </a:xfrm>
            <a:prstGeom prst="straightConnector1">
              <a:avLst/>
            </a:prstGeom>
            <a:ln w="12700">
              <a:solidFill>
                <a:schemeClr val="tx1"/>
              </a:solidFill>
              <a:headEnd type="none"/>
              <a:tailEnd type="arrow" w="sm"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1758462" y="3524255"/>
              <a:ext cx="2280976" cy="627864"/>
            </a:xfrm>
            <a:prstGeom prst="rect">
              <a:avLst/>
            </a:prstGeom>
            <a:noFill/>
          </p:spPr>
          <p:txBody>
            <a:bodyPr wrap="square" lIns="182880" tIns="146304" rIns="182880" bIns="146304" rtlCol="0">
              <a:spAutoFit/>
            </a:bodyPr>
            <a:lstStyle/>
            <a:p>
              <a:pPr>
                <a:lnSpc>
                  <a:spcPct val="90000"/>
                </a:lnSpc>
                <a:spcAft>
                  <a:spcPts val="600"/>
                </a:spcAft>
              </a:pPr>
              <a:r>
                <a:rPr lang="zh-TW" altLang="en-US" sz="2400" b="1" dirty="0">
                  <a:gradFill>
                    <a:gsLst>
                      <a:gs pos="2917">
                        <a:schemeClr val="tx1"/>
                      </a:gs>
                      <a:gs pos="30000">
                        <a:schemeClr val="tx1"/>
                      </a:gs>
                    </a:gsLst>
                    <a:lin ang="5400000" scaled="0"/>
                  </a:gradFill>
                </a:rPr>
                <a:t>報表</a:t>
              </a:r>
              <a:r>
                <a:rPr lang="en-AU" sz="2400" dirty="0">
                  <a:gradFill>
                    <a:gsLst>
                      <a:gs pos="2917">
                        <a:schemeClr val="tx1"/>
                      </a:gs>
                      <a:gs pos="30000">
                        <a:schemeClr val="tx1"/>
                      </a:gs>
                    </a:gsLst>
                    <a:lin ang="5400000" scaled="0"/>
                  </a:gradFill>
                </a:rPr>
                <a:t> </a:t>
              </a:r>
              <a:r>
                <a:rPr lang="zh-TW" altLang="en-US" sz="2400" dirty="0">
                  <a:gradFill>
                    <a:gsLst>
                      <a:gs pos="2917">
                        <a:schemeClr val="tx1"/>
                      </a:gs>
                      <a:gs pos="30000">
                        <a:schemeClr val="tx1"/>
                      </a:gs>
                    </a:gsLst>
                    <a:lin ang="5400000" scaled="0"/>
                  </a:gradFill>
                </a:rPr>
                <a:t>檢視</a:t>
              </a:r>
              <a:endParaRPr lang="en-US" sz="2400" dirty="0" err="1">
                <a:gradFill>
                  <a:gsLst>
                    <a:gs pos="2917">
                      <a:schemeClr val="tx1"/>
                    </a:gs>
                    <a:gs pos="30000">
                      <a:schemeClr val="tx1"/>
                    </a:gs>
                  </a:gsLst>
                  <a:lin ang="5400000" scaled="0"/>
                </a:gradFill>
              </a:endParaRPr>
            </a:p>
          </p:txBody>
        </p:sp>
      </p:grpSp>
      <p:grpSp>
        <p:nvGrpSpPr>
          <p:cNvPr id="11" name="Group 10"/>
          <p:cNvGrpSpPr/>
          <p:nvPr/>
        </p:nvGrpSpPr>
        <p:grpSpPr>
          <a:xfrm>
            <a:off x="1281887" y="4129633"/>
            <a:ext cx="2938421" cy="627864"/>
            <a:chOff x="1101017" y="3524255"/>
            <a:chExt cx="2938421" cy="627864"/>
          </a:xfrm>
        </p:grpSpPr>
        <p:cxnSp>
          <p:nvCxnSpPr>
            <p:cNvPr id="12" name="Straight Arrow Connector 11"/>
            <p:cNvCxnSpPr/>
            <p:nvPr/>
          </p:nvCxnSpPr>
          <p:spPr>
            <a:xfrm>
              <a:off x="1101017" y="3838187"/>
              <a:ext cx="657445" cy="0"/>
            </a:xfrm>
            <a:prstGeom prst="straightConnector1">
              <a:avLst/>
            </a:prstGeom>
            <a:ln w="12700">
              <a:solidFill>
                <a:schemeClr val="tx1"/>
              </a:solidFill>
              <a:headEnd type="none"/>
              <a:tailEnd type="arrow" w="sm" len="med"/>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1758462" y="3524255"/>
              <a:ext cx="2280976" cy="627864"/>
            </a:xfrm>
            <a:prstGeom prst="rect">
              <a:avLst/>
            </a:prstGeom>
            <a:noFill/>
          </p:spPr>
          <p:txBody>
            <a:bodyPr wrap="square" lIns="182880" tIns="146304" rIns="182880" bIns="146304" rtlCol="0">
              <a:spAutoFit/>
            </a:bodyPr>
            <a:lstStyle/>
            <a:p>
              <a:pPr>
                <a:lnSpc>
                  <a:spcPct val="90000"/>
                </a:lnSpc>
                <a:spcAft>
                  <a:spcPts val="600"/>
                </a:spcAft>
              </a:pPr>
              <a:r>
                <a:rPr lang="zh-TW" altLang="en-US" sz="2400" b="1" dirty="0">
                  <a:gradFill>
                    <a:gsLst>
                      <a:gs pos="2917">
                        <a:schemeClr val="tx1"/>
                      </a:gs>
                      <a:gs pos="30000">
                        <a:schemeClr val="tx1"/>
                      </a:gs>
                    </a:gsLst>
                    <a:lin ang="5400000" scaled="0"/>
                  </a:gradFill>
                </a:rPr>
                <a:t>資料</a:t>
              </a:r>
              <a:r>
                <a:rPr lang="en-AU" sz="2400" dirty="0">
                  <a:gradFill>
                    <a:gsLst>
                      <a:gs pos="2917">
                        <a:schemeClr val="tx1"/>
                      </a:gs>
                      <a:gs pos="30000">
                        <a:schemeClr val="tx1"/>
                      </a:gs>
                    </a:gsLst>
                    <a:lin ang="5400000" scaled="0"/>
                  </a:gradFill>
                </a:rPr>
                <a:t> </a:t>
              </a:r>
              <a:r>
                <a:rPr lang="zh-TW" altLang="en-US" sz="2400" dirty="0">
                  <a:gradFill>
                    <a:gsLst>
                      <a:gs pos="2917">
                        <a:schemeClr val="tx1"/>
                      </a:gs>
                      <a:gs pos="30000">
                        <a:schemeClr val="tx1"/>
                      </a:gs>
                    </a:gsLst>
                    <a:lin ang="5400000" scaled="0"/>
                  </a:gradFill>
                </a:rPr>
                <a:t>檢視</a:t>
              </a:r>
              <a:endParaRPr lang="en-US" sz="2400" dirty="0" err="1">
                <a:gradFill>
                  <a:gsLst>
                    <a:gs pos="2917">
                      <a:schemeClr val="tx1"/>
                    </a:gs>
                    <a:gs pos="30000">
                      <a:schemeClr val="tx1"/>
                    </a:gs>
                  </a:gsLst>
                  <a:lin ang="5400000" scaled="0"/>
                </a:gradFill>
              </a:endParaRPr>
            </a:p>
          </p:txBody>
        </p:sp>
      </p:grpSp>
      <p:grpSp>
        <p:nvGrpSpPr>
          <p:cNvPr id="14" name="Group 13"/>
          <p:cNvGrpSpPr/>
          <p:nvPr/>
        </p:nvGrpSpPr>
        <p:grpSpPr>
          <a:xfrm>
            <a:off x="1281887" y="4755107"/>
            <a:ext cx="3742288" cy="627864"/>
            <a:chOff x="1101017" y="3524255"/>
            <a:chExt cx="3742288" cy="627864"/>
          </a:xfrm>
        </p:grpSpPr>
        <p:cxnSp>
          <p:nvCxnSpPr>
            <p:cNvPr id="15" name="Straight Arrow Connector 14"/>
            <p:cNvCxnSpPr/>
            <p:nvPr/>
          </p:nvCxnSpPr>
          <p:spPr>
            <a:xfrm>
              <a:off x="1101017" y="3838187"/>
              <a:ext cx="657445" cy="0"/>
            </a:xfrm>
            <a:prstGeom prst="straightConnector1">
              <a:avLst/>
            </a:prstGeom>
            <a:ln w="12700">
              <a:solidFill>
                <a:schemeClr val="tx1"/>
              </a:solidFill>
              <a:headEnd type="none"/>
              <a:tailEnd type="arrow" w="sm" len="med"/>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1758461" y="3524255"/>
              <a:ext cx="3084844" cy="627864"/>
            </a:xfrm>
            <a:prstGeom prst="rect">
              <a:avLst/>
            </a:prstGeom>
            <a:noFill/>
          </p:spPr>
          <p:txBody>
            <a:bodyPr wrap="square" lIns="182880" tIns="146304" rIns="182880" bIns="146304" rtlCol="0">
              <a:spAutoFit/>
            </a:bodyPr>
            <a:lstStyle/>
            <a:p>
              <a:pPr>
                <a:lnSpc>
                  <a:spcPct val="90000"/>
                </a:lnSpc>
                <a:spcAft>
                  <a:spcPts val="600"/>
                </a:spcAft>
              </a:pPr>
              <a:r>
                <a:rPr lang="zh-TW" altLang="en-US" sz="2400" b="1" dirty="0">
                  <a:gradFill>
                    <a:gsLst>
                      <a:gs pos="2917">
                        <a:schemeClr val="tx1"/>
                      </a:gs>
                      <a:gs pos="30000">
                        <a:schemeClr val="tx1"/>
                      </a:gs>
                    </a:gsLst>
                    <a:lin ang="5400000" scaled="0"/>
                  </a:gradFill>
                </a:rPr>
                <a:t>關聯</a:t>
              </a:r>
              <a:r>
                <a:rPr lang="en-AU" sz="2400" dirty="0">
                  <a:gradFill>
                    <a:gsLst>
                      <a:gs pos="2917">
                        <a:schemeClr val="tx1"/>
                      </a:gs>
                      <a:gs pos="30000">
                        <a:schemeClr val="tx1"/>
                      </a:gs>
                    </a:gsLst>
                    <a:lin ang="5400000" scaled="0"/>
                  </a:gradFill>
                </a:rPr>
                <a:t> </a:t>
              </a:r>
              <a:r>
                <a:rPr lang="zh-TW" altLang="en-US" sz="2400" dirty="0">
                  <a:gradFill>
                    <a:gsLst>
                      <a:gs pos="2917">
                        <a:schemeClr val="tx1"/>
                      </a:gs>
                      <a:gs pos="30000">
                        <a:schemeClr val="tx1"/>
                      </a:gs>
                    </a:gsLst>
                    <a:lin ang="5400000" scaled="0"/>
                  </a:gradFill>
                </a:rPr>
                <a:t>檢視</a:t>
              </a:r>
              <a:endParaRPr lang="en-US" sz="2400" dirty="0" err="1">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2132901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nodeType="afterEffect">
                                  <p:stCondLst>
                                    <p:cond delay="0"/>
                                  </p:stCondLst>
                                  <p:childTnLst>
                                    <p:set>
                                      <p:cBhvr>
                                        <p:cTn id="11" dur="1" fill="hold">
                                          <p:stCondLst>
                                            <p:cond delay="0"/>
                                          </p:stCondLst>
                                        </p:cTn>
                                        <p:tgtEl>
                                          <p:spTgt spid="11"/>
                                        </p:tgtEl>
                                        <p:attrNameLst>
                                          <p:attrName>style.visibility</p:attrName>
                                        </p:attrNameLst>
                                      </p:cBhvr>
                                      <p:to>
                                        <p:strVal val="visible"/>
                                      </p:to>
                                    </p:set>
                                    <p:anim calcmode="lin" valueType="num">
                                      <p:cBhvr additive="base">
                                        <p:cTn id="12" dur="500" fill="hold"/>
                                        <p:tgtEl>
                                          <p:spTgt spid="11"/>
                                        </p:tgtEl>
                                        <p:attrNameLst>
                                          <p:attrName>ppt_x</p:attrName>
                                        </p:attrNameLst>
                                      </p:cBhvr>
                                      <p:tavLst>
                                        <p:tav tm="0">
                                          <p:val>
                                            <p:strVal val="0-#ppt_w/2"/>
                                          </p:val>
                                        </p:tav>
                                        <p:tav tm="100000">
                                          <p:val>
                                            <p:strVal val="#ppt_x"/>
                                          </p:val>
                                        </p:tav>
                                      </p:tavLst>
                                    </p:anim>
                                    <p:anim calcmode="lin" valueType="num">
                                      <p:cBhvr additive="base">
                                        <p:cTn id="13" dur="500" fill="hold"/>
                                        <p:tgtEl>
                                          <p:spTgt spid="11"/>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8" fill="hold" nodeType="afterEffect">
                                  <p:stCondLst>
                                    <p:cond delay="0"/>
                                  </p:stCondLst>
                                  <p:childTnLst>
                                    <p:set>
                                      <p:cBhvr>
                                        <p:cTn id="16" dur="1" fill="hold">
                                          <p:stCondLst>
                                            <p:cond delay="0"/>
                                          </p:stCondLst>
                                        </p:cTn>
                                        <p:tgtEl>
                                          <p:spTgt spid="14"/>
                                        </p:tgtEl>
                                        <p:attrNameLst>
                                          <p:attrName>style.visibility</p:attrName>
                                        </p:attrNameLst>
                                      </p:cBhvr>
                                      <p:to>
                                        <p:strVal val="visible"/>
                                      </p:to>
                                    </p:set>
                                    <p:anim calcmode="lin" valueType="num">
                                      <p:cBhvr additive="base">
                                        <p:cTn id="17" dur="500" fill="hold"/>
                                        <p:tgtEl>
                                          <p:spTgt spid="14"/>
                                        </p:tgtEl>
                                        <p:attrNameLst>
                                          <p:attrName>ppt_x</p:attrName>
                                        </p:attrNameLst>
                                      </p:cBhvr>
                                      <p:tavLst>
                                        <p:tav tm="0">
                                          <p:val>
                                            <p:strVal val="0-#ppt_w/2"/>
                                          </p:val>
                                        </p:tav>
                                        <p:tav tm="100000">
                                          <p:val>
                                            <p:strVal val="#ppt_x"/>
                                          </p:val>
                                        </p:tav>
                                      </p:tavLst>
                                    </p:anim>
                                    <p:anim calcmode="lin" valueType="num">
                                      <p:cBhvr additive="base">
                                        <p:cTn id="18" dur="5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a:t>從</a:t>
            </a:r>
            <a:r>
              <a:rPr lang="en-AU" altLang="zh-TW" dirty="0"/>
              <a:t> Power BI Desktop </a:t>
            </a:r>
            <a:r>
              <a:rPr lang="zh-TW" altLang="en-US" dirty="0"/>
              <a:t>開始</a:t>
            </a:r>
            <a:endParaRPr lang="en-US" dirty="0"/>
          </a:p>
        </p:txBody>
      </p:sp>
      <p:sp>
        <p:nvSpPr>
          <p:cNvPr id="3" name="Content Placeholder 2"/>
          <p:cNvSpPr>
            <a:spLocks noGrp="1"/>
          </p:cNvSpPr>
          <p:nvPr>
            <p:ph sz="quarter" idx="10"/>
          </p:nvPr>
        </p:nvSpPr>
        <p:spPr/>
        <p:txBody>
          <a:bodyPr/>
          <a:lstStyle/>
          <a:p>
            <a:r>
              <a:rPr lang="en-AU" dirty="0"/>
              <a:t>User experience: Report view</a:t>
            </a:r>
            <a:endParaRPr lang="en-US" dirty="0"/>
          </a:p>
        </p:txBody>
      </p:sp>
      <p:sp>
        <p:nvSpPr>
          <p:cNvPr id="4" name="Text Placeholder 3"/>
          <p:cNvSpPr>
            <a:spLocks noGrp="1"/>
          </p:cNvSpPr>
          <p:nvPr>
            <p:ph type="body" sz="quarter" idx="11"/>
          </p:nvPr>
        </p:nvSpPr>
        <p:spPr/>
        <p:txBody>
          <a:bodyPr/>
          <a:lstStyle/>
          <a:p>
            <a:r>
              <a:rPr lang="en-US" dirty="0"/>
              <a:t>Work in </a:t>
            </a:r>
            <a:r>
              <a:rPr lang="en-US" b="1" dirty="0"/>
              <a:t>Report View </a:t>
            </a:r>
            <a:r>
              <a:rPr lang="en-US" dirty="0"/>
              <a:t>to create any number of report pages with visualizations</a:t>
            </a:r>
          </a:p>
          <a:p>
            <a:pPr lvl="1"/>
            <a:r>
              <a:rPr lang="en-US" dirty="0"/>
              <a:t>It provides almost the same design experience as the report Editing View in the Power BI service</a:t>
            </a:r>
          </a:p>
          <a:p>
            <a:pPr lvl="1"/>
            <a:r>
              <a:rPr lang="en-US" dirty="0"/>
              <a:t>A report will have at least one blank page to start, and any number of pages can be added</a:t>
            </a:r>
          </a:p>
          <a:p>
            <a:pPr lvl="1"/>
            <a:r>
              <a:rPr lang="en-US" dirty="0"/>
              <a:t>Pages appear, and can be managed, in the navigator pane</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4547" y="5124661"/>
            <a:ext cx="3877673" cy="1377242"/>
          </a:xfrm>
          <a:prstGeom prst="rect">
            <a:avLst/>
          </a:prstGeom>
        </p:spPr>
      </p:pic>
    </p:spTree>
    <p:extLst>
      <p:ext uri="{BB962C8B-B14F-4D97-AF65-F5344CB8AC3E}">
        <p14:creationId xmlns:p14="http://schemas.microsoft.com/office/powerpoint/2010/main" val="1166767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Introducing Power BI Desktop</a:t>
            </a:r>
            <a:endParaRPr lang="en-US" dirty="0"/>
          </a:p>
        </p:txBody>
      </p:sp>
      <p:sp>
        <p:nvSpPr>
          <p:cNvPr id="3" name="Content Placeholder 2"/>
          <p:cNvSpPr>
            <a:spLocks noGrp="1"/>
          </p:cNvSpPr>
          <p:nvPr>
            <p:ph sz="quarter" idx="10"/>
          </p:nvPr>
        </p:nvSpPr>
        <p:spPr/>
        <p:txBody>
          <a:bodyPr/>
          <a:lstStyle/>
          <a:p>
            <a:r>
              <a:rPr lang="en-AU" dirty="0"/>
              <a:t>User experience: Report view: Continued</a:t>
            </a:r>
            <a:endParaRPr lang="en-US" dirty="0"/>
          </a:p>
        </p:txBody>
      </p:sp>
      <p:sp>
        <p:nvSpPr>
          <p:cNvPr id="4" name="Text Placeholder 3"/>
          <p:cNvSpPr>
            <a:spLocks noGrp="1"/>
          </p:cNvSpPr>
          <p:nvPr>
            <p:ph type="body" sz="quarter" idx="11"/>
          </p:nvPr>
        </p:nvSpPr>
        <p:spPr/>
        <p:txBody>
          <a:bodyPr>
            <a:normAutofit fontScale="92500"/>
          </a:bodyPr>
          <a:lstStyle/>
          <a:p>
            <a:r>
              <a:rPr lang="en-US" dirty="0"/>
              <a:t>The intent of the application is to land the user on the report canvas as quickly as possible</a:t>
            </a:r>
          </a:p>
          <a:p>
            <a:pPr lvl="1"/>
            <a:r>
              <a:rPr lang="en-AU" dirty="0"/>
              <a:t>Built-in intelligence will often infer relationships, and detect data types and categories</a:t>
            </a:r>
          </a:p>
          <a:p>
            <a:pPr lvl="1"/>
            <a:r>
              <a:rPr lang="en-AU" dirty="0"/>
              <a:t>Evidence suggests that most schemas are relatively simple, and so the optimized path is: Load data </a:t>
            </a:r>
            <a:r>
              <a:rPr lang="en-AU" dirty="0">
                <a:latin typeface="Courier New" panose="02070309020205020404" pitchFamily="49" charset="0"/>
                <a:cs typeface="Courier New" panose="02070309020205020404" pitchFamily="49" charset="0"/>
              </a:rPr>
              <a:t>►</a:t>
            </a:r>
            <a:r>
              <a:rPr lang="en-AU" dirty="0"/>
              <a:t> Visualize</a:t>
            </a:r>
          </a:p>
          <a:p>
            <a:r>
              <a:rPr lang="en-AU" dirty="0"/>
              <a:t>Many </a:t>
            </a:r>
            <a:r>
              <a:rPr lang="en-US" dirty="0"/>
              <a:t>model</a:t>
            </a:r>
            <a:r>
              <a:rPr lang="en-AU" dirty="0"/>
              <a:t> transformations can be applied while working in Report View</a:t>
            </a:r>
          </a:p>
          <a:p>
            <a:pPr lvl="1"/>
            <a:r>
              <a:rPr lang="en-AU" dirty="0"/>
              <a:t>Change data types, formats, calculation formulas</a:t>
            </a:r>
          </a:p>
          <a:p>
            <a:pPr lvl="1"/>
            <a:r>
              <a:rPr lang="en-AU" dirty="0"/>
              <a:t>Rename fields</a:t>
            </a:r>
          </a:p>
          <a:p>
            <a:pPr lvl="1"/>
            <a:r>
              <a:rPr lang="en-AU" dirty="0"/>
              <a:t>Sort columns</a:t>
            </a:r>
          </a:p>
          <a:p>
            <a:pPr lvl="1"/>
            <a:r>
              <a:rPr lang="en-AU" dirty="0"/>
              <a:t>Manage relationships</a:t>
            </a:r>
          </a:p>
        </p:txBody>
      </p:sp>
      <p:sp>
        <p:nvSpPr>
          <p:cNvPr id="6" name="TextBox 5"/>
          <p:cNvSpPr txBox="1"/>
          <p:nvPr/>
        </p:nvSpPr>
        <p:spPr>
          <a:xfrm>
            <a:off x="7194619" y="5014124"/>
            <a:ext cx="4431326" cy="1541961"/>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a:t>
            </a:r>
            <a:r>
              <a:rPr lang="en-US" dirty="0">
                <a:gradFill>
                  <a:gsLst>
                    <a:gs pos="2917">
                      <a:schemeClr val="tx1"/>
                    </a:gs>
                    <a:gs pos="30000">
                      <a:schemeClr val="tx1"/>
                    </a:gs>
                  </a:gsLst>
                  <a:lin ang="5400000" scaled="0"/>
                </a:gradFill>
              </a:rPr>
              <a:t>The versatility of Report View, and the immediate visualization of model transformations, is a strong competitive advantage over many other data analysis and reporting products</a:t>
            </a:r>
          </a:p>
        </p:txBody>
      </p:sp>
    </p:spTree>
    <p:extLst>
      <p:ext uri="{BB962C8B-B14F-4D97-AF65-F5344CB8AC3E}">
        <p14:creationId xmlns:p14="http://schemas.microsoft.com/office/powerpoint/2010/main" val="2462565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Introducing Power BI Desktop</a:t>
            </a:r>
            <a:endParaRPr lang="en-US" dirty="0"/>
          </a:p>
        </p:txBody>
      </p:sp>
      <p:sp>
        <p:nvSpPr>
          <p:cNvPr id="3" name="Content Placeholder 2"/>
          <p:cNvSpPr>
            <a:spLocks noGrp="1"/>
          </p:cNvSpPr>
          <p:nvPr>
            <p:ph sz="quarter" idx="10"/>
          </p:nvPr>
        </p:nvSpPr>
        <p:spPr/>
        <p:txBody>
          <a:bodyPr/>
          <a:lstStyle/>
          <a:p>
            <a:r>
              <a:rPr lang="en-AU" dirty="0"/>
              <a:t>User experience: Data view</a:t>
            </a:r>
            <a:endParaRPr lang="en-US" dirty="0"/>
          </a:p>
        </p:txBody>
      </p:sp>
      <p:sp>
        <p:nvSpPr>
          <p:cNvPr id="4" name="Text Placeholder 3"/>
          <p:cNvSpPr>
            <a:spLocks noGrp="1"/>
          </p:cNvSpPr>
          <p:nvPr>
            <p:ph type="body" sz="quarter" idx="11"/>
          </p:nvPr>
        </p:nvSpPr>
        <p:spPr/>
        <p:txBody>
          <a:bodyPr>
            <a:normAutofit/>
          </a:bodyPr>
          <a:lstStyle/>
          <a:p>
            <a:r>
              <a:rPr lang="en-US" dirty="0"/>
              <a:t>Work in </a:t>
            </a:r>
            <a:r>
              <a:rPr lang="en-US" b="1" dirty="0"/>
              <a:t>Data View </a:t>
            </a:r>
            <a:r>
              <a:rPr lang="en-US" dirty="0"/>
              <a:t>to inspect, explore, and understand data in the model</a:t>
            </a:r>
          </a:p>
          <a:p>
            <a:pPr lvl="1"/>
            <a:r>
              <a:rPr lang="en-US" dirty="0"/>
              <a:t>It is a different experience from how you can view tables, columns, and data in </a:t>
            </a:r>
            <a:r>
              <a:rPr lang="en-US" b="1" dirty="0"/>
              <a:t>Query Editor</a:t>
            </a:r>
          </a:p>
          <a:p>
            <a:pPr lvl="1"/>
            <a:r>
              <a:rPr lang="en-US" dirty="0"/>
              <a:t>This is a view of the data </a:t>
            </a:r>
            <a:r>
              <a:rPr lang="en-US" u="sng" dirty="0"/>
              <a:t>after it has been loaded</a:t>
            </a:r>
            <a:r>
              <a:rPr lang="en-US" dirty="0"/>
              <a:t> into the model</a:t>
            </a:r>
          </a:p>
          <a:p>
            <a:pPr marL="1054" lvl="1" indent="0">
              <a:buNone/>
            </a:pPr>
            <a:endParaRPr lang="en-US" dirty="0"/>
          </a:p>
          <a:p>
            <a:endParaRPr lang="en-US" dirty="0"/>
          </a:p>
        </p:txBody>
      </p:sp>
      <p:pic>
        <p:nvPicPr>
          <p:cNvPr id="7" name="Picture 6"/>
          <p:cNvPicPr>
            <a:picLocks noChangeAspect="1"/>
          </p:cNvPicPr>
          <p:nvPr/>
        </p:nvPicPr>
        <p:blipFill rotWithShape="1">
          <a:blip r:embed="rId3"/>
          <a:srcRect r="10959"/>
          <a:stretch/>
        </p:blipFill>
        <p:spPr>
          <a:xfrm>
            <a:off x="526221" y="4303712"/>
            <a:ext cx="5843757" cy="2221514"/>
          </a:xfrm>
          <a:prstGeom prst="rect">
            <a:avLst/>
          </a:prstGeom>
        </p:spPr>
      </p:pic>
    </p:spTree>
    <p:extLst>
      <p:ext uri="{BB962C8B-B14F-4D97-AF65-F5344CB8AC3E}">
        <p14:creationId xmlns:p14="http://schemas.microsoft.com/office/powerpoint/2010/main" val="772651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7" name="Group 86"/>
          <p:cNvGrpSpPr/>
          <p:nvPr/>
        </p:nvGrpSpPr>
        <p:grpSpPr>
          <a:xfrm>
            <a:off x="0" y="1448851"/>
            <a:ext cx="12192000" cy="5849640"/>
            <a:chOff x="0" y="1448851"/>
            <a:chExt cx="12192000" cy="5849640"/>
          </a:xfrm>
        </p:grpSpPr>
        <p:sp>
          <p:nvSpPr>
            <p:cNvPr id="50" name="Flowchart: Document 3"/>
            <p:cNvSpPr/>
            <p:nvPr/>
          </p:nvSpPr>
          <p:spPr bwMode="auto">
            <a:xfrm flipH="1" flipV="1">
              <a:off x="0" y="1448851"/>
              <a:ext cx="12192000" cy="5849640"/>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53" name="Group 52"/>
            <p:cNvGrpSpPr/>
            <p:nvPr/>
          </p:nvGrpSpPr>
          <p:grpSpPr>
            <a:xfrm>
              <a:off x="9070849" y="1595305"/>
              <a:ext cx="2900486" cy="775330"/>
              <a:chOff x="9144795" y="1677837"/>
              <a:chExt cx="2900486" cy="775330"/>
            </a:xfrm>
            <a:solidFill>
              <a:srgbClr val="EDC30D"/>
            </a:solidFill>
          </p:grpSpPr>
          <p:sp>
            <p:nvSpPr>
              <p:cNvPr id="54" name="Freeform 13"/>
              <p:cNvSpPr>
                <a:spLocks noChangeAspect="1" noEditPoints="1"/>
              </p:cNvSpPr>
              <p:nvPr/>
            </p:nvSpPr>
            <p:spPr bwMode="auto">
              <a:xfrm>
                <a:off x="11387797" y="1748186"/>
                <a:ext cx="657484" cy="667042"/>
              </a:xfrm>
              <a:custGeom>
                <a:avLst/>
                <a:gdLst>
                  <a:gd name="T0" fmla="*/ 147 w 288"/>
                  <a:gd name="T1" fmla="*/ 116 h 293"/>
                  <a:gd name="T2" fmla="*/ 147 w 288"/>
                  <a:gd name="T3" fmla="*/ 116 h 293"/>
                  <a:gd name="T4" fmla="*/ 147 w 288"/>
                  <a:gd name="T5" fmla="*/ 116 h 293"/>
                  <a:gd name="T6" fmla="*/ 203 w 288"/>
                  <a:gd name="T7" fmla="*/ 58 h 293"/>
                  <a:gd name="T8" fmla="*/ 146 w 288"/>
                  <a:gd name="T9" fmla="*/ 1 h 293"/>
                  <a:gd name="T10" fmla="*/ 106 w 288"/>
                  <a:gd name="T11" fmla="*/ 18 h 293"/>
                  <a:gd name="T12" fmla="*/ 90 w 288"/>
                  <a:gd name="T13" fmla="*/ 59 h 293"/>
                  <a:gd name="T14" fmla="*/ 107 w 288"/>
                  <a:gd name="T15" fmla="*/ 99 h 293"/>
                  <a:gd name="T16" fmla="*/ 147 w 288"/>
                  <a:gd name="T17" fmla="*/ 116 h 293"/>
                  <a:gd name="T18" fmla="*/ 240 w 288"/>
                  <a:gd name="T19" fmla="*/ 293 h 293"/>
                  <a:gd name="T20" fmla="*/ 288 w 288"/>
                  <a:gd name="T21" fmla="*/ 292 h 293"/>
                  <a:gd name="T22" fmla="*/ 255 w 288"/>
                  <a:gd name="T23" fmla="*/ 185 h 293"/>
                  <a:gd name="T24" fmla="*/ 189 w 288"/>
                  <a:gd name="T25" fmla="*/ 135 h 293"/>
                  <a:gd name="T26" fmla="*/ 172 w 288"/>
                  <a:gd name="T27" fmla="*/ 135 h 293"/>
                  <a:gd name="T28" fmla="*/ 172 w 288"/>
                  <a:gd name="T29" fmla="*/ 136 h 293"/>
                  <a:gd name="T30" fmla="*/ 173 w 288"/>
                  <a:gd name="T31" fmla="*/ 137 h 293"/>
                  <a:gd name="T32" fmla="*/ 172 w 288"/>
                  <a:gd name="T33" fmla="*/ 139 h 293"/>
                  <a:gd name="T34" fmla="*/ 161 w 288"/>
                  <a:gd name="T35" fmla="*/ 155 h 293"/>
                  <a:gd name="T36" fmla="*/ 173 w 288"/>
                  <a:gd name="T37" fmla="*/ 232 h 293"/>
                  <a:gd name="T38" fmla="*/ 148 w 288"/>
                  <a:gd name="T39" fmla="*/ 263 h 293"/>
                  <a:gd name="T40" fmla="*/ 138 w 288"/>
                  <a:gd name="T41" fmla="*/ 250 h 293"/>
                  <a:gd name="T42" fmla="*/ 123 w 288"/>
                  <a:gd name="T43" fmla="*/ 233 h 293"/>
                  <a:gd name="T44" fmla="*/ 133 w 288"/>
                  <a:gd name="T45" fmla="*/ 155 h 293"/>
                  <a:gd name="T46" fmla="*/ 122 w 288"/>
                  <a:gd name="T47" fmla="*/ 139 h 293"/>
                  <a:gd name="T48" fmla="*/ 122 w 288"/>
                  <a:gd name="T49" fmla="*/ 138 h 293"/>
                  <a:gd name="T50" fmla="*/ 122 w 288"/>
                  <a:gd name="T51" fmla="*/ 136 h 293"/>
                  <a:gd name="T52" fmla="*/ 122 w 288"/>
                  <a:gd name="T53" fmla="*/ 135 h 293"/>
                  <a:gd name="T54" fmla="*/ 101 w 288"/>
                  <a:gd name="T55" fmla="*/ 135 h 293"/>
                  <a:gd name="T56" fmla="*/ 33 w 288"/>
                  <a:gd name="T57" fmla="*/ 185 h 293"/>
                  <a:gd name="T58" fmla="*/ 0 w 288"/>
                  <a:gd name="T59" fmla="*/ 293 h 293"/>
                  <a:gd name="T60" fmla="*/ 49 w 288"/>
                  <a:gd name="T61" fmla="*/ 293 h 293"/>
                  <a:gd name="T62" fmla="*/ 69 w 288"/>
                  <a:gd name="T63" fmla="*/ 222 h 293"/>
                  <a:gd name="T64" fmla="*/ 84 w 288"/>
                  <a:gd name="T65" fmla="*/ 222 h 293"/>
                  <a:gd name="T66" fmla="*/ 63 w 288"/>
                  <a:gd name="T67" fmla="*/ 293 h 293"/>
                  <a:gd name="T68" fmla="*/ 225 w 288"/>
                  <a:gd name="T69" fmla="*/ 293 h 293"/>
                  <a:gd name="T70" fmla="*/ 205 w 288"/>
                  <a:gd name="T71" fmla="*/ 221 h 293"/>
                  <a:gd name="T72" fmla="*/ 219 w 288"/>
                  <a:gd name="T73" fmla="*/ 221 h 293"/>
                  <a:gd name="T74" fmla="*/ 240 w 288"/>
                  <a:gd name="T75" fmla="*/ 293 h 293"/>
                  <a:gd name="T76" fmla="*/ 154 w 288"/>
                  <a:gd name="T77" fmla="*/ 150 h 293"/>
                  <a:gd name="T78" fmla="*/ 164 w 288"/>
                  <a:gd name="T79" fmla="*/ 138 h 293"/>
                  <a:gd name="T80" fmla="*/ 164 w 288"/>
                  <a:gd name="T81" fmla="*/ 137 h 293"/>
                  <a:gd name="T82" fmla="*/ 162 w 288"/>
                  <a:gd name="T83" fmla="*/ 135 h 293"/>
                  <a:gd name="T84" fmla="*/ 158 w 288"/>
                  <a:gd name="T85" fmla="*/ 132 h 293"/>
                  <a:gd name="T86" fmla="*/ 147 w 288"/>
                  <a:gd name="T87" fmla="*/ 130 h 293"/>
                  <a:gd name="T88" fmla="*/ 137 w 288"/>
                  <a:gd name="T89" fmla="*/ 132 h 293"/>
                  <a:gd name="T90" fmla="*/ 132 w 288"/>
                  <a:gd name="T91" fmla="*/ 135 h 293"/>
                  <a:gd name="T92" fmla="*/ 131 w 288"/>
                  <a:gd name="T93" fmla="*/ 138 h 293"/>
                  <a:gd name="T94" fmla="*/ 131 w 288"/>
                  <a:gd name="T95" fmla="*/ 138 h 293"/>
                  <a:gd name="T96" fmla="*/ 140 w 288"/>
                  <a:gd name="T97" fmla="*/ 150 h 293"/>
                  <a:gd name="T98" fmla="*/ 143 w 288"/>
                  <a:gd name="T99" fmla="*/ 152 h 293"/>
                  <a:gd name="T100" fmla="*/ 132 w 288"/>
                  <a:gd name="T101" fmla="*/ 230 h 293"/>
                  <a:gd name="T102" fmla="*/ 144 w 288"/>
                  <a:gd name="T103" fmla="*/ 244 h 293"/>
                  <a:gd name="T104" fmla="*/ 146 w 288"/>
                  <a:gd name="T105" fmla="*/ 247 h 293"/>
                  <a:gd name="T106" fmla="*/ 148 w 288"/>
                  <a:gd name="T107" fmla="*/ 249 h 293"/>
                  <a:gd name="T108" fmla="*/ 150 w 288"/>
                  <a:gd name="T109" fmla="*/ 247 h 293"/>
                  <a:gd name="T110" fmla="*/ 152 w 288"/>
                  <a:gd name="T111" fmla="*/ 244 h 293"/>
                  <a:gd name="T112" fmla="*/ 164 w 288"/>
                  <a:gd name="T113" fmla="*/ 230 h 293"/>
                  <a:gd name="T114" fmla="*/ 152 w 288"/>
                  <a:gd name="T115" fmla="*/ 152 h 293"/>
                  <a:gd name="T116" fmla="*/ 154 w 288"/>
                  <a:gd name="T117" fmla="*/ 15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293">
                    <a:moveTo>
                      <a:pt x="147" y="116"/>
                    </a:moveTo>
                    <a:cubicBezTo>
                      <a:pt x="147" y="116"/>
                      <a:pt x="147" y="116"/>
                      <a:pt x="147" y="116"/>
                    </a:cubicBezTo>
                    <a:cubicBezTo>
                      <a:pt x="147" y="116"/>
                      <a:pt x="147" y="116"/>
                      <a:pt x="147" y="116"/>
                    </a:cubicBezTo>
                    <a:cubicBezTo>
                      <a:pt x="178" y="115"/>
                      <a:pt x="203" y="89"/>
                      <a:pt x="203" y="58"/>
                    </a:cubicBezTo>
                    <a:cubicBezTo>
                      <a:pt x="202" y="26"/>
                      <a:pt x="177" y="0"/>
                      <a:pt x="146" y="1"/>
                    </a:cubicBezTo>
                    <a:cubicBezTo>
                      <a:pt x="131" y="1"/>
                      <a:pt x="117" y="7"/>
                      <a:pt x="106" y="18"/>
                    </a:cubicBezTo>
                    <a:cubicBezTo>
                      <a:pt x="96" y="29"/>
                      <a:pt x="90" y="43"/>
                      <a:pt x="90" y="59"/>
                    </a:cubicBezTo>
                    <a:cubicBezTo>
                      <a:pt x="90" y="74"/>
                      <a:pt x="96" y="89"/>
                      <a:pt x="107" y="99"/>
                    </a:cubicBezTo>
                    <a:cubicBezTo>
                      <a:pt x="118" y="110"/>
                      <a:pt x="132" y="116"/>
                      <a:pt x="147" y="116"/>
                    </a:cubicBezTo>
                    <a:close/>
                    <a:moveTo>
                      <a:pt x="240" y="293"/>
                    </a:moveTo>
                    <a:cubicBezTo>
                      <a:pt x="288" y="292"/>
                      <a:pt x="288" y="292"/>
                      <a:pt x="288" y="292"/>
                    </a:cubicBezTo>
                    <a:cubicBezTo>
                      <a:pt x="255" y="185"/>
                      <a:pt x="255" y="185"/>
                      <a:pt x="255" y="185"/>
                    </a:cubicBezTo>
                    <a:cubicBezTo>
                      <a:pt x="250" y="167"/>
                      <a:pt x="228" y="136"/>
                      <a:pt x="189" y="135"/>
                    </a:cubicBezTo>
                    <a:cubicBezTo>
                      <a:pt x="172" y="135"/>
                      <a:pt x="172" y="135"/>
                      <a:pt x="172" y="135"/>
                    </a:cubicBezTo>
                    <a:cubicBezTo>
                      <a:pt x="172" y="135"/>
                      <a:pt x="172" y="135"/>
                      <a:pt x="172" y="136"/>
                    </a:cubicBezTo>
                    <a:cubicBezTo>
                      <a:pt x="173" y="137"/>
                      <a:pt x="173" y="137"/>
                      <a:pt x="173" y="137"/>
                    </a:cubicBezTo>
                    <a:cubicBezTo>
                      <a:pt x="172" y="139"/>
                      <a:pt x="172" y="139"/>
                      <a:pt x="172" y="139"/>
                    </a:cubicBezTo>
                    <a:cubicBezTo>
                      <a:pt x="172" y="143"/>
                      <a:pt x="168" y="148"/>
                      <a:pt x="161" y="155"/>
                    </a:cubicBezTo>
                    <a:cubicBezTo>
                      <a:pt x="173" y="232"/>
                      <a:pt x="173" y="232"/>
                      <a:pt x="173" y="232"/>
                    </a:cubicBezTo>
                    <a:cubicBezTo>
                      <a:pt x="148" y="263"/>
                      <a:pt x="148" y="263"/>
                      <a:pt x="148" y="263"/>
                    </a:cubicBezTo>
                    <a:cubicBezTo>
                      <a:pt x="138" y="250"/>
                      <a:pt x="138" y="250"/>
                      <a:pt x="138" y="250"/>
                    </a:cubicBezTo>
                    <a:cubicBezTo>
                      <a:pt x="123" y="233"/>
                      <a:pt x="123" y="233"/>
                      <a:pt x="123" y="233"/>
                    </a:cubicBezTo>
                    <a:cubicBezTo>
                      <a:pt x="133" y="155"/>
                      <a:pt x="133" y="155"/>
                      <a:pt x="133" y="155"/>
                    </a:cubicBezTo>
                    <a:cubicBezTo>
                      <a:pt x="126" y="149"/>
                      <a:pt x="122" y="143"/>
                      <a:pt x="122" y="139"/>
                    </a:cubicBezTo>
                    <a:cubicBezTo>
                      <a:pt x="122" y="138"/>
                      <a:pt x="122" y="138"/>
                      <a:pt x="122" y="138"/>
                    </a:cubicBezTo>
                    <a:cubicBezTo>
                      <a:pt x="122" y="136"/>
                      <a:pt x="122" y="136"/>
                      <a:pt x="122" y="136"/>
                    </a:cubicBezTo>
                    <a:cubicBezTo>
                      <a:pt x="122" y="136"/>
                      <a:pt x="122" y="135"/>
                      <a:pt x="122" y="135"/>
                    </a:cubicBezTo>
                    <a:cubicBezTo>
                      <a:pt x="101" y="135"/>
                      <a:pt x="101" y="135"/>
                      <a:pt x="101" y="135"/>
                    </a:cubicBezTo>
                    <a:cubicBezTo>
                      <a:pt x="61" y="135"/>
                      <a:pt x="39" y="167"/>
                      <a:pt x="33" y="185"/>
                    </a:cubicBezTo>
                    <a:cubicBezTo>
                      <a:pt x="0" y="293"/>
                      <a:pt x="0" y="293"/>
                      <a:pt x="0" y="293"/>
                    </a:cubicBezTo>
                    <a:cubicBezTo>
                      <a:pt x="49" y="293"/>
                      <a:pt x="49" y="293"/>
                      <a:pt x="49" y="293"/>
                    </a:cubicBezTo>
                    <a:cubicBezTo>
                      <a:pt x="69" y="222"/>
                      <a:pt x="69" y="222"/>
                      <a:pt x="69" y="222"/>
                    </a:cubicBezTo>
                    <a:cubicBezTo>
                      <a:pt x="84" y="222"/>
                      <a:pt x="84" y="222"/>
                      <a:pt x="84" y="222"/>
                    </a:cubicBezTo>
                    <a:cubicBezTo>
                      <a:pt x="63" y="293"/>
                      <a:pt x="63" y="293"/>
                      <a:pt x="63" y="293"/>
                    </a:cubicBezTo>
                    <a:cubicBezTo>
                      <a:pt x="225" y="293"/>
                      <a:pt x="225" y="293"/>
                      <a:pt x="225" y="293"/>
                    </a:cubicBezTo>
                    <a:cubicBezTo>
                      <a:pt x="205" y="221"/>
                      <a:pt x="205" y="221"/>
                      <a:pt x="205" y="221"/>
                    </a:cubicBezTo>
                    <a:cubicBezTo>
                      <a:pt x="219" y="221"/>
                      <a:pt x="219" y="221"/>
                      <a:pt x="219" y="221"/>
                    </a:cubicBezTo>
                    <a:lnTo>
                      <a:pt x="240" y="293"/>
                    </a:lnTo>
                    <a:close/>
                    <a:moveTo>
                      <a:pt x="154" y="150"/>
                    </a:moveTo>
                    <a:cubicBezTo>
                      <a:pt x="163" y="142"/>
                      <a:pt x="164" y="138"/>
                      <a:pt x="164" y="138"/>
                    </a:cubicBezTo>
                    <a:cubicBezTo>
                      <a:pt x="164" y="137"/>
                      <a:pt x="164" y="137"/>
                      <a:pt x="164" y="137"/>
                    </a:cubicBezTo>
                    <a:cubicBezTo>
                      <a:pt x="164" y="137"/>
                      <a:pt x="163" y="136"/>
                      <a:pt x="162" y="135"/>
                    </a:cubicBezTo>
                    <a:cubicBezTo>
                      <a:pt x="161" y="134"/>
                      <a:pt x="160" y="133"/>
                      <a:pt x="158" y="132"/>
                    </a:cubicBezTo>
                    <a:cubicBezTo>
                      <a:pt x="155" y="131"/>
                      <a:pt x="151" y="130"/>
                      <a:pt x="147" y="130"/>
                    </a:cubicBezTo>
                    <a:cubicBezTo>
                      <a:pt x="144" y="130"/>
                      <a:pt x="140" y="131"/>
                      <a:pt x="137" y="132"/>
                    </a:cubicBezTo>
                    <a:cubicBezTo>
                      <a:pt x="135" y="133"/>
                      <a:pt x="133" y="134"/>
                      <a:pt x="132" y="135"/>
                    </a:cubicBezTo>
                    <a:cubicBezTo>
                      <a:pt x="131" y="136"/>
                      <a:pt x="131" y="137"/>
                      <a:pt x="131" y="138"/>
                    </a:cubicBezTo>
                    <a:cubicBezTo>
                      <a:pt x="131" y="138"/>
                      <a:pt x="131" y="138"/>
                      <a:pt x="131" y="138"/>
                    </a:cubicBezTo>
                    <a:cubicBezTo>
                      <a:pt x="131" y="138"/>
                      <a:pt x="131" y="142"/>
                      <a:pt x="140" y="150"/>
                    </a:cubicBezTo>
                    <a:cubicBezTo>
                      <a:pt x="143" y="152"/>
                      <a:pt x="143" y="152"/>
                      <a:pt x="143" y="152"/>
                    </a:cubicBezTo>
                    <a:cubicBezTo>
                      <a:pt x="132" y="230"/>
                      <a:pt x="132" y="230"/>
                      <a:pt x="132" y="230"/>
                    </a:cubicBezTo>
                    <a:cubicBezTo>
                      <a:pt x="144" y="244"/>
                      <a:pt x="144" y="244"/>
                      <a:pt x="144" y="244"/>
                    </a:cubicBezTo>
                    <a:cubicBezTo>
                      <a:pt x="146" y="247"/>
                      <a:pt x="146" y="247"/>
                      <a:pt x="146" y="247"/>
                    </a:cubicBezTo>
                    <a:cubicBezTo>
                      <a:pt x="148" y="249"/>
                      <a:pt x="148" y="249"/>
                      <a:pt x="148" y="249"/>
                    </a:cubicBezTo>
                    <a:cubicBezTo>
                      <a:pt x="150" y="247"/>
                      <a:pt x="150" y="247"/>
                      <a:pt x="150" y="247"/>
                    </a:cubicBezTo>
                    <a:cubicBezTo>
                      <a:pt x="152" y="244"/>
                      <a:pt x="152" y="244"/>
                      <a:pt x="152" y="244"/>
                    </a:cubicBezTo>
                    <a:cubicBezTo>
                      <a:pt x="164" y="230"/>
                      <a:pt x="164" y="230"/>
                      <a:pt x="164" y="230"/>
                    </a:cubicBezTo>
                    <a:cubicBezTo>
                      <a:pt x="152" y="152"/>
                      <a:pt x="152" y="152"/>
                      <a:pt x="152" y="152"/>
                    </a:cubicBezTo>
                    <a:lnTo>
                      <a:pt x="154" y="150"/>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55" name="Freeform 25"/>
              <p:cNvSpPr>
                <a:spLocks noChangeAspect="1" noEditPoints="1"/>
              </p:cNvSpPr>
              <p:nvPr/>
            </p:nvSpPr>
            <p:spPr bwMode="auto">
              <a:xfrm>
                <a:off x="10640907" y="1677837"/>
                <a:ext cx="637477" cy="685800"/>
              </a:xfrm>
              <a:custGeom>
                <a:avLst/>
                <a:gdLst>
                  <a:gd name="T0" fmla="*/ 106 w 287"/>
                  <a:gd name="T1" fmla="*/ 17 h 309"/>
                  <a:gd name="T2" fmla="*/ 147 w 287"/>
                  <a:gd name="T3" fmla="*/ 115 h 309"/>
                  <a:gd name="T4" fmla="*/ 107 w 287"/>
                  <a:gd name="T5" fmla="*/ 99 h 309"/>
                  <a:gd name="T6" fmla="*/ 195 w 287"/>
                  <a:gd name="T7" fmla="*/ 238 h 309"/>
                  <a:gd name="T8" fmla="*/ 207 w 287"/>
                  <a:gd name="T9" fmla="*/ 218 h 309"/>
                  <a:gd name="T10" fmla="*/ 226 w 287"/>
                  <a:gd name="T11" fmla="*/ 216 h 309"/>
                  <a:gd name="T12" fmla="*/ 243 w 287"/>
                  <a:gd name="T13" fmla="*/ 180 h 309"/>
                  <a:gd name="T14" fmla="*/ 241 w 287"/>
                  <a:gd name="T15" fmla="*/ 177 h 309"/>
                  <a:gd name="T16" fmla="*/ 229 w 287"/>
                  <a:gd name="T17" fmla="*/ 191 h 309"/>
                  <a:gd name="T18" fmla="*/ 217 w 287"/>
                  <a:gd name="T19" fmla="*/ 203 h 309"/>
                  <a:gd name="T20" fmla="*/ 208 w 287"/>
                  <a:gd name="T21" fmla="*/ 200 h 309"/>
                  <a:gd name="T22" fmla="*/ 198 w 287"/>
                  <a:gd name="T23" fmla="*/ 191 h 309"/>
                  <a:gd name="T24" fmla="*/ 204 w 287"/>
                  <a:gd name="T25" fmla="*/ 175 h 309"/>
                  <a:gd name="T26" fmla="*/ 217 w 287"/>
                  <a:gd name="T27" fmla="*/ 172 h 309"/>
                  <a:gd name="T28" fmla="*/ 211 w 287"/>
                  <a:gd name="T29" fmla="*/ 157 h 309"/>
                  <a:gd name="T30" fmla="*/ 191 w 287"/>
                  <a:gd name="T31" fmla="*/ 166 h 309"/>
                  <a:gd name="T32" fmla="*/ 189 w 287"/>
                  <a:gd name="T33" fmla="*/ 203 h 309"/>
                  <a:gd name="T34" fmla="*/ 159 w 287"/>
                  <a:gd name="T35" fmla="*/ 250 h 309"/>
                  <a:gd name="T36" fmla="*/ 144 w 287"/>
                  <a:gd name="T37" fmla="*/ 250 h 309"/>
                  <a:gd name="T38" fmla="*/ 128 w 287"/>
                  <a:gd name="T39" fmla="*/ 288 h 309"/>
                  <a:gd name="T40" fmla="*/ 140 w 287"/>
                  <a:gd name="T41" fmla="*/ 287 h 309"/>
                  <a:gd name="T42" fmla="*/ 142 w 287"/>
                  <a:gd name="T43" fmla="*/ 272 h 309"/>
                  <a:gd name="T44" fmla="*/ 163 w 287"/>
                  <a:gd name="T45" fmla="*/ 264 h 309"/>
                  <a:gd name="T46" fmla="*/ 171 w 287"/>
                  <a:gd name="T47" fmla="*/ 279 h 309"/>
                  <a:gd name="T48" fmla="*/ 164 w 287"/>
                  <a:gd name="T49" fmla="*/ 292 h 309"/>
                  <a:gd name="T50" fmla="*/ 154 w 287"/>
                  <a:gd name="T51" fmla="*/ 297 h 309"/>
                  <a:gd name="T52" fmla="*/ 158 w 287"/>
                  <a:gd name="T53" fmla="*/ 309 h 309"/>
                  <a:gd name="T54" fmla="*/ 183 w 287"/>
                  <a:gd name="T55" fmla="*/ 292 h 309"/>
                  <a:gd name="T56" fmla="*/ 187 w 287"/>
                  <a:gd name="T57" fmla="*/ 274 h 309"/>
                  <a:gd name="T58" fmla="*/ 189 w 287"/>
                  <a:gd name="T59" fmla="*/ 134 h 309"/>
                  <a:gd name="T60" fmla="*/ 122 w 287"/>
                  <a:gd name="T61" fmla="*/ 134 h 309"/>
                  <a:gd name="T62" fmla="*/ 109 w 287"/>
                  <a:gd name="T63" fmla="*/ 134 h 309"/>
                  <a:gd name="T64" fmla="*/ 0 w 287"/>
                  <a:gd name="T65" fmla="*/ 292 h 309"/>
                  <a:gd name="T66" fmla="*/ 83 w 287"/>
                  <a:gd name="T67" fmla="*/ 221 h 309"/>
                  <a:gd name="T68" fmla="*/ 119 w 287"/>
                  <a:gd name="T69" fmla="*/ 290 h 309"/>
                  <a:gd name="T70" fmla="*/ 121 w 287"/>
                  <a:gd name="T71" fmla="*/ 261 h 309"/>
                  <a:gd name="T72" fmla="*/ 145 w 287"/>
                  <a:gd name="T73" fmla="*/ 241 h 309"/>
                  <a:gd name="T74" fmla="*/ 181 w 287"/>
                  <a:gd name="T75" fmla="*/ 205 h 309"/>
                  <a:gd name="T76" fmla="*/ 176 w 287"/>
                  <a:gd name="T77" fmla="*/ 194 h 309"/>
                  <a:gd name="T78" fmla="*/ 175 w 287"/>
                  <a:gd name="T79" fmla="*/ 187 h 309"/>
                  <a:gd name="T80" fmla="*/ 207 w 287"/>
                  <a:gd name="T81" fmla="*/ 150 h 309"/>
                  <a:gd name="T82" fmla="*/ 211 w 287"/>
                  <a:gd name="T83" fmla="*/ 149 h 309"/>
                  <a:gd name="T84" fmla="*/ 222 w 287"/>
                  <a:gd name="T85" fmla="*/ 156 h 309"/>
                  <a:gd name="T86" fmla="*/ 225 w 287"/>
                  <a:gd name="T87" fmla="*/ 173 h 309"/>
                  <a:gd name="T88" fmla="*/ 241 w 287"/>
                  <a:gd name="T89" fmla="*/ 169 h 309"/>
                  <a:gd name="T90" fmla="*/ 251 w 287"/>
                  <a:gd name="T91" fmla="*/ 178 h 309"/>
                  <a:gd name="T92" fmla="*/ 254 w 287"/>
                  <a:gd name="T93" fmla="*/ 199 h 309"/>
                  <a:gd name="T94" fmla="*/ 250 w 287"/>
                  <a:gd name="T95" fmla="*/ 204 h 309"/>
                  <a:gd name="T96" fmla="*/ 225 w 287"/>
                  <a:gd name="T97" fmla="*/ 226 h 309"/>
                  <a:gd name="T98" fmla="*/ 220 w 287"/>
                  <a:gd name="T99" fmla="*/ 226 h 309"/>
                  <a:gd name="T100" fmla="*/ 255 w 287"/>
                  <a:gd name="T101" fmla="*/ 184 h 309"/>
                  <a:gd name="T102" fmla="*/ 194 w 287"/>
                  <a:gd name="T103" fmla="*/ 270 h 309"/>
                  <a:gd name="T104" fmla="*/ 195 w 287"/>
                  <a:gd name="T105" fmla="*/ 277 h 309"/>
                  <a:gd name="T106" fmla="*/ 191 w 287"/>
                  <a:gd name="T107" fmla="*/ 292 h 309"/>
                  <a:gd name="T108" fmla="*/ 188 w 287"/>
                  <a:gd name="T109" fmla="*/ 26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7" h="309">
                    <a:moveTo>
                      <a:pt x="107" y="99"/>
                    </a:moveTo>
                    <a:cubicBezTo>
                      <a:pt x="96" y="88"/>
                      <a:pt x="90" y="74"/>
                      <a:pt x="90" y="58"/>
                    </a:cubicBezTo>
                    <a:cubicBezTo>
                      <a:pt x="90" y="43"/>
                      <a:pt x="95" y="28"/>
                      <a:pt x="106" y="17"/>
                    </a:cubicBezTo>
                    <a:cubicBezTo>
                      <a:pt x="117" y="6"/>
                      <a:pt x="131" y="0"/>
                      <a:pt x="146" y="0"/>
                    </a:cubicBezTo>
                    <a:cubicBezTo>
                      <a:pt x="177" y="0"/>
                      <a:pt x="202" y="26"/>
                      <a:pt x="202" y="57"/>
                    </a:cubicBezTo>
                    <a:cubicBezTo>
                      <a:pt x="203" y="89"/>
                      <a:pt x="178" y="115"/>
                      <a:pt x="147" y="115"/>
                    </a:cubicBezTo>
                    <a:cubicBezTo>
                      <a:pt x="147" y="115"/>
                      <a:pt x="147" y="115"/>
                      <a:pt x="147" y="115"/>
                    </a:cubicBezTo>
                    <a:cubicBezTo>
                      <a:pt x="146" y="115"/>
                      <a:pt x="146" y="115"/>
                      <a:pt x="146" y="115"/>
                    </a:cubicBezTo>
                    <a:cubicBezTo>
                      <a:pt x="131" y="115"/>
                      <a:pt x="117" y="110"/>
                      <a:pt x="107" y="99"/>
                    </a:cubicBezTo>
                    <a:close/>
                    <a:moveTo>
                      <a:pt x="180" y="264"/>
                    </a:moveTo>
                    <a:cubicBezTo>
                      <a:pt x="180" y="264"/>
                      <a:pt x="179" y="262"/>
                      <a:pt x="180" y="260"/>
                    </a:cubicBezTo>
                    <a:cubicBezTo>
                      <a:pt x="186" y="251"/>
                      <a:pt x="191" y="244"/>
                      <a:pt x="195" y="238"/>
                    </a:cubicBezTo>
                    <a:cubicBezTo>
                      <a:pt x="205" y="221"/>
                      <a:pt x="207" y="219"/>
                      <a:pt x="207" y="219"/>
                    </a:cubicBezTo>
                    <a:cubicBezTo>
                      <a:pt x="207" y="218"/>
                      <a:pt x="207" y="218"/>
                      <a:pt x="207" y="218"/>
                    </a:cubicBezTo>
                    <a:cubicBezTo>
                      <a:pt x="207" y="218"/>
                      <a:pt x="207" y="218"/>
                      <a:pt x="207" y="218"/>
                    </a:cubicBezTo>
                    <a:cubicBezTo>
                      <a:pt x="209" y="217"/>
                      <a:pt x="210" y="216"/>
                      <a:pt x="210" y="216"/>
                    </a:cubicBezTo>
                    <a:cubicBezTo>
                      <a:pt x="224" y="218"/>
                      <a:pt x="224" y="218"/>
                      <a:pt x="224" y="218"/>
                    </a:cubicBezTo>
                    <a:cubicBezTo>
                      <a:pt x="224" y="218"/>
                      <a:pt x="225" y="218"/>
                      <a:pt x="226" y="216"/>
                    </a:cubicBezTo>
                    <a:cubicBezTo>
                      <a:pt x="244" y="199"/>
                      <a:pt x="244" y="199"/>
                      <a:pt x="244" y="199"/>
                    </a:cubicBezTo>
                    <a:cubicBezTo>
                      <a:pt x="245" y="197"/>
                      <a:pt x="245" y="197"/>
                      <a:pt x="245" y="197"/>
                    </a:cubicBezTo>
                    <a:cubicBezTo>
                      <a:pt x="243" y="180"/>
                      <a:pt x="243" y="180"/>
                      <a:pt x="243" y="180"/>
                    </a:cubicBezTo>
                    <a:cubicBezTo>
                      <a:pt x="243" y="178"/>
                      <a:pt x="243" y="178"/>
                      <a:pt x="243" y="178"/>
                    </a:cubicBezTo>
                    <a:cubicBezTo>
                      <a:pt x="243" y="178"/>
                      <a:pt x="242" y="177"/>
                      <a:pt x="241" y="177"/>
                    </a:cubicBezTo>
                    <a:cubicBezTo>
                      <a:pt x="241" y="177"/>
                      <a:pt x="241" y="177"/>
                      <a:pt x="241" y="177"/>
                    </a:cubicBezTo>
                    <a:cubicBezTo>
                      <a:pt x="230" y="179"/>
                      <a:pt x="230" y="179"/>
                      <a:pt x="230" y="179"/>
                    </a:cubicBezTo>
                    <a:cubicBezTo>
                      <a:pt x="228" y="179"/>
                      <a:pt x="229" y="181"/>
                      <a:pt x="229" y="183"/>
                    </a:cubicBezTo>
                    <a:cubicBezTo>
                      <a:pt x="229" y="191"/>
                      <a:pt x="229" y="191"/>
                      <a:pt x="229" y="191"/>
                    </a:cubicBezTo>
                    <a:cubicBezTo>
                      <a:pt x="229" y="192"/>
                      <a:pt x="228" y="194"/>
                      <a:pt x="228" y="194"/>
                    </a:cubicBezTo>
                    <a:cubicBezTo>
                      <a:pt x="220" y="203"/>
                      <a:pt x="220" y="203"/>
                      <a:pt x="220" y="203"/>
                    </a:cubicBezTo>
                    <a:cubicBezTo>
                      <a:pt x="220" y="203"/>
                      <a:pt x="219" y="203"/>
                      <a:pt x="217" y="203"/>
                    </a:cubicBezTo>
                    <a:cubicBezTo>
                      <a:pt x="212" y="203"/>
                      <a:pt x="212" y="203"/>
                      <a:pt x="212" y="203"/>
                    </a:cubicBezTo>
                    <a:cubicBezTo>
                      <a:pt x="212" y="203"/>
                      <a:pt x="212" y="203"/>
                      <a:pt x="211" y="203"/>
                    </a:cubicBezTo>
                    <a:cubicBezTo>
                      <a:pt x="210" y="203"/>
                      <a:pt x="209" y="202"/>
                      <a:pt x="208" y="200"/>
                    </a:cubicBezTo>
                    <a:cubicBezTo>
                      <a:pt x="205" y="199"/>
                      <a:pt x="205" y="199"/>
                      <a:pt x="205" y="199"/>
                    </a:cubicBezTo>
                    <a:cubicBezTo>
                      <a:pt x="203" y="198"/>
                      <a:pt x="203" y="197"/>
                      <a:pt x="201" y="195"/>
                    </a:cubicBezTo>
                    <a:cubicBezTo>
                      <a:pt x="198" y="191"/>
                      <a:pt x="198" y="191"/>
                      <a:pt x="198" y="191"/>
                    </a:cubicBezTo>
                    <a:cubicBezTo>
                      <a:pt x="198" y="191"/>
                      <a:pt x="198" y="189"/>
                      <a:pt x="199" y="188"/>
                    </a:cubicBezTo>
                    <a:cubicBezTo>
                      <a:pt x="202" y="179"/>
                      <a:pt x="202" y="179"/>
                      <a:pt x="202" y="179"/>
                    </a:cubicBezTo>
                    <a:cubicBezTo>
                      <a:pt x="202" y="177"/>
                      <a:pt x="203" y="175"/>
                      <a:pt x="204" y="175"/>
                    </a:cubicBezTo>
                    <a:cubicBezTo>
                      <a:pt x="214" y="173"/>
                      <a:pt x="214" y="173"/>
                      <a:pt x="214" y="173"/>
                    </a:cubicBezTo>
                    <a:cubicBezTo>
                      <a:pt x="215" y="172"/>
                      <a:pt x="215" y="172"/>
                      <a:pt x="215" y="172"/>
                    </a:cubicBezTo>
                    <a:cubicBezTo>
                      <a:pt x="215" y="172"/>
                      <a:pt x="215" y="172"/>
                      <a:pt x="217" y="172"/>
                    </a:cubicBezTo>
                    <a:cubicBezTo>
                      <a:pt x="217" y="172"/>
                      <a:pt x="216" y="171"/>
                      <a:pt x="216" y="169"/>
                    </a:cubicBezTo>
                    <a:cubicBezTo>
                      <a:pt x="214" y="158"/>
                      <a:pt x="214" y="158"/>
                      <a:pt x="214" y="158"/>
                    </a:cubicBezTo>
                    <a:cubicBezTo>
                      <a:pt x="214" y="158"/>
                      <a:pt x="212" y="157"/>
                      <a:pt x="211" y="157"/>
                    </a:cubicBezTo>
                    <a:cubicBezTo>
                      <a:pt x="211" y="157"/>
                      <a:pt x="210" y="157"/>
                      <a:pt x="210" y="157"/>
                    </a:cubicBezTo>
                    <a:cubicBezTo>
                      <a:pt x="194" y="164"/>
                      <a:pt x="194" y="164"/>
                      <a:pt x="194" y="164"/>
                    </a:cubicBezTo>
                    <a:cubicBezTo>
                      <a:pt x="192" y="164"/>
                      <a:pt x="191" y="165"/>
                      <a:pt x="191" y="166"/>
                    </a:cubicBezTo>
                    <a:cubicBezTo>
                      <a:pt x="183" y="189"/>
                      <a:pt x="183" y="189"/>
                      <a:pt x="183" y="189"/>
                    </a:cubicBezTo>
                    <a:cubicBezTo>
                      <a:pt x="183" y="189"/>
                      <a:pt x="183" y="191"/>
                      <a:pt x="184" y="193"/>
                    </a:cubicBezTo>
                    <a:cubicBezTo>
                      <a:pt x="189" y="203"/>
                      <a:pt x="189" y="203"/>
                      <a:pt x="189" y="203"/>
                    </a:cubicBezTo>
                    <a:cubicBezTo>
                      <a:pt x="191" y="204"/>
                      <a:pt x="190" y="206"/>
                      <a:pt x="190" y="206"/>
                    </a:cubicBezTo>
                    <a:cubicBezTo>
                      <a:pt x="162" y="250"/>
                      <a:pt x="162" y="250"/>
                      <a:pt x="162" y="250"/>
                    </a:cubicBezTo>
                    <a:cubicBezTo>
                      <a:pt x="162" y="250"/>
                      <a:pt x="160" y="250"/>
                      <a:pt x="159" y="250"/>
                    </a:cubicBezTo>
                    <a:cubicBezTo>
                      <a:pt x="147" y="250"/>
                      <a:pt x="147" y="250"/>
                      <a:pt x="147" y="250"/>
                    </a:cubicBezTo>
                    <a:cubicBezTo>
                      <a:pt x="146" y="249"/>
                      <a:pt x="145" y="249"/>
                      <a:pt x="145" y="249"/>
                    </a:cubicBezTo>
                    <a:cubicBezTo>
                      <a:pt x="144" y="249"/>
                      <a:pt x="144" y="249"/>
                      <a:pt x="144" y="250"/>
                    </a:cubicBezTo>
                    <a:cubicBezTo>
                      <a:pt x="126" y="267"/>
                      <a:pt x="126" y="267"/>
                      <a:pt x="126" y="267"/>
                    </a:cubicBezTo>
                    <a:cubicBezTo>
                      <a:pt x="125" y="268"/>
                      <a:pt x="125" y="269"/>
                      <a:pt x="125" y="271"/>
                    </a:cubicBezTo>
                    <a:cubicBezTo>
                      <a:pt x="128" y="288"/>
                      <a:pt x="128" y="288"/>
                      <a:pt x="128" y="288"/>
                    </a:cubicBezTo>
                    <a:cubicBezTo>
                      <a:pt x="126" y="289"/>
                      <a:pt x="127" y="290"/>
                      <a:pt x="129" y="290"/>
                    </a:cubicBezTo>
                    <a:cubicBezTo>
                      <a:pt x="129" y="290"/>
                      <a:pt x="129" y="290"/>
                      <a:pt x="129" y="290"/>
                    </a:cubicBezTo>
                    <a:cubicBezTo>
                      <a:pt x="140" y="287"/>
                      <a:pt x="140" y="287"/>
                      <a:pt x="140" y="287"/>
                    </a:cubicBezTo>
                    <a:cubicBezTo>
                      <a:pt x="142" y="287"/>
                      <a:pt x="142" y="285"/>
                      <a:pt x="142" y="285"/>
                    </a:cubicBezTo>
                    <a:cubicBezTo>
                      <a:pt x="141" y="275"/>
                      <a:pt x="141" y="275"/>
                      <a:pt x="141" y="275"/>
                    </a:cubicBezTo>
                    <a:cubicBezTo>
                      <a:pt x="141" y="274"/>
                      <a:pt x="140" y="272"/>
                      <a:pt x="142" y="272"/>
                    </a:cubicBezTo>
                    <a:cubicBezTo>
                      <a:pt x="149" y="266"/>
                      <a:pt x="149" y="266"/>
                      <a:pt x="149" y="266"/>
                    </a:cubicBezTo>
                    <a:cubicBezTo>
                      <a:pt x="150" y="264"/>
                      <a:pt x="152" y="263"/>
                      <a:pt x="153" y="263"/>
                    </a:cubicBezTo>
                    <a:cubicBezTo>
                      <a:pt x="163" y="264"/>
                      <a:pt x="163" y="264"/>
                      <a:pt x="163" y="264"/>
                    </a:cubicBezTo>
                    <a:cubicBezTo>
                      <a:pt x="164" y="266"/>
                      <a:pt x="165" y="265"/>
                      <a:pt x="165" y="267"/>
                    </a:cubicBezTo>
                    <a:cubicBezTo>
                      <a:pt x="171" y="276"/>
                      <a:pt x="171" y="276"/>
                      <a:pt x="171" y="276"/>
                    </a:cubicBezTo>
                    <a:cubicBezTo>
                      <a:pt x="173" y="277"/>
                      <a:pt x="171" y="279"/>
                      <a:pt x="171" y="279"/>
                    </a:cubicBezTo>
                    <a:cubicBezTo>
                      <a:pt x="169" y="289"/>
                      <a:pt x="169" y="289"/>
                      <a:pt x="169" y="289"/>
                    </a:cubicBezTo>
                    <a:cubicBezTo>
                      <a:pt x="167" y="289"/>
                      <a:pt x="167" y="291"/>
                      <a:pt x="166" y="291"/>
                    </a:cubicBezTo>
                    <a:cubicBezTo>
                      <a:pt x="165" y="292"/>
                      <a:pt x="165" y="292"/>
                      <a:pt x="164" y="292"/>
                    </a:cubicBezTo>
                    <a:cubicBezTo>
                      <a:pt x="157" y="295"/>
                      <a:pt x="157" y="295"/>
                      <a:pt x="157" y="295"/>
                    </a:cubicBezTo>
                    <a:cubicBezTo>
                      <a:pt x="155" y="295"/>
                      <a:pt x="154" y="296"/>
                      <a:pt x="154" y="296"/>
                    </a:cubicBezTo>
                    <a:cubicBezTo>
                      <a:pt x="154" y="296"/>
                      <a:pt x="154" y="296"/>
                      <a:pt x="154" y="297"/>
                    </a:cubicBezTo>
                    <a:cubicBezTo>
                      <a:pt x="156" y="308"/>
                      <a:pt x="156" y="308"/>
                      <a:pt x="156" y="308"/>
                    </a:cubicBezTo>
                    <a:cubicBezTo>
                      <a:pt x="157" y="309"/>
                      <a:pt x="157" y="309"/>
                      <a:pt x="158" y="309"/>
                    </a:cubicBezTo>
                    <a:cubicBezTo>
                      <a:pt x="158" y="309"/>
                      <a:pt x="158" y="309"/>
                      <a:pt x="158" y="309"/>
                    </a:cubicBezTo>
                    <a:cubicBezTo>
                      <a:pt x="177" y="304"/>
                      <a:pt x="177" y="304"/>
                      <a:pt x="177" y="304"/>
                    </a:cubicBezTo>
                    <a:cubicBezTo>
                      <a:pt x="177" y="304"/>
                      <a:pt x="178" y="302"/>
                      <a:pt x="180" y="302"/>
                    </a:cubicBezTo>
                    <a:cubicBezTo>
                      <a:pt x="181" y="298"/>
                      <a:pt x="182" y="295"/>
                      <a:pt x="183" y="292"/>
                    </a:cubicBezTo>
                    <a:cubicBezTo>
                      <a:pt x="187" y="280"/>
                      <a:pt x="188" y="279"/>
                      <a:pt x="188" y="278"/>
                    </a:cubicBezTo>
                    <a:cubicBezTo>
                      <a:pt x="188" y="278"/>
                      <a:pt x="188" y="278"/>
                      <a:pt x="188" y="278"/>
                    </a:cubicBezTo>
                    <a:cubicBezTo>
                      <a:pt x="187" y="277"/>
                      <a:pt x="187" y="275"/>
                      <a:pt x="187" y="274"/>
                    </a:cubicBezTo>
                    <a:cubicBezTo>
                      <a:pt x="180" y="264"/>
                      <a:pt x="180" y="264"/>
                      <a:pt x="180" y="264"/>
                    </a:cubicBezTo>
                    <a:close/>
                    <a:moveTo>
                      <a:pt x="255" y="184"/>
                    </a:moveTo>
                    <a:cubicBezTo>
                      <a:pt x="249" y="167"/>
                      <a:pt x="227" y="135"/>
                      <a:pt x="189" y="134"/>
                    </a:cubicBezTo>
                    <a:cubicBezTo>
                      <a:pt x="172" y="134"/>
                      <a:pt x="172" y="134"/>
                      <a:pt x="172" y="134"/>
                    </a:cubicBezTo>
                    <a:cubicBezTo>
                      <a:pt x="172" y="134"/>
                      <a:pt x="172" y="134"/>
                      <a:pt x="172" y="134"/>
                    </a:cubicBezTo>
                    <a:cubicBezTo>
                      <a:pt x="122" y="134"/>
                      <a:pt x="122" y="134"/>
                      <a:pt x="122" y="134"/>
                    </a:cubicBezTo>
                    <a:cubicBezTo>
                      <a:pt x="122" y="134"/>
                      <a:pt x="122" y="134"/>
                      <a:pt x="122" y="134"/>
                    </a:cubicBezTo>
                    <a:cubicBezTo>
                      <a:pt x="111" y="134"/>
                      <a:pt x="111" y="134"/>
                      <a:pt x="111" y="134"/>
                    </a:cubicBezTo>
                    <a:cubicBezTo>
                      <a:pt x="109" y="134"/>
                      <a:pt x="109" y="134"/>
                      <a:pt x="109" y="134"/>
                    </a:cubicBezTo>
                    <a:cubicBezTo>
                      <a:pt x="100" y="134"/>
                      <a:pt x="100" y="134"/>
                      <a:pt x="100" y="134"/>
                    </a:cubicBezTo>
                    <a:cubicBezTo>
                      <a:pt x="61" y="135"/>
                      <a:pt x="38" y="167"/>
                      <a:pt x="33" y="185"/>
                    </a:cubicBezTo>
                    <a:cubicBezTo>
                      <a:pt x="0" y="292"/>
                      <a:pt x="0" y="292"/>
                      <a:pt x="0" y="292"/>
                    </a:cubicBezTo>
                    <a:cubicBezTo>
                      <a:pt x="48" y="292"/>
                      <a:pt x="48" y="292"/>
                      <a:pt x="48" y="292"/>
                    </a:cubicBezTo>
                    <a:cubicBezTo>
                      <a:pt x="69" y="221"/>
                      <a:pt x="69" y="221"/>
                      <a:pt x="69" y="221"/>
                    </a:cubicBezTo>
                    <a:cubicBezTo>
                      <a:pt x="83" y="221"/>
                      <a:pt x="83" y="221"/>
                      <a:pt x="83" y="221"/>
                    </a:cubicBezTo>
                    <a:cubicBezTo>
                      <a:pt x="63" y="292"/>
                      <a:pt x="63" y="292"/>
                      <a:pt x="63" y="292"/>
                    </a:cubicBezTo>
                    <a:cubicBezTo>
                      <a:pt x="120" y="292"/>
                      <a:pt x="120" y="292"/>
                      <a:pt x="120" y="292"/>
                    </a:cubicBezTo>
                    <a:cubicBezTo>
                      <a:pt x="119" y="291"/>
                      <a:pt x="119" y="291"/>
                      <a:pt x="119" y="290"/>
                    </a:cubicBezTo>
                    <a:cubicBezTo>
                      <a:pt x="119" y="289"/>
                      <a:pt x="119" y="287"/>
                      <a:pt x="119" y="286"/>
                    </a:cubicBezTo>
                    <a:cubicBezTo>
                      <a:pt x="117" y="272"/>
                      <a:pt x="117" y="272"/>
                      <a:pt x="117" y="272"/>
                    </a:cubicBezTo>
                    <a:cubicBezTo>
                      <a:pt x="116" y="265"/>
                      <a:pt x="119" y="262"/>
                      <a:pt x="121" y="261"/>
                    </a:cubicBezTo>
                    <a:cubicBezTo>
                      <a:pt x="137" y="246"/>
                      <a:pt x="137" y="246"/>
                      <a:pt x="137" y="246"/>
                    </a:cubicBezTo>
                    <a:cubicBezTo>
                      <a:pt x="137" y="246"/>
                      <a:pt x="137" y="245"/>
                      <a:pt x="138" y="244"/>
                    </a:cubicBezTo>
                    <a:cubicBezTo>
                      <a:pt x="139" y="242"/>
                      <a:pt x="142" y="241"/>
                      <a:pt x="145" y="241"/>
                    </a:cubicBezTo>
                    <a:cubicBezTo>
                      <a:pt x="146" y="241"/>
                      <a:pt x="148" y="241"/>
                      <a:pt x="149" y="242"/>
                    </a:cubicBezTo>
                    <a:cubicBezTo>
                      <a:pt x="157" y="242"/>
                      <a:pt x="157" y="242"/>
                      <a:pt x="157" y="242"/>
                    </a:cubicBezTo>
                    <a:cubicBezTo>
                      <a:pt x="181" y="205"/>
                      <a:pt x="181" y="205"/>
                      <a:pt x="181" y="205"/>
                    </a:cubicBezTo>
                    <a:cubicBezTo>
                      <a:pt x="177" y="196"/>
                      <a:pt x="177" y="196"/>
                      <a:pt x="177" y="196"/>
                    </a:cubicBezTo>
                    <a:cubicBezTo>
                      <a:pt x="176" y="195"/>
                      <a:pt x="176" y="195"/>
                      <a:pt x="176" y="195"/>
                    </a:cubicBezTo>
                    <a:cubicBezTo>
                      <a:pt x="176" y="194"/>
                      <a:pt x="176" y="194"/>
                      <a:pt x="176" y="194"/>
                    </a:cubicBezTo>
                    <a:cubicBezTo>
                      <a:pt x="175" y="191"/>
                      <a:pt x="175" y="191"/>
                      <a:pt x="175" y="191"/>
                    </a:cubicBezTo>
                    <a:cubicBezTo>
                      <a:pt x="175" y="189"/>
                      <a:pt x="175" y="189"/>
                      <a:pt x="175" y="189"/>
                    </a:cubicBezTo>
                    <a:cubicBezTo>
                      <a:pt x="175" y="187"/>
                      <a:pt x="175" y="187"/>
                      <a:pt x="175" y="187"/>
                    </a:cubicBezTo>
                    <a:cubicBezTo>
                      <a:pt x="183" y="165"/>
                      <a:pt x="183" y="165"/>
                      <a:pt x="183" y="165"/>
                    </a:cubicBezTo>
                    <a:cubicBezTo>
                      <a:pt x="183" y="162"/>
                      <a:pt x="185" y="158"/>
                      <a:pt x="191" y="156"/>
                    </a:cubicBezTo>
                    <a:cubicBezTo>
                      <a:pt x="207" y="150"/>
                      <a:pt x="207" y="150"/>
                      <a:pt x="207" y="150"/>
                    </a:cubicBezTo>
                    <a:cubicBezTo>
                      <a:pt x="208" y="150"/>
                      <a:pt x="208" y="150"/>
                      <a:pt x="208" y="150"/>
                    </a:cubicBezTo>
                    <a:cubicBezTo>
                      <a:pt x="209" y="149"/>
                      <a:pt x="209" y="149"/>
                      <a:pt x="209" y="149"/>
                    </a:cubicBezTo>
                    <a:cubicBezTo>
                      <a:pt x="209" y="149"/>
                      <a:pt x="210" y="149"/>
                      <a:pt x="211" y="149"/>
                    </a:cubicBezTo>
                    <a:cubicBezTo>
                      <a:pt x="214" y="149"/>
                      <a:pt x="217" y="151"/>
                      <a:pt x="218" y="151"/>
                    </a:cubicBezTo>
                    <a:cubicBezTo>
                      <a:pt x="221" y="153"/>
                      <a:pt x="221" y="153"/>
                      <a:pt x="221" y="153"/>
                    </a:cubicBezTo>
                    <a:cubicBezTo>
                      <a:pt x="222" y="156"/>
                      <a:pt x="222" y="156"/>
                      <a:pt x="222" y="156"/>
                    </a:cubicBezTo>
                    <a:cubicBezTo>
                      <a:pt x="224" y="167"/>
                      <a:pt x="224" y="167"/>
                      <a:pt x="224" y="167"/>
                    </a:cubicBezTo>
                    <a:cubicBezTo>
                      <a:pt x="225" y="170"/>
                      <a:pt x="225" y="170"/>
                      <a:pt x="225" y="170"/>
                    </a:cubicBezTo>
                    <a:cubicBezTo>
                      <a:pt x="225" y="173"/>
                      <a:pt x="225" y="173"/>
                      <a:pt x="225" y="173"/>
                    </a:cubicBezTo>
                    <a:cubicBezTo>
                      <a:pt x="227" y="172"/>
                      <a:pt x="228" y="171"/>
                      <a:pt x="228" y="171"/>
                    </a:cubicBezTo>
                    <a:cubicBezTo>
                      <a:pt x="239" y="169"/>
                      <a:pt x="239" y="169"/>
                      <a:pt x="239" y="169"/>
                    </a:cubicBezTo>
                    <a:cubicBezTo>
                      <a:pt x="240" y="169"/>
                      <a:pt x="240" y="169"/>
                      <a:pt x="241" y="169"/>
                    </a:cubicBezTo>
                    <a:cubicBezTo>
                      <a:pt x="246" y="169"/>
                      <a:pt x="250" y="172"/>
                      <a:pt x="250" y="176"/>
                    </a:cubicBezTo>
                    <a:cubicBezTo>
                      <a:pt x="251" y="178"/>
                      <a:pt x="251" y="178"/>
                      <a:pt x="251" y="178"/>
                    </a:cubicBezTo>
                    <a:cubicBezTo>
                      <a:pt x="251" y="178"/>
                      <a:pt x="251" y="178"/>
                      <a:pt x="251" y="178"/>
                    </a:cubicBezTo>
                    <a:cubicBezTo>
                      <a:pt x="251" y="179"/>
                      <a:pt x="251" y="179"/>
                      <a:pt x="251" y="179"/>
                    </a:cubicBezTo>
                    <a:cubicBezTo>
                      <a:pt x="253" y="196"/>
                      <a:pt x="253" y="196"/>
                      <a:pt x="253" y="196"/>
                    </a:cubicBezTo>
                    <a:cubicBezTo>
                      <a:pt x="254" y="199"/>
                      <a:pt x="254" y="199"/>
                      <a:pt x="254" y="199"/>
                    </a:cubicBezTo>
                    <a:cubicBezTo>
                      <a:pt x="252" y="201"/>
                      <a:pt x="252" y="201"/>
                      <a:pt x="252" y="201"/>
                    </a:cubicBezTo>
                    <a:cubicBezTo>
                      <a:pt x="251" y="203"/>
                      <a:pt x="251" y="203"/>
                      <a:pt x="251" y="203"/>
                    </a:cubicBezTo>
                    <a:cubicBezTo>
                      <a:pt x="250" y="204"/>
                      <a:pt x="250" y="204"/>
                      <a:pt x="250" y="204"/>
                    </a:cubicBezTo>
                    <a:cubicBezTo>
                      <a:pt x="250" y="205"/>
                      <a:pt x="250" y="205"/>
                      <a:pt x="250" y="205"/>
                    </a:cubicBezTo>
                    <a:cubicBezTo>
                      <a:pt x="232" y="221"/>
                      <a:pt x="232" y="221"/>
                      <a:pt x="232" y="221"/>
                    </a:cubicBezTo>
                    <a:cubicBezTo>
                      <a:pt x="230" y="225"/>
                      <a:pt x="226" y="226"/>
                      <a:pt x="225" y="226"/>
                    </a:cubicBezTo>
                    <a:cubicBezTo>
                      <a:pt x="224" y="226"/>
                      <a:pt x="224" y="226"/>
                      <a:pt x="224" y="226"/>
                    </a:cubicBezTo>
                    <a:cubicBezTo>
                      <a:pt x="222" y="226"/>
                      <a:pt x="222" y="226"/>
                      <a:pt x="222" y="226"/>
                    </a:cubicBezTo>
                    <a:cubicBezTo>
                      <a:pt x="220" y="226"/>
                      <a:pt x="220" y="226"/>
                      <a:pt x="220" y="226"/>
                    </a:cubicBezTo>
                    <a:cubicBezTo>
                      <a:pt x="240" y="292"/>
                      <a:pt x="240" y="292"/>
                      <a:pt x="240" y="292"/>
                    </a:cubicBezTo>
                    <a:cubicBezTo>
                      <a:pt x="287" y="292"/>
                      <a:pt x="287" y="292"/>
                      <a:pt x="287" y="292"/>
                    </a:cubicBezTo>
                    <a:lnTo>
                      <a:pt x="255" y="184"/>
                    </a:lnTo>
                    <a:close/>
                    <a:moveTo>
                      <a:pt x="188" y="263"/>
                    </a:moveTo>
                    <a:cubicBezTo>
                      <a:pt x="193" y="269"/>
                      <a:pt x="193" y="269"/>
                      <a:pt x="193" y="269"/>
                    </a:cubicBezTo>
                    <a:cubicBezTo>
                      <a:pt x="194" y="270"/>
                      <a:pt x="194" y="270"/>
                      <a:pt x="194" y="270"/>
                    </a:cubicBezTo>
                    <a:cubicBezTo>
                      <a:pt x="194" y="272"/>
                      <a:pt x="194" y="272"/>
                      <a:pt x="194" y="272"/>
                    </a:cubicBezTo>
                    <a:cubicBezTo>
                      <a:pt x="195" y="275"/>
                      <a:pt x="195" y="275"/>
                      <a:pt x="195" y="275"/>
                    </a:cubicBezTo>
                    <a:cubicBezTo>
                      <a:pt x="195" y="277"/>
                      <a:pt x="195" y="277"/>
                      <a:pt x="195" y="277"/>
                    </a:cubicBezTo>
                    <a:cubicBezTo>
                      <a:pt x="196" y="279"/>
                      <a:pt x="196" y="279"/>
                      <a:pt x="196" y="279"/>
                    </a:cubicBezTo>
                    <a:cubicBezTo>
                      <a:pt x="195" y="281"/>
                      <a:pt x="195" y="281"/>
                      <a:pt x="195" y="281"/>
                    </a:cubicBezTo>
                    <a:cubicBezTo>
                      <a:pt x="191" y="292"/>
                      <a:pt x="191" y="292"/>
                      <a:pt x="191" y="292"/>
                    </a:cubicBezTo>
                    <a:cubicBezTo>
                      <a:pt x="225" y="292"/>
                      <a:pt x="225" y="292"/>
                      <a:pt x="225" y="292"/>
                    </a:cubicBezTo>
                    <a:cubicBezTo>
                      <a:pt x="208" y="233"/>
                      <a:pt x="208" y="233"/>
                      <a:pt x="208" y="233"/>
                    </a:cubicBezTo>
                    <a:lnTo>
                      <a:pt x="188" y="263"/>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56" name="Freeform 5"/>
              <p:cNvSpPr>
                <a:spLocks noChangeAspect="1" noEditPoints="1"/>
              </p:cNvSpPr>
              <p:nvPr/>
            </p:nvSpPr>
            <p:spPr bwMode="auto">
              <a:xfrm>
                <a:off x="9144795" y="1788243"/>
                <a:ext cx="633114" cy="664924"/>
              </a:xfrm>
              <a:custGeom>
                <a:avLst/>
                <a:gdLst>
                  <a:gd name="T0" fmla="*/ 81 w 258"/>
                  <a:gd name="T1" fmla="*/ 52 h 271"/>
                  <a:gd name="T2" fmla="*/ 131 w 258"/>
                  <a:gd name="T3" fmla="*/ 0 h 271"/>
                  <a:gd name="T4" fmla="*/ 132 w 258"/>
                  <a:gd name="T5" fmla="*/ 103 h 271"/>
                  <a:gd name="T6" fmla="*/ 96 w 258"/>
                  <a:gd name="T7" fmla="*/ 89 h 271"/>
                  <a:gd name="T8" fmla="*/ 217 w 258"/>
                  <a:gd name="T9" fmla="*/ 263 h 271"/>
                  <a:gd name="T10" fmla="*/ 118 w 258"/>
                  <a:gd name="T11" fmla="*/ 271 h 271"/>
                  <a:gd name="T12" fmla="*/ 110 w 258"/>
                  <a:gd name="T13" fmla="*/ 197 h 271"/>
                  <a:gd name="T14" fmla="*/ 209 w 258"/>
                  <a:gd name="T15" fmla="*/ 189 h 271"/>
                  <a:gd name="T16" fmla="*/ 203 w 258"/>
                  <a:gd name="T17" fmla="*/ 253 h 271"/>
                  <a:gd name="T18" fmla="*/ 124 w 258"/>
                  <a:gd name="T19" fmla="*/ 203 h 271"/>
                  <a:gd name="T20" fmla="*/ 203 w 258"/>
                  <a:gd name="T21" fmla="*/ 253 h 271"/>
                  <a:gd name="T22" fmla="*/ 164 w 258"/>
                  <a:gd name="T23" fmla="*/ 266 h 271"/>
                  <a:gd name="T24" fmla="*/ 160 w 258"/>
                  <a:gd name="T25" fmla="*/ 262 h 271"/>
                  <a:gd name="T26" fmla="*/ 164 w 258"/>
                  <a:gd name="T27" fmla="*/ 266 h 271"/>
                  <a:gd name="T28" fmla="*/ 164 w 258"/>
                  <a:gd name="T29" fmla="*/ 261 h 271"/>
                  <a:gd name="T30" fmla="*/ 160 w 258"/>
                  <a:gd name="T31" fmla="*/ 259 h 271"/>
                  <a:gd name="T32" fmla="*/ 164 w 258"/>
                  <a:gd name="T33" fmla="*/ 261 h 271"/>
                  <a:gd name="T34" fmla="*/ 170 w 258"/>
                  <a:gd name="T35" fmla="*/ 266 h 271"/>
                  <a:gd name="T36" fmla="*/ 164 w 258"/>
                  <a:gd name="T37" fmla="*/ 262 h 271"/>
                  <a:gd name="T38" fmla="*/ 170 w 258"/>
                  <a:gd name="T39" fmla="*/ 266 h 271"/>
                  <a:gd name="T40" fmla="*/ 170 w 258"/>
                  <a:gd name="T41" fmla="*/ 261 h 271"/>
                  <a:gd name="T42" fmla="*/ 164 w 258"/>
                  <a:gd name="T43" fmla="*/ 258 h 271"/>
                  <a:gd name="T44" fmla="*/ 170 w 258"/>
                  <a:gd name="T45" fmla="*/ 261 h 271"/>
                  <a:gd name="T46" fmla="*/ 62 w 258"/>
                  <a:gd name="T47" fmla="*/ 262 h 271"/>
                  <a:gd name="T48" fmla="*/ 75 w 258"/>
                  <a:gd name="T49" fmla="*/ 198 h 271"/>
                  <a:gd name="T50" fmla="*/ 43 w 258"/>
                  <a:gd name="T51" fmla="*/ 262 h 271"/>
                  <a:gd name="T52" fmla="*/ 0 w 258"/>
                  <a:gd name="T53" fmla="*/ 262 h 271"/>
                  <a:gd name="T54" fmla="*/ 88 w 258"/>
                  <a:gd name="T55" fmla="*/ 120 h 271"/>
                  <a:gd name="T56" fmla="*/ 168 w 258"/>
                  <a:gd name="T57" fmla="*/ 120 h 271"/>
                  <a:gd name="T58" fmla="*/ 229 w 258"/>
                  <a:gd name="T59" fmla="*/ 165 h 271"/>
                  <a:gd name="T60" fmla="*/ 223 w 258"/>
                  <a:gd name="T61" fmla="*/ 262 h 271"/>
                  <a:gd name="T62" fmla="*/ 209 w 258"/>
                  <a:gd name="T63" fmla="*/ 183 h 271"/>
                  <a:gd name="T64" fmla="*/ 104 w 258"/>
                  <a:gd name="T65" fmla="*/ 197 h 271"/>
                  <a:gd name="T66" fmla="*/ 223 w 258"/>
                  <a:gd name="T67" fmla="*/ 154 h 271"/>
                  <a:gd name="T68" fmla="*/ 223 w 258"/>
                  <a:gd name="T69" fmla="*/ 154 h 271"/>
                  <a:gd name="T70" fmla="*/ 33 w 258"/>
                  <a:gd name="T71" fmla="*/ 15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8" h="271">
                    <a:moveTo>
                      <a:pt x="96" y="89"/>
                    </a:moveTo>
                    <a:cubicBezTo>
                      <a:pt x="86" y="79"/>
                      <a:pt x="81" y="66"/>
                      <a:pt x="81" y="52"/>
                    </a:cubicBezTo>
                    <a:cubicBezTo>
                      <a:pt x="81" y="38"/>
                      <a:pt x="85" y="25"/>
                      <a:pt x="95" y="15"/>
                    </a:cubicBezTo>
                    <a:cubicBezTo>
                      <a:pt x="105" y="5"/>
                      <a:pt x="118" y="0"/>
                      <a:pt x="131" y="0"/>
                    </a:cubicBezTo>
                    <a:cubicBezTo>
                      <a:pt x="159" y="0"/>
                      <a:pt x="182" y="23"/>
                      <a:pt x="182" y="51"/>
                    </a:cubicBezTo>
                    <a:cubicBezTo>
                      <a:pt x="182" y="80"/>
                      <a:pt x="160" y="103"/>
                      <a:pt x="132" y="103"/>
                    </a:cubicBezTo>
                    <a:cubicBezTo>
                      <a:pt x="131" y="103"/>
                      <a:pt x="131" y="103"/>
                      <a:pt x="131" y="103"/>
                    </a:cubicBezTo>
                    <a:cubicBezTo>
                      <a:pt x="118" y="103"/>
                      <a:pt x="105" y="99"/>
                      <a:pt x="96" y="89"/>
                    </a:cubicBezTo>
                    <a:close/>
                    <a:moveTo>
                      <a:pt x="217" y="197"/>
                    </a:moveTo>
                    <a:cubicBezTo>
                      <a:pt x="217" y="263"/>
                      <a:pt x="217" y="263"/>
                      <a:pt x="217" y="263"/>
                    </a:cubicBezTo>
                    <a:cubicBezTo>
                      <a:pt x="217" y="267"/>
                      <a:pt x="213" y="271"/>
                      <a:pt x="209" y="271"/>
                    </a:cubicBezTo>
                    <a:cubicBezTo>
                      <a:pt x="118" y="271"/>
                      <a:pt x="118" y="271"/>
                      <a:pt x="118" y="271"/>
                    </a:cubicBezTo>
                    <a:cubicBezTo>
                      <a:pt x="114" y="271"/>
                      <a:pt x="110" y="267"/>
                      <a:pt x="110" y="263"/>
                    </a:cubicBezTo>
                    <a:cubicBezTo>
                      <a:pt x="110" y="197"/>
                      <a:pt x="110" y="197"/>
                      <a:pt x="110" y="197"/>
                    </a:cubicBezTo>
                    <a:cubicBezTo>
                      <a:pt x="110" y="193"/>
                      <a:pt x="113" y="189"/>
                      <a:pt x="118" y="189"/>
                    </a:cubicBezTo>
                    <a:cubicBezTo>
                      <a:pt x="209" y="189"/>
                      <a:pt x="209" y="189"/>
                      <a:pt x="209" y="189"/>
                    </a:cubicBezTo>
                    <a:cubicBezTo>
                      <a:pt x="214" y="189"/>
                      <a:pt x="217" y="193"/>
                      <a:pt x="217" y="197"/>
                    </a:cubicBezTo>
                    <a:close/>
                    <a:moveTo>
                      <a:pt x="203" y="253"/>
                    </a:moveTo>
                    <a:cubicBezTo>
                      <a:pt x="203" y="203"/>
                      <a:pt x="203" y="203"/>
                      <a:pt x="203" y="203"/>
                    </a:cubicBezTo>
                    <a:cubicBezTo>
                      <a:pt x="124" y="203"/>
                      <a:pt x="124" y="203"/>
                      <a:pt x="124" y="203"/>
                    </a:cubicBezTo>
                    <a:cubicBezTo>
                      <a:pt x="124" y="253"/>
                      <a:pt x="124" y="253"/>
                      <a:pt x="124" y="253"/>
                    </a:cubicBezTo>
                    <a:lnTo>
                      <a:pt x="203" y="253"/>
                    </a:lnTo>
                    <a:close/>
                    <a:moveTo>
                      <a:pt x="164" y="266"/>
                    </a:moveTo>
                    <a:cubicBezTo>
                      <a:pt x="164" y="266"/>
                      <a:pt x="164" y="266"/>
                      <a:pt x="164" y="266"/>
                    </a:cubicBezTo>
                    <a:cubicBezTo>
                      <a:pt x="164" y="262"/>
                      <a:pt x="164" y="262"/>
                      <a:pt x="164" y="262"/>
                    </a:cubicBezTo>
                    <a:cubicBezTo>
                      <a:pt x="164" y="262"/>
                      <a:pt x="164" y="262"/>
                      <a:pt x="160" y="262"/>
                    </a:cubicBezTo>
                    <a:cubicBezTo>
                      <a:pt x="160" y="262"/>
                      <a:pt x="160" y="262"/>
                      <a:pt x="160" y="265"/>
                    </a:cubicBezTo>
                    <a:cubicBezTo>
                      <a:pt x="160" y="265"/>
                      <a:pt x="160" y="265"/>
                      <a:pt x="164" y="266"/>
                    </a:cubicBezTo>
                    <a:close/>
                    <a:moveTo>
                      <a:pt x="164" y="261"/>
                    </a:moveTo>
                    <a:cubicBezTo>
                      <a:pt x="164" y="261"/>
                      <a:pt x="164" y="261"/>
                      <a:pt x="164" y="261"/>
                    </a:cubicBezTo>
                    <a:cubicBezTo>
                      <a:pt x="164" y="258"/>
                      <a:pt x="164" y="258"/>
                      <a:pt x="164" y="258"/>
                    </a:cubicBezTo>
                    <a:cubicBezTo>
                      <a:pt x="164" y="258"/>
                      <a:pt x="164" y="258"/>
                      <a:pt x="160" y="259"/>
                    </a:cubicBezTo>
                    <a:cubicBezTo>
                      <a:pt x="160" y="259"/>
                      <a:pt x="160" y="259"/>
                      <a:pt x="160" y="261"/>
                    </a:cubicBezTo>
                    <a:cubicBezTo>
                      <a:pt x="160" y="261"/>
                      <a:pt x="160" y="261"/>
                      <a:pt x="164" y="261"/>
                    </a:cubicBezTo>
                    <a:close/>
                    <a:moveTo>
                      <a:pt x="170" y="266"/>
                    </a:moveTo>
                    <a:cubicBezTo>
                      <a:pt x="170" y="266"/>
                      <a:pt x="170" y="266"/>
                      <a:pt x="170" y="266"/>
                    </a:cubicBezTo>
                    <a:cubicBezTo>
                      <a:pt x="170" y="262"/>
                      <a:pt x="170" y="262"/>
                      <a:pt x="170" y="262"/>
                    </a:cubicBezTo>
                    <a:cubicBezTo>
                      <a:pt x="170" y="262"/>
                      <a:pt x="170" y="262"/>
                      <a:pt x="164" y="262"/>
                    </a:cubicBezTo>
                    <a:cubicBezTo>
                      <a:pt x="164" y="262"/>
                      <a:pt x="164" y="262"/>
                      <a:pt x="164" y="266"/>
                    </a:cubicBezTo>
                    <a:cubicBezTo>
                      <a:pt x="164" y="266"/>
                      <a:pt x="164" y="266"/>
                      <a:pt x="170" y="266"/>
                    </a:cubicBezTo>
                    <a:close/>
                    <a:moveTo>
                      <a:pt x="170" y="261"/>
                    </a:moveTo>
                    <a:cubicBezTo>
                      <a:pt x="170" y="261"/>
                      <a:pt x="170" y="261"/>
                      <a:pt x="170" y="261"/>
                    </a:cubicBezTo>
                    <a:cubicBezTo>
                      <a:pt x="170" y="257"/>
                      <a:pt x="170" y="257"/>
                      <a:pt x="170" y="257"/>
                    </a:cubicBezTo>
                    <a:cubicBezTo>
                      <a:pt x="170" y="257"/>
                      <a:pt x="170" y="257"/>
                      <a:pt x="164" y="258"/>
                    </a:cubicBezTo>
                    <a:cubicBezTo>
                      <a:pt x="164" y="258"/>
                      <a:pt x="164" y="258"/>
                      <a:pt x="164" y="261"/>
                    </a:cubicBezTo>
                    <a:cubicBezTo>
                      <a:pt x="164" y="261"/>
                      <a:pt x="164" y="261"/>
                      <a:pt x="170" y="261"/>
                    </a:cubicBezTo>
                    <a:close/>
                    <a:moveTo>
                      <a:pt x="104" y="262"/>
                    </a:moveTo>
                    <a:cubicBezTo>
                      <a:pt x="62" y="262"/>
                      <a:pt x="62" y="262"/>
                      <a:pt x="62" y="262"/>
                    </a:cubicBezTo>
                    <a:cubicBezTo>
                      <a:pt x="57" y="262"/>
                      <a:pt x="57" y="262"/>
                      <a:pt x="57" y="262"/>
                    </a:cubicBezTo>
                    <a:cubicBezTo>
                      <a:pt x="57" y="262"/>
                      <a:pt x="57" y="262"/>
                      <a:pt x="75" y="198"/>
                    </a:cubicBezTo>
                    <a:cubicBezTo>
                      <a:pt x="75" y="198"/>
                      <a:pt x="75" y="198"/>
                      <a:pt x="62" y="198"/>
                    </a:cubicBezTo>
                    <a:cubicBezTo>
                      <a:pt x="62" y="198"/>
                      <a:pt x="62" y="198"/>
                      <a:pt x="43" y="262"/>
                    </a:cubicBezTo>
                    <a:cubicBezTo>
                      <a:pt x="43" y="262"/>
                      <a:pt x="43" y="262"/>
                      <a:pt x="42" y="262"/>
                    </a:cubicBezTo>
                    <a:cubicBezTo>
                      <a:pt x="40" y="262"/>
                      <a:pt x="31" y="262"/>
                      <a:pt x="0" y="262"/>
                    </a:cubicBezTo>
                    <a:cubicBezTo>
                      <a:pt x="29" y="165"/>
                      <a:pt x="29" y="165"/>
                      <a:pt x="29" y="165"/>
                    </a:cubicBezTo>
                    <a:cubicBezTo>
                      <a:pt x="34" y="150"/>
                      <a:pt x="54" y="121"/>
                      <a:pt x="88" y="120"/>
                    </a:cubicBezTo>
                    <a:cubicBezTo>
                      <a:pt x="89" y="120"/>
                      <a:pt x="89" y="120"/>
                      <a:pt x="90" y="120"/>
                    </a:cubicBezTo>
                    <a:cubicBezTo>
                      <a:pt x="90" y="120"/>
                      <a:pt x="165" y="120"/>
                      <a:pt x="168" y="120"/>
                    </a:cubicBezTo>
                    <a:cubicBezTo>
                      <a:pt x="169" y="120"/>
                      <a:pt x="169" y="120"/>
                      <a:pt x="170" y="120"/>
                    </a:cubicBezTo>
                    <a:cubicBezTo>
                      <a:pt x="204" y="121"/>
                      <a:pt x="224" y="150"/>
                      <a:pt x="229" y="165"/>
                    </a:cubicBezTo>
                    <a:cubicBezTo>
                      <a:pt x="258" y="262"/>
                      <a:pt x="258" y="262"/>
                      <a:pt x="258" y="262"/>
                    </a:cubicBezTo>
                    <a:cubicBezTo>
                      <a:pt x="258" y="262"/>
                      <a:pt x="258" y="262"/>
                      <a:pt x="223" y="262"/>
                    </a:cubicBezTo>
                    <a:cubicBezTo>
                      <a:pt x="223" y="197"/>
                      <a:pt x="223" y="197"/>
                      <a:pt x="223" y="197"/>
                    </a:cubicBezTo>
                    <a:cubicBezTo>
                      <a:pt x="223" y="190"/>
                      <a:pt x="217" y="183"/>
                      <a:pt x="209" y="183"/>
                    </a:cubicBezTo>
                    <a:cubicBezTo>
                      <a:pt x="118" y="183"/>
                      <a:pt x="118" y="183"/>
                      <a:pt x="118" y="183"/>
                    </a:cubicBezTo>
                    <a:cubicBezTo>
                      <a:pt x="110" y="183"/>
                      <a:pt x="104" y="190"/>
                      <a:pt x="104" y="197"/>
                    </a:cubicBezTo>
                    <a:lnTo>
                      <a:pt x="104" y="262"/>
                    </a:lnTo>
                    <a:close/>
                    <a:moveTo>
                      <a:pt x="223" y="154"/>
                    </a:moveTo>
                    <a:cubicBezTo>
                      <a:pt x="224" y="155"/>
                      <a:pt x="224" y="156"/>
                      <a:pt x="225" y="157"/>
                    </a:cubicBezTo>
                    <a:cubicBezTo>
                      <a:pt x="224" y="156"/>
                      <a:pt x="224" y="155"/>
                      <a:pt x="223" y="154"/>
                    </a:cubicBezTo>
                    <a:close/>
                    <a:moveTo>
                      <a:pt x="35" y="154"/>
                    </a:moveTo>
                    <a:cubicBezTo>
                      <a:pt x="34" y="155"/>
                      <a:pt x="34" y="156"/>
                      <a:pt x="33" y="157"/>
                    </a:cubicBezTo>
                    <a:cubicBezTo>
                      <a:pt x="34" y="156"/>
                      <a:pt x="34" y="155"/>
                      <a:pt x="35" y="1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grpSp>
            <p:nvGrpSpPr>
              <p:cNvPr id="57" name="Group 4"/>
              <p:cNvGrpSpPr>
                <a:grpSpLocks/>
              </p:cNvGrpSpPr>
              <p:nvPr/>
            </p:nvGrpSpPr>
            <p:grpSpPr bwMode="auto">
              <a:xfrm>
                <a:off x="9890692" y="1712108"/>
                <a:ext cx="629033" cy="664924"/>
                <a:chOff x="3730" y="2047"/>
                <a:chExt cx="222" cy="226"/>
              </a:xfrm>
              <a:grpFill/>
            </p:grpSpPr>
            <p:sp>
              <p:nvSpPr>
                <p:cNvPr id="58" name="AutoShape 3"/>
                <p:cNvSpPr>
                  <a:spLocks noChangeAspect="1" noChangeArrowheads="1" noTextEdit="1"/>
                </p:cNvSpPr>
                <p:nvPr/>
              </p:nvSpPr>
              <p:spPr bwMode="auto">
                <a:xfrm>
                  <a:off x="3730" y="2047"/>
                  <a:ext cx="220" cy="22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baseline="-25000" dirty="0">
                    <a:solidFill>
                      <a:srgbClr val="505050"/>
                    </a:solidFill>
                  </a:endParaRPr>
                </a:p>
              </p:txBody>
            </p:sp>
            <p:sp>
              <p:nvSpPr>
                <p:cNvPr id="59" name="Oval 5"/>
                <p:cNvSpPr>
                  <a:spLocks noChangeArrowheads="1"/>
                </p:cNvSpPr>
                <p:nvPr/>
              </p:nvSpPr>
              <p:spPr bwMode="auto">
                <a:xfrm>
                  <a:off x="3798" y="2049"/>
                  <a:ext cx="88"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baseline="-25000" dirty="0">
                    <a:solidFill>
                      <a:srgbClr val="505050"/>
                    </a:solidFill>
                  </a:endParaRPr>
                </a:p>
              </p:txBody>
            </p:sp>
            <p:sp>
              <p:nvSpPr>
                <p:cNvPr id="60" name="Freeform 6"/>
                <p:cNvSpPr>
                  <a:spLocks noEditPoints="1"/>
                </p:cNvSpPr>
                <p:nvPr/>
              </p:nvSpPr>
              <p:spPr bwMode="auto">
                <a:xfrm>
                  <a:off x="3835" y="2181"/>
                  <a:ext cx="58" cy="41"/>
                </a:xfrm>
                <a:custGeom>
                  <a:avLst/>
                  <a:gdLst>
                    <a:gd name="T0" fmla="*/ 12 w 24"/>
                    <a:gd name="T1" fmla="*/ 0 h 17"/>
                    <a:gd name="T2" fmla="*/ 0 w 24"/>
                    <a:gd name="T3" fmla="*/ 12 h 17"/>
                    <a:gd name="T4" fmla="*/ 0 w 24"/>
                    <a:gd name="T5" fmla="*/ 15 h 17"/>
                    <a:gd name="T6" fmla="*/ 7 w 24"/>
                    <a:gd name="T7" fmla="*/ 15 h 17"/>
                    <a:gd name="T8" fmla="*/ 12 w 24"/>
                    <a:gd name="T9" fmla="*/ 17 h 17"/>
                    <a:gd name="T10" fmla="*/ 17 w 24"/>
                    <a:gd name="T11" fmla="*/ 15 h 17"/>
                    <a:gd name="T12" fmla="*/ 21 w 24"/>
                    <a:gd name="T13" fmla="*/ 15 h 17"/>
                    <a:gd name="T14" fmla="*/ 21 w 24"/>
                    <a:gd name="T15" fmla="*/ 14 h 17"/>
                    <a:gd name="T16" fmla="*/ 24 w 24"/>
                    <a:gd name="T17" fmla="*/ 14 h 17"/>
                    <a:gd name="T18" fmla="*/ 24 w 24"/>
                    <a:gd name="T19" fmla="*/ 12 h 17"/>
                    <a:gd name="T20" fmla="*/ 12 w 24"/>
                    <a:gd name="T21" fmla="*/ 0 h 17"/>
                    <a:gd name="T22" fmla="*/ 5 w 24"/>
                    <a:gd name="T23" fmla="*/ 12 h 17"/>
                    <a:gd name="T24" fmla="*/ 3 w 24"/>
                    <a:gd name="T25" fmla="*/ 12 h 17"/>
                    <a:gd name="T26" fmla="*/ 2 w 24"/>
                    <a:gd name="T27" fmla="*/ 12 h 17"/>
                    <a:gd name="T28" fmla="*/ 3 w 24"/>
                    <a:gd name="T29" fmla="*/ 11 h 17"/>
                    <a:gd name="T30" fmla="*/ 5 w 24"/>
                    <a:gd name="T31" fmla="*/ 11 h 17"/>
                    <a:gd name="T32" fmla="*/ 5 w 24"/>
                    <a:gd name="T33" fmla="*/ 12 h 17"/>
                    <a:gd name="T34" fmla="*/ 5 w 24"/>
                    <a:gd name="T35" fmla="*/ 12 h 17"/>
                    <a:gd name="T36" fmla="*/ 7 w 24"/>
                    <a:gd name="T37" fmla="*/ 9 h 17"/>
                    <a:gd name="T38" fmla="*/ 6 w 24"/>
                    <a:gd name="T39" fmla="*/ 9 h 17"/>
                    <a:gd name="T40" fmla="*/ 6 w 24"/>
                    <a:gd name="T41" fmla="*/ 9 h 17"/>
                    <a:gd name="T42" fmla="*/ 4 w 24"/>
                    <a:gd name="T43" fmla="*/ 8 h 17"/>
                    <a:gd name="T44" fmla="*/ 4 w 24"/>
                    <a:gd name="T45" fmla="*/ 7 h 17"/>
                    <a:gd name="T46" fmla="*/ 5 w 24"/>
                    <a:gd name="T47" fmla="*/ 7 h 17"/>
                    <a:gd name="T48" fmla="*/ 6 w 24"/>
                    <a:gd name="T49" fmla="*/ 8 h 17"/>
                    <a:gd name="T50" fmla="*/ 7 w 24"/>
                    <a:gd name="T51" fmla="*/ 9 h 17"/>
                    <a:gd name="T52" fmla="*/ 12 w 24"/>
                    <a:gd name="T53" fmla="*/ 4 h 17"/>
                    <a:gd name="T54" fmla="*/ 12 w 24"/>
                    <a:gd name="T55" fmla="*/ 3 h 17"/>
                    <a:gd name="T56" fmla="*/ 13 w 24"/>
                    <a:gd name="T57" fmla="*/ 4 h 17"/>
                    <a:gd name="T58" fmla="*/ 13 w 24"/>
                    <a:gd name="T59" fmla="*/ 5 h 17"/>
                    <a:gd name="T60" fmla="*/ 12 w 24"/>
                    <a:gd name="T61" fmla="*/ 6 h 17"/>
                    <a:gd name="T62" fmla="*/ 12 w 24"/>
                    <a:gd name="T63" fmla="*/ 5 h 17"/>
                    <a:gd name="T64" fmla="*/ 12 w 24"/>
                    <a:gd name="T65" fmla="*/ 4 h 17"/>
                    <a:gd name="T66" fmla="*/ 13 w 24"/>
                    <a:gd name="T67" fmla="*/ 14 h 17"/>
                    <a:gd name="T68" fmla="*/ 10 w 24"/>
                    <a:gd name="T69" fmla="*/ 13 h 17"/>
                    <a:gd name="T70" fmla="*/ 7 w 24"/>
                    <a:gd name="T71" fmla="*/ 4 h 17"/>
                    <a:gd name="T72" fmla="*/ 14 w 24"/>
                    <a:gd name="T73" fmla="*/ 11 h 17"/>
                    <a:gd name="T74" fmla="*/ 13 w 24"/>
                    <a:gd name="T75" fmla="*/ 14 h 17"/>
                    <a:gd name="T76" fmla="*/ 17 w 24"/>
                    <a:gd name="T77" fmla="*/ 5 h 17"/>
                    <a:gd name="T78" fmla="*/ 16 w 24"/>
                    <a:gd name="T79" fmla="*/ 6 h 17"/>
                    <a:gd name="T80" fmla="*/ 15 w 24"/>
                    <a:gd name="T81" fmla="*/ 7 h 17"/>
                    <a:gd name="T82" fmla="*/ 15 w 24"/>
                    <a:gd name="T83" fmla="*/ 7 h 17"/>
                    <a:gd name="T84" fmla="*/ 15 w 24"/>
                    <a:gd name="T85" fmla="*/ 6 h 17"/>
                    <a:gd name="T86" fmla="*/ 16 w 24"/>
                    <a:gd name="T87" fmla="*/ 4 h 17"/>
                    <a:gd name="T88" fmla="*/ 17 w 24"/>
                    <a:gd name="T89" fmla="*/ 4 h 17"/>
                    <a:gd name="T90" fmla="*/ 17 w 24"/>
                    <a:gd name="T91" fmla="*/ 5 h 17"/>
                    <a:gd name="T92" fmla="*/ 18 w 24"/>
                    <a:gd name="T93" fmla="*/ 9 h 17"/>
                    <a:gd name="T94" fmla="*/ 17 w 24"/>
                    <a:gd name="T95" fmla="*/ 9 h 17"/>
                    <a:gd name="T96" fmla="*/ 18 w 24"/>
                    <a:gd name="T97" fmla="*/ 8 h 17"/>
                    <a:gd name="T98" fmla="*/ 19 w 24"/>
                    <a:gd name="T99" fmla="*/ 7 h 17"/>
                    <a:gd name="T100" fmla="*/ 20 w 24"/>
                    <a:gd name="T101" fmla="*/ 7 h 17"/>
                    <a:gd name="T102" fmla="*/ 20 w 24"/>
                    <a:gd name="T103" fmla="*/ 8 h 17"/>
                    <a:gd name="T104" fmla="*/ 18 w 24"/>
                    <a:gd name="T105" fmla="*/ 9 h 17"/>
                    <a:gd name="T106" fmla="*/ 18 w 24"/>
                    <a:gd name="T107" fmla="*/ 9 h 17"/>
                    <a:gd name="T108" fmla="*/ 22 w 24"/>
                    <a:gd name="T109" fmla="*/ 12 h 17"/>
                    <a:gd name="T110" fmla="*/ 21 w 24"/>
                    <a:gd name="T111" fmla="*/ 12 h 17"/>
                    <a:gd name="T112" fmla="*/ 19 w 24"/>
                    <a:gd name="T113" fmla="*/ 12 h 17"/>
                    <a:gd name="T114" fmla="*/ 19 w 24"/>
                    <a:gd name="T115" fmla="*/ 12 h 17"/>
                    <a:gd name="T116" fmla="*/ 19 w 24"/>
                    <a:gd name="T117" fmla="*/ 11 h 17"/>
                    <a:gd name="T118" fmla="*/ 21 w 24"/>
                    <a:gd name="T119" fmla="*/ 11 h 17"/>
                    <a:gd name="T120" fmla="*/ 22 w 24"/>
                    <a:gd name="T121"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 h="17">
                      <a:moveTo>
                        <a:pt x="12" y="0"/>
                      </a:moveTo>
                      <a:cubicBezTo>
                        <a:pt x="6" y="0"/>
                        <a:pt x="0" y="6"/>
                        <a:pt x="0" y="12"/>
                      </a:cubicBezTo>
                      <a:cubicBezTo>
                        <a:pt x="0" y="13"/>
                        <a:pt x="0" y="14"/>
                        <a:pt x="0" y="15"/>
                      </a:cubicBezTo>
                      <a:cubicBezTo>
                        <a:pt x="0" y="15"/>
                        <a:pt x="0" y="15"/>
                        <a:pt x="7" y="15"/>
                      </a:cubicBezTo>
                      <a:cubicBezTo>
                        <a:pt x="8" y="16"/>
                        <a:pt x="10" y="17"/>
                        <a:pt x="12" y="17"/>
                      </a:cubicBezTo>
                      <a:cubicBezTo>
                        <a:pt x="14" y="17"/>
                        <a:pt x="16" y="16"/>
                        <a:pt x="17" y="15"/>
                      </a:cubicBezTo>
                      <a:cubicBezTo>
                        <a:pt x="17" y="15"/>
                        <a:pt x="17" y="15"/>
                        <a:pt x="21" y="15"/>
                      </a:cubicBezTo>
                      <a:cubicBezTo>
                        <a:pt x="21" y="14"/>
                        <a:pt x="21" y="14"/>
                        <a:pt x="21" y="14"/>
                      </a:cubicBezTo>
                      <a:cubicBezTo>
                        <a:pt x="22" y="14"/>
                        <a:pt x="23" y="14"/>
                        <a:pt x="24" y="14"/>
                      </a:cubicBezTo>
                      <a:cubicBezTo>
                        <a:pt x="24" y="14"/>
                        <a:pt x="24" y="13"/>
                        <a:pt x="24" y="12"/>
                      </a:cubicBezTo>
                      <a:cubicBezTo>
                        <a:pt x="24" y="6"/>
                        <a:pt x="19" y="0"/>
                        <a:pt x="12" y="0"/>
                      </a:cubicBezTo>
                      <a:close/>
                      <a:moveTo>
                        <a:pt x="5" y="12"/>
                      </a:moveTo>
                      <a:cubicBezTo>
                        <a:pt x="3" y="12"/>
                        <a:pt x="3" y="12"/>
                        <a:pt x="3" y="12"/>
                      </a:cubicBezTo>
                      <a:cubicBezTo>
                        <a:pt x="3" y="12"/>
                        <a:pt x="2" y="12"/>
                        <a:pt x="2" y="12"/>
                      </a:cubicBezTo>
                      <a:cubicBezTo>
                        <a:pt x="2" y="11"/>
                        <a:pt x="3" y="11"/>
                        <a:pt x="3" y="11"/>
                      </a:cubicBezTo>
                      <a:cubicBezTo>
                        <a:pt x="5" y="11"/>
                        <a:pt x="5" y="11"/>
                        <a:pt x="5" y="11"/>
                      </a:cubicBezTo>
                      <a:cubicBezTo>
                        <a:pt x="5" y="11"/>
                        <a:pt x="5" y="11"/>
                        <a:pt x="5" y="12"/>
                      </a:cubicBezTo>
                      <a:cubicBezTo>
                        <a:pt x="5" y="12"/>
                        <a:pt x="5" y="12"/>
                        <a:pt x="5" y="12"/>
                      </a:cubicBezTo>
                      <a:close/>
                      <a:moveTo>
                        <a:pt x="7" y="9"/>
                      </a:moveTo>
                      <a:cubicBezTo>
                        <a:pt x="7" y="9"/>
                        <a:pt x="6" y="9"/>
                        <a:pt x="6" y="9"/>
                      </a:cubicBezTo>
                      <a:cubicBezTo>
                        <a:pt x="6" y="9"/>
                        <a:pt x="6" y="9"/>
                        <a:pt x="6" y="9"/>
                      </a:cubicBezTo>
                      <a:cubicBezTo>
                        <a:pt x="4" y="8"/>
                        <a:pt x="4" y="8"/>
                        <a:pt x="4" y="8"/>
                      </a:cubicBezTo>
                      <a:cubicBezTo>
                        <a:pt x="4" y="8"/>
                        <a:pt x="4" y="8"/>
                        <a:pt x="4" y="7"/>
                      </a:cubicBezTo>
                      <a:cubicBezTo>
                        <a:pt x="4" y="7"/>
                        <a:pt x="5" y="7"/>
                        <a:pt x="5" y="7"/>
                      </a:cubicBezTo>
                      <a:cubicBezTo>
                        <a:pt x="6" y="8"/>
                        <a:pt x="6" y="8"/>
                        <a:pt x="6" y="8"/>
                      </a:cubicBezTo>
                      <a:cubicBezTo>
                        <a:pt x="7" y="8"/>
                        <a:pt x="7" y="9"/>
                        <a:pt x="7" y="9"/>
                      </a:cubicBezTo>
                      <a:close/>
                      <a:moveTo>
                        <a:pt x="12" y="4"/>
                      </a:moveTo>
                      <a:cubicBezTo>
                        <a:pt x="12" y="3"/>
                        <a:pt x="12" y="3"/>
                        <a:pt x="12" y="3"/>
                      </a:cubicBezTo>
                      <a:cubicBezTo>
                        <a:pt x="12" y="3"/>
                        <a:pt x="13" y="3"/>
                        <a:pt x="13" y="4"/>
                      </a:cubicBezTo>
                      <a:cubicBezTo>
                        <a:pt x="13" y="5"/>
                        <a:pt x="13" y="5"/>
                        <a:pt x="13" y="5"/>
                      </a:cubicBezTo>
                      <a:cubicBezTo>
                        <a:pt x="13" y="6"/>
                        <a:pt x="12" y="6"/>
                        <a:pt x="12" y="6"/>
                      </a:cubicBezTo>
                      <a:cubicBezTo>
                        <a:pt x="12" y="6"/>
                        <a:pt x="12" y="6"/>
                        <a:pt x="12" y="5"/>
                      </a:cubicBezTo>
                      <a:cubicBezTo>
                        <a:pt x="12" y="4"/>
                        <a:pt x="12" y="4"/>
                        <a:pt x="12" y="4"/>
                      </a:cubicBezTo>
                      <a:close/>
                      <a:moveTo>
                        <a:pt x="13" y="14"/>
                      </a:moveTo>
                      <a:cubicBezTo>
                        <a:pt x="12" y="15"/>
                        <a:pt x="11" y="14"/>
                        <a:pt x="10" y="13"/>
                      </a:cubicBezTo>
                      <a:cubicBezTo>
                        <a:pt x="9" y="12"/>
                        <a:pt x="7" y="4"/>
                        <a:pt x="7" y="4"/>
                      </a:cubicBezTo>
                      <a:cubicBezTo>
                        <a:pt x="7" y="4"/>
                        <a:pt x="13" y="10"/>
                        <a:pt x="14" y="11"/>
                      </a:cubicBezTo>
                      <a:cubicBezTo>
                        <a:pt x="14" y="12"/>
                        <a:pt x="14" y="14"/>
                        <a:pt x="13" y="14"/>
                      </a:cubicBezTo>
                      <a:close/>
                      <a:moveTo>
                        <a:pt x="17" y="5"/>
                      </a:moveTo>
                      <a:cubicBezTo>
                        <a:pt x="16" y="6"/>
                        <a:pt x="16" y="6"/>
                        <a:pt x="16" y="6"/>
                      </a:cubicBezTo>
                      <a:cubicBezTo>
                        <a:pt x="16" y="7"/>
                        <a:pt x="16" y="7"/>
                        <a:pt x="15" y="7"/>
                      </a:cubicBezTo>
                      <a:cubicBezTo>
                        <a:pt x="15" y="7"/>
                        <a:pt x="15" y="7"/>
                        <a:pt x="15" y="7"/>
                      </a:cubicBezTo>
                      <a:cubicBezTo>
                        <a:pt x="15" y="6"/>
                        <a:pt x="15" y="6"/>
                        <a:pt x="15" y="6"/>
                      </a:cubicBezTo>
                      <a:cubicBezTo>
                        <a:pt x="16" y="4"/>
                        <a:pt x="16" y="4"/>
                        <a:pt x="16" y="4"/>
                      </a:cubicBezTo>
                      <a:cubicBezTo>
                        <a:pt x="16" y="4"/>
                        <a:pt x="16" y="4"/>
                        <a:pt x="17" y="4"/>
                      </a:cubicBezTo>
                      <a:cubicBezTo>
                        <a:pt x="17" y="4"/>
                        <a:pt x="17" y="5"/>
                        <a:pt x="17" y="5"/>
                      </a:cubicBezTo>
                      <a:close/>
                      <a:moveTo>
                        <a:pt x="18" y="9"/>
                      </a:moveTo>
                      <a:cubicBezTo>
                        <a:pt x="18" y="9"/>
                        <a:pt x="18" y="9"/>
                        <a:pt x="17" y="9"/>
                      </a:cubicBezTo>
                      <a:cubicBezTo>
                        <a:pt x="17" y="8"/>
                        <a:pt x="17" y="8"/>
                        <a:pt x="18" y="8"/>
                      </a:cubicBezTo>
                      <a:cubicBezTo>
                        <a:pt x="19" y="7"/>
                        <a:pt x="19" y="7"/>
                        <a:pt x="19" y="7"/>
                      </a:cubicBezTo>
                      <a:cubicBezTo>
                        <a:pt x="19" y="7"/>
                        <a:pt x="20" y="7"/>
                        <a:pt x="20" y="7"/>
                      </a:cubicBezTo>
                      <a:cubicBezTo>
                        <a:pt x="20" y="7"/>
                        <a:pt x="20" y="8"/>
                        <a:pt x="20" y="8"/>
                      </a:cubicBezTo>
                      <a:cubicBezTo>
                        <a:pt x="18" y="9"/>
                        <a:pt x="18" y="9"/>
                        <a:pt x="18" y="9"/>
                      </a:cubicBezTo>
                      <a:cubicBezTo>
                        <a:pt x="18" y="9"/>
                        <a:pt x="18" y="9"/>
                        <a:pt x="18" y="9"/>
                      </a:cubicBezTo>
                      <a:close/>
                      <a:moveTo>
                        <a:pt x="22" y="12"/>
                      </a:moveTo>
                      <a:cubicBezTo>
                        <a:pt x="22" y="12"/>
                        <a:pt x="21" y="12"/>
                        <a:pt x="21" y="12"/>
                      </a:cubicBezTo>
                      <a:cubicBezTo>
                        <a:pt x="19" y="12"/>
                        <a:pt x="19" y="12"/>
                        <a:pt x="19" y="12"/>
                      </a:cubicBezTo>
                      <a:cubicBezTo>
                        <a:pt x="19" y="12"/>
                        <a:pt x="19" y="12"/>
                        <a:pt x="19" y="12"/>
                      </a:cubicBezTo>
                      <a:cubicBezTo>
                        <a:pt x="19" y="11"/>
                        <a:pt x="19" y="11"/>
                        <a:pt x="19" y="11"/>
                      </a:cubicBezTo>
                      <a:cubicBezTo>
                        <a:pt x="21" y="11"/>
                        <a:pt x="21" y="11"/>
                        <a:pt x="21" y="11"/>
                      </a:cubicBezTo>
                      <a:cubicBezTo>
                        <a:pt x="21" y="11"/>
                        <a:pt x="22" y="11"/>
                        <a:pt x="2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baseline="-25000" dirty="0">
                    <a:solidFill>
                      <a:srgbClr val="505050"/>
                    </a:solidFill>
                  </a:endParaRPr>
                </a:p>
              </p:txBody>
            </p:sp>
            <p:sp>
              <p:nvSpPr>
                <p:cNvPr id="61" name="Freeform 7"/>
                <p:cNvSpPr>
                  <a:spLocks/>
                </p:cNvSpPr>
                <p:nvPr/>
              </p:nvSpPr>
              <p:spPr bwMode="auto">
                <a:xfrm>
                  <a:off x="3730" y="2149"/>
                  <a:ext cx="222" cy="122"/>
                </a:xfrm>
                <a:custGeom>
                  <a:avLst/>
                  <a:gdLst>
                    <a:gd name="T0" fmla="*/ 76 w 91"/>
                    <a:gd name="T1" fmla="*/ 50 h 50"/>
                    <a:gd name="T2" fmla="*/ 91 w 91"/>
                    <a:gd name="T3" fmla="*/ 50 h 50"/>
                    <a:gd name="T4" fmla="*/ 81 w 91"/>
                    <a:gd name="T5" fmla="*/ 16 h 50"/>
                    <a:gd name="T6" fmla="*/ 60 w 91"/>
                    <a:gd name="T7" fmla="*/ 0 h 50"/>
                    <a:gd name="T8" fmla="*/ 32 w 91"/>
                    <a:gd name="T9" fmla="*/ 0 h 50"/>
                    <a:gd name="T10" fmla="*/ 10 w 91"/>
                    <a:gd name="T11" fmla="*/ 16 h 50"/>
                    <a:gd name="T12" fmla="*/ 0 w 91"/>
                    <a:gd name="T13" fmla="*/ 50 h 50"/>
                    <a:gd name="T14" fmla="*/ 15 w 91"/>
                    <a:gd name="T15" fmla="*/ 50 h 50"/>
                    <a:gd name="T16" fmla="*/ 22 w 91"/>
                    <a:gd name="T17" fmla="*/ 27 h 50"/>
                    <a:gd name="T18" fmla="*/ 27 w 91"/>
                    <a:gd name="T19" fmla="*/ 27 h 50"/>
                    <a:gd name="T20" fmla="*/ 20 w 91"/>
                    <a:gd name="T21" fmla="*/ 50 h 50"/>
                    <a:gd name="T22" fmla="*/ 72 w 91"/>
                    <a:gd name="T23" fmla="*/ 50 h 50"/>
                    <a:gd name="T24" fmla="*/ 68 w 91"/>
                    <a:gd name="T25" fmla="*/ 36 h 50"/>
                    <a:gd name="T26" fmla="*/ 56 w 91"/>
                    <a:gd name="T27" fmla="*/ 41 h 50"/>
                    <a:gd name="T28" fmla="*/ 40 w 91"/>
                    <a:gd name="T29" fmla="*/ 25 h 50"/>
                    <a:gd name="T30" fmla="*/ 56 w 91"/>
                    <a:gd name="T31" fmla="*/ 9 h 50"/>
                    <a:gd name="T32" fmla="*/ 72 w 91"/>
                    <a:gd name="T33" fmla="*/ 25 h 50"/>
                    <a:gd name="T34" fmla="*/ 71 w 91"/>
                    <a:gd name="T35" fmla="*/ 31 h 50"/>
                    <a:gd name="T36" fmla="*/ 76 w 91"/>
                    <a:gd name="T3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50">
                      <a:moveTo>
                        <a:pt x="76" y="50"/>
                      </a:moveTo>
                      <a:cubicBezTo>
                        <a:pt x="91" y="50"/>
                        <a:pt x="91" y="50"/>
                        <a:pt x="91" y="50"/>
                      </a:cubicBezTo>
                      <a:cubicBezTo>
                        <a:pt x="81" y="16"/>
                        <a:pt x="81" y="16"/>
                        <a:pt x="81" y="16"/>
                      </a:cubicBezTo>
                      <a:cubicBezTo>
                        <a:pt x="80" y="10"/>
                        <a:pt x="73" y="0"/>
                        <a:pt x="60" y="0"/>
                      </a:cubicBezTo>
                      <a:cubicBezTo>
                        <a:pt x="32" y="0"/>
                        <a:pt x="32" y="0"/>
                        <a:pt x="32" y="0"/>
                      </a:cubicBezTo>
                      <a:cubicBezTo>
                        <a:pt x="19" y="0"/>
                        <a:pt x="12" y="10"/>
                        <a:pt x="10" y="16"/>
                      </a:cubicBezTo>
                      <a:cubicBezTo>
                        <a:pt x="0" y="50"/>
                        <a:pt x="0" y="50"/>
                        <a:pt x="0" y="50"/>
                      </a:cubicBezTo>
                      <a:cubicBezTo>
                        <a:pt x="15" y="50"/>
                        <a:pt x="15" y="50"/>
                        <a:pt x="15" y="50"/>
                      </a:cubicBezTo>
                      <a:cubicBezTo>
                        <a:pt x="22" y="27"/>
                        <a:pt x="22" y="27"/>
                        <a:pt x="22" y="27"/>
                      </a:cubicBezTo>
                      <a:cubicBezTo>
                        <a:pt x="27" y="27"/>
                        <a:pt x="27" y="27"/>
                        <a:pt x="27" y="27"/>
                      </a:cubicBezTo>
                      <a:cubicBezTo>
                        <a:pt x="20" y="50"/>
                        <a:pt x="20" y="50"/>
                        <a:pt x="20" y="50"/>
                      </a:cubicBezTo>
                      <a:cubicBezTo>
                        <a:pt x="72" y="50"/>
                        <a:pt x="72" y="50"/>
                        <a:pt x="72" y="50"/>
                      </a:cubicBezTo>
                      <a:cubicBezTo>
                        <a:pt x="70" y="44"/>
                        <a:pt x="69" y="39"/>
                        <a:pt x="68" y="36"/>
                      </a:cubicBezTo>
                      <a:cubicBezTo>
                        <a:pt x="65" y="39"/>
                        <a:pt x="61" y="41"/>
                        <a:pt x="56" y="41"/>
                      </a:cubicBezTo>
                      <a:cubicBezTo>
                        <a:pt x="47" y="41"/>
                        <a:pt x="40" y="34"/>
                        <a:pt x="40" y="25"/>
                      </a:cubicBezTo>
                      <a:cubicBezTo>
                        <a:pt x="40" y="17"/>
                        <a:pt x="47" y="9"/>
                        <a:pt x="56" y="9"/>
                      </a:cubicBezTo>
                      <a:cubicBezTo>
                        <a:pt x="65" y="9"/>
                        <a:pt x="72" y="17"/>
                        <a:pt x="72" y="25"/>
                      </a:cubicBezTo>
                      <a:cubicBezTo>
                        <a:pt x="72" y="27"/>
                        <a:pt x="72" y="29"/>
                        <a:pt x="71" y="31"/>
                      </a:cubicBezTo>
                      <a:cubicBezTo>
                        <a:pt x="76" y="50"/>
                        <a:pt x="76" y="50"/>
                        <a:pt x="76"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baseline="-25000" dirty="0">
                    <a:solidFill>
                      <a:srgbClr val="505050"/>
                    </a:solidFill>
                  </a:endParaRPr>
                </a:p>
              </p:txBody>
            </p:sp>
          </p:grpSp>
        </p:grpSp>
        <p:sp>
          <p:nvSpPr>
            <p:cNvPr id="62" name="TextBox 61"/>
            <p:cNvSpPr txBox="1"/>
            <p:nvPr/>
          </p:nvSpPr>
          <p:spPr>
            <a:xfrm>
              <a:off x="9520328" y="2437059"/>
              <a:ext cx="2135353" cy="332399"/>
            </a:xfrm>
            <a:prstGeom prst="rect">
              <a:avLst/>
            </a:prstGeom>
            <a:noFill/>
          </p:spPr>
          <p:txBody>
            <a:bodyPr wrap="square" lIns="0" tIns="0" rIns="0" bIns="0" rtlCol="0">
              <a:spAutoFit/>
            </a:bodyPr>
            <a:lstStyle/>
            <a:p>
              <a:pPr algn="ctr" defTabSz="914192">
                <a:lnSpc>
                  <a:spcPct val="90000"/>
                </a:lnSpc>
                <a:spcAft>
                  <a:spcPts val="588"/>
                </a:spcAft>
              </a:pPr>
              <a:r>
                <a:rPr lang="zh-TW" altLang="en-US" sz="2400" spc="-100" dirty="0">
                  <a:ln w="3175">
                    <a:noFill/>
                  </a:ln>
                  <a:solidFill>
                    <a:srgbClr val="EDC30D"/>
                  </a:solidFill>
                  <a:cs typeface="Segoe UI Semibold" panose="020B0702040204020203" pitchFamily="34" charset="0"/>
                </a:rPr>
                <a:t>每個人自行操作</a:t>
              </a:r>
              <a:endParaRPr lang="en-US" sz="2400" spc="-100" dirty="0">
                <a:ln w="3175">
                  <a:noFill/>
                </a:ln>
                <a:solidFill>
                  <a:srgbClr val="EDC30D"/>
                </a:solidFill>
                <a:cs typeface="Segoe UI Semibold" panose="020B0702040204020203" pitchFamily="34" charset="0"/>
              </a:endParaRPr>
            </a:p>
          </p:txBody>
        </p:sp>
        <p:grpSp>
          <p:nvGrpSpPr>
            <p:cNvPr id="81" name="Group 80"/>
            <p:cNvGrpSpPr/>
            <p:nvPr/>
          </p:nvGrpSpPr>
          <p:grpSpPr>
            <a:xfrm>
              <a:off x="5096777" y="1484640"/>
              <a:ext cx="3749042" cy="845808"/>
              <a:chOff x="5040505" y="1286370"/>
              <a:chExt cx="2479205" cy="869290"/>
            </a:xfrm>
            <a:solidFill>
              <a:srgbClr val="EDC30D"/>
            </a:solidFill>
          </p:grpSpPr>
          <p:sp>
            <p:nvSpPr>
              <p:cNvPr id="82" name="Title 1"/>
              <p:cNvSpPr txBox="1">
                <a:spLocks/>
              </p:cNvSpPr>
              <p:nvPr/>
            </p:nvSpPr>
            <p:spPr>
              <a:xfrm>
                <a:off x="5040505" y="1286370"/>
                <a:ext cx="1511710" cy="869290"/>
              </a:xfrm>
              <a:prstGeom prst="rect">
                <a:avLst/>
              </a:prstGeom>
              <a:solidFill>
                <a:srgbClr val="EDC30D"/>
              </a:solidFill>
            </p:spPr>
            <p:txBody>
              <a:bodyPr vert="horz" wrap="square" lIns="143407" tIns="89630" rIns="143407" bIns="89630"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spcBef>
                    <a:spcPct val="20000"/>
                  </a:spcBef>
                  <a:buSzPct val="90000"/>
                </a:pPr>
                <a:r>
                  <a:rPr lang="en-US" sz="2400" dirty="0">
                    <a:solidFill>
                      <a:schemeClr val="tx1"/>
                    </a:solidFill>
                    <a:latin typeface="Segoe UI Semibold" panose="020B0702040204020203" pitchFamily="34" charset="0"/>
                    <a:cs typeface="Segoe UI Semibold" panose="020B0702040204020203" pitchFamily="34" charset="0"/>
                  </a:rPr>
                  <a:t>3rd wave</a:t>
                </a:r>
                <a:br>
                  <a:rPr sz="2400" dirty="0">
                    <a:solidFill>
                      <a:schemeClr val="tx1"/>
                    </a:solidFill>
                    <a:latin typeface="Segoe UI Semibold" panose="020B0702040204020203" pitchFamily="34" charset="0"/>
                    <a:cs typeface="Segoe UI Semibold" panose="020B0702040204020203" pitchFamily="34" charset="0"/>
                  </a:rPr>
                </a:br>
                <a:r>
                  <a:rPr lang="zh-TW" altLang="en-US" sz="2400" dirty="0">
                    <a:solidFill>
                      <a:schemeClr val="tx1"/>
                    </a:solidFill>
                    <a:latin typeface="Segoe UI Semibold" panose="020B0702040204020203" pitchFamily="34" charset="0"/>
                    <a:cs typeface="Segoe UI Semibold" panose="020B0702040204020203" pitchFamily="34" charset="0"/>
                  </a:rPr>
                  <a:t>用戶型 </a:t>
                </a:r>
                <a:r>
                  <a:rPr lang="en-US" sz="2400" spc="0" dirty="0">
                    <a:solidFill>
                      <a:schemeClr val="tx1"/>
                    </a:solidFill>
                    <a:latin typeface="+mn-lt"/>
                    <a:cs typeface="+mn-cs"/>
                  </a:rPr>
                  <a:t>BI</a:t>
                </a:r>
              </a:p>
            </p:txBody>
          </p:sp>
          <p:cxnSp>
            <p:nvCxnSpPr>
              <p:cNvPr id="83" name="Straight Connector 82"/>
              <p:cNvCxnSpPr/>
              <p:nvPr/>
            </p:nvCxnSpPr>
            <p:spPr>
              <a:xfrm flipV="1">
                <a:off x="5040505" y="2132178"/>
                <a:ext cx="2479205" cy="1813"/>
              </a:xfrm>
              <a:prstGeom prst="line">
                <a:avLst/>
              </a:prstGeom>
              <a:grpFill/>
              <a:ln w="3175">
                <a:solidFill>
                  <a:srgbClr val="EDC30D"/>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4" name="Title 3"/>
          <p:cNvSpPr>
            <a:spLocks noGrp="1"/>
          </p:cNvSpPr>
          <p:nvPr>
            <p:ph type="title"/>
          </p:nvPr>
        </p:nvSpPr>
        <p:spPr/>
        <p:txBody>
          <a:bodyPr/>
          <a:lstStyle/>
          <a:p>
            <a:r>
              <a:rPr lang="zh-TW" altLang="en-US"/>
              <a:t>新一代的</a:t>
            </a:r>
            <a:r>
              <a:rPr lang="zh-TW" altLang="en-US" b="1" dirty="0"/>
              <a:t>商業智慧</a:t>
            </a:r>
            <a:r>
              <a:rPr lang="zh-TW" altLang="en-US" dirty="0"/>
              <a:t> </a:t>
            </a:r>
            <a:r>
              <a:rPr lang="en-US" altLang="zh-TW" dirty="0"/>
              <a:t>(</a:t>
            </a:r>
            <a:r>
              <a:rPr lang="en-AU" dirty="0"/>
              <a:t>BI) </a:t>
            </a:r>
            <a:r>
              <a:rPr lang="zh-TW" altLang="en-US" dirty="0"/>
              <a:t>工具</a:t>
            </a:r>
            <a:endParaRPr lang="en-US" dirty="0"/>
          </a:p>
        </p:txBody>
      </p:sp>
      <p:sp>
        <p:nvSpPr>
          <p:cNvPr id="5" name="Content Placeholder 4"/>
          <p:cNvSpPr>
            <a:spLocks noGrp="1"/>
          </p:cNvSpPr>
          <p:nvPr>
            <p:ph sz="quarter" idx="10"/>
          </p:nvPr>
        </p:nvSpPr>
        <p:spPr/>
        <p:txBody>
          <a:bodyPr/>
          <a:lstStyle/>
          <a:p>
            <a:r>
              <a:rPr lang="zh-TW" altLang="en-US" dirty="0"/>
              <a:t>時至今日</a:t>
            </a:r>
            <a:r>
              <a:rPr lang="en-AU" dirty="0"/>
              <a:t>, </a:t>
            </a:r>
            <a:r>
              <a:rPr lang="zh-TW" altLang="en-US" dirty="0"/>
              <a:t>每個人都需要 </a:t>
            </a:r>
            <a:r>
              <a:rPr lang="en-US" altLang="zh-TW" dirty="0"/>
              <a:t>BI</a:t>
            </a:r>
            <a:endParaRPr lang="en-US" dirty="0"/>
          </a:p>
        </p:txBody>
      </p:sp>
      <p:grpSp>
        <p:nvGrpSpPr>
          <p:cNvPr id="85" name="Group 84"/>
          <p:cNvGrpSpPr/>
          <p:nvPr/>
        </p:nvGrpSpPr>
        <p:grpSpPr>
          <a:xfrm>
            <a:off x="0" y="2965567"/>
            <a:ext cx="12192000" cy="4214163"/>
            <a:chOff x="0" y="2965567"/>
            <a:chExt cx="12192000" cy="4214163"/>
          </a:xfrm>
        </p:grpSpPr>
        <p:sp>
          <p:nvSpPr>
            <p:cNvPr id="51" name="Flowchart: Document 3"/>
            <p:cNvSpPr/>
            <p:nvPr/>
          </p:nvSpPr>
          <p:spPr bwMode="auto">
            <a:xfrm flipH="1" flipV="1">
              <a:off x="0" y="2965567"/>
              <a:ext cx="12192000" cy="4214163"/>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chemeClr val="tx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63" name="Group 62"/>
            <p:cNvGrpSpPr/>
            <p:nvPr/>
          </p:nvGrpSpPr>
          <p:grpSpPr>
            <a:xfrm>
              <a:off x="9372283" y="3134790"/>
              <a:ext cx="2431443" cy="1071961"/>
              <a:chOff x="9372283" y="3156562"/>
              <a:chExt cx="2431443" cy="1071961"/>
            </a:xfrm>
            <a:solidFill>
              <a:srgbClr val="EDC30D"/>
            </a:solidFill>
          </p:grpSpPr>
          <p:sp>
            <p:nvSpPr>
              <p:cNvPr id="64" name="TextBox 15"/>
              <p:cNvSpPr txBox="1"/>
              <p:nvPr/>
            </p:nvSpPr>
            <p:spPr>
              <a:xfrm>
                <a:off x="9372283" y="3896124"/>
                <a:ext cx="2431443" cy="332399"/>
              </a:xfrm>
              <a:prstGeom prst="rect">
                <a:avLst/>
              </a:prstGeom>
              <a:noFill/>
            </p:spPr>
            <p:txBody>
              <a:bodyPr wrap="square" lIns="0" tIns="0" rIns="0" bIns="0" rtlCol="0">
                <a:spAutoFit/>
              </a:bodyPr>
              <a:lstStyle/>
              <a:p>
                <a:pPr algn="ctr" defTabSz="914192">
                  <a:lnSpc>
                    <a:spcPct val="90000"/>
                  </a:lnSpc>
                  <a:spcAft>
                    <a:spcPts val="588"/>
                  </a:spcAft>
                </a:pPr>
                <a:r>
                  <a:rPr lang="zh-TW" altLang="en-US" sz="2400" spc="-100" dirty="0">
                    <a:ln w="3175">
                      <a:noFill/>
                    </a:ln>
                    <a:solidFill>
                      <a:srgbClr val="EDC30D"/>
                    </a:solidFill>
                    <a:cs typeface="Segoe UI Semibold" panose="020B0702040204020203" pitchFamily="34" charset="0"/>
                  </a:rPr>
                  <a:t>由分析師提供</a:t>
                </a:r>
                <a:endParaRPr lang="en-US" sz="2400" spc="-100" dirty="0">
                  <a:ln w="3175">
                    <a:noFill/>
                  </a:ln>
                  <a:solidFill>
                    <a:srgbClr val="EDC30D"/>
                  </a:solidFill>
                  <a:cs typeface="Segoe UI Semibold" panose="020B0702040204020203" pitchFamily="34" charset="0"/>
                </a:endParaRPr>
              </a:p>
            </p:txBody>
          </p:sp>
          <p:sp>
            <p:nvSpPr>
              <p:cNvPr id="65" name="Freeform 13"/>
              <p:cNvSpPr>
                <a:spLocks noChangeAspect="1" noEditPoints="1"/>
              </p:cNvSpPr>
              <p:nvPr/>
            </p:nvSpPr>
            <p:spPr bwMode="auto">
              <a:xfrm>
                <a:off x="10640907" y="3160388"/>
                <a:ext cx="657484" cy="667042"/>
              </a:xfrm>
              <a:custGeom>
                <a:avLst/>
                <a:gdLst>
                  <a:gd name="T0" fmla="*/ 147 w 288"/>
                  <a:gd name="T1" fmla="*/ 116 h 293"/>
                  <a:gd name="T2" fmla="*/ 147 w 288"/>
                  <a:gd name="T3" fmla="*/ 116 h 293"/>
                  <a:gd name="T4" fmla="*/ 147 w 288"/>
                  <a:gd name="T5" fmla="*/ 116 h 293"/>
                  <a:gd name="T6" fmla="*/ 203 w 288"/>
                  <a:gd name="T7" fmla="*/ 58 h 293"/>
                  <a:gd name="T8" fmla="*/ 146 w 288"/>
                  <a:gd name="T9" fmla="*/ 1 h 293"/>
                  <a:gd name="T10" fmla="*/ 106 w 288"/>
                  <a:gd name="T11" fmla="*/ 18 h 293"/>
                  <a:gd name="T12" fmla="*/ 90 w 288"/>
                  <a:gd name="T13" fmla="*/ 59 h 293"/>
                  <a:gd name="T14" fmla="*/ 107 w 288"/>
                  <a:gd name="T15" fmla="*/ 99 h 293"/>
                  <a:gd name="T16" fmla="*/ 147 w 288"/>
                  <a:gd name="T17" fmla="*/ 116 h 293"/>
                  <a:gd name="T18" fmla="*/ 240 w 288"/>
                  <a:gd name="T19" fmla="*/ 293 h 293"/>
                  <a:gd name="T20" fmla="*/ 288 w 288"/>
                  <a:gd name="T21" fmla="*/ 292 h 293"/>
                  <a:gd name="T22" fmla="*/ 255 w 288"/>
                  <a:gd name="T23" fmla="*/ 185 h 293"/>
                  <a:gd name="T24" fmla="*/ 189 w 288"/>
                  <a:gd name="T25" fmla="*/ 135 h 293"/>
                  <a:gd name="T26" fmla="*/ 172 w 288"/>
                  <a:gd name="T27" fmla="*/ 135 h 293"/>
                  <a:gd name="T28" fmla="*/ 172 w 288"/>
                  <a:gd name="T29" fmla="*/ 136 h 293"/>
                  <a:gd name="T30" fmla="*/ 173 w 288"/>
                  <a:gd name="T31" fmla="*/ 137 h 293"/>
                  <a:gd name="T32" fmla="*/ 172 w 288"/>
                  <a:gd name="T33" fmla="*/ 139 h 293"/>
                  <a:gd name="T34" fmla="*/ 161 w 288"/>
                  <a:gd name="T35" fmla="*/ 155 h 293"/>
                  <a:gd name="T36" fmla="*/ 173 w 288"/>
                  <a:gd name="T37" fmla="*/ 232 h 293"/>
                  <a:gd name="T38" fmla="*/ 148 w 288"/>
                  <a:gd name="T39" fmla="*/ 263 h 293"/>
                  <a:gd name="T40" fmla="*/ 138 w 288"/>
                  <a:gd name="T41" fmla="*/ 250 h 293"/>
                  <a:gd name="T42" fmla="*/ 123 w 288"/>
                  <a:gd name="T43" fmla="*/ 233 h 293"/>
                  <a:gd name="T44" fmla="*/ 133 w 288"/>
                  <a:gd name="T45" fmla="*/ 155 h 293"/>
                  <a:gd name="T46" fmla="*/ 122 w 288"/>
                  <a:gd name="T47" fmla="*/ 139 h 293"/>
                  <a:gd name="T48" fmla="*/ 122 w 288"/>
                  <a:gd name="T49" fmla="*/ 138 h 293"/>
                  <a:gd name="T50" fmla="*/ 122 w 288"/>
                  <a:gd name="T51" fmla="*/ 136 h 293"/>
                  <a:gd name="T52" fmla="*/ 122 w 288"/>
                  <a:gd name="T53" fmla="*/ 135 h 293"/>
                  <a:gd name="T54" fmla="*/ 101 w 288"/>
                  <a:gd name="T55" fmla="*/ 135 h 293"/>
                  <a:gd name="T56" fmla="*/ 33 w 288"/>
                  <a:gd name="T57" fmla="*/ 185 h 293"/>
                  <a:gd name="T58" fmla="*/ 0 w 288"/>
                  <a:gd name="T59" fmla="*/ 293 h 293"/>
                  <a:gd name="T60" fmla="*/ 49 w 288"/>
                  <a:gd name="T61" fmla="*/ 293 h 293"/>
                  <a:gd name="T62" fmla="*/ 69 w 288"/>
                  <a:gd name="T63" fmla="*/ 222 h 293"/>
                  <a:gd name="T64" fmla="*/ 84 w 288"/>
                  <a:gd name="T65" fmla="*/ 222 h 293"/>
                  <a:gd name="T66" fmla="*/ 63 w 288"/>
                  <a:gd name="T67" fmla="*/ 293 h 293"/>
                  <a:gd name="T68" fmla="*/ 225 w 288"/>
                  <a:gd name="T69" fmla="*/ 293 h 293"/>
                  <a:gd name="T70" fmla="*/ 205 w 288"/>
                  <a:gd name="T71" fmla="*/ 221 h 293"/>
                  <a:gd name="T72" fmla="*/ 219 w 288"/>
                  <a:gd name="T73" fmla="*/ 221 h 293"/>
                  <a:gd name="T74" fmla="*/ 240 w 288"/>
                  <a:gd name="T75" fmla="*/ 293 h 293"/>
                  <a:gd name="T76" fmla="*/ 154 w 288"/>
                  <a:gd name="T77" fmla="*/ 150 h 293"/>
                  <a:gd name="T78" fmla="*/ 164 w 288"/>
                  <a:gd name="T79" fmla="*/ 138 h 293"/>
                  <a:gd name="T80" fmla="*/ 164 w 288"/>
                  <a:gd name="T81" fmla="*/ 137 h 293"/>
                  <a:gd name="T82" fmla="*/ 162 w 288"/>
                  <a:gd name="T83" fmla="*/ 135 h 293"/>
                  <a:gd name="T84" fmla="*/ 158 w 288"/>
                  <a:gd name="T85" fmla="*/ 132 h 293"/>
                  <a:gd name="T86" fmla="*/ 147 w 288"/>
                  <a:gd name="T87" fmla="*/ 130 h 293"/>
                  <a:gd name="T88" fmla="*/ 137 w 288"/>
                  <a:gd name="T89" fmla="*/ 132 h 293"/>
                  <a:gd name="T90" fmla="*/ 132 w 288"/>
                  <a:gd name="T91" fmla="*/ 135 h 293"/>
                  <a:gd name="T92" fmla="*/ 131 w 288"/>
                  <a:gd name="T93" fmla="*/ 138 h 293"/>
                  <a:gd name="T94" fmla="*/ 131 w 288"/>
                  <a:gd name="T95" fmla="*/ 138 h 293"/>
                  <a:gd name="T96" fmla="*/ 140 w 288"/>
                  <a:gd name="T97" fmla="*/ 150 h 293"/>
                  <a:gd name="T98" fmla="*/ 143 w 288"/>
                  <a:gd name="T99" fmla="*/ 152 h 293"/>
                  <a:gd name="T100" fmla="*/ 132 w 288"/>
                  <a:gd name="T101" fmla="*/ 230 h 293"/>
                  <a:gd name="T102" fmla="*/ 144 w 288"/>
                  <a:gd name="T103" fmla="*/ 244 h 293"/>
                  <a:gd name="T104" fmla="*/ 146 w 288"/>
                  <a:gd name="T105" fmla="*/ 247 h 293"/>
                  <a:gd name="T106" fmla="*/ 148 w 288"/>
                  <a:gd name="T107" fmla="*/ 249 h 293"/>
                  <a:gd name="T108" fmla="*/ 150 w 288"/>
                  <a:gd name="T109" fmla="*/ 247 h 293"/>
                  <a:gd name="T110" fmla="*/ 152 w 288"/>
                  <a:gd name="T111" fmla="*/ 244 h 293"/>
                  <a:gd name="T112" fmla="*/ 164 w 288"/>
                  <a:gd name="T113" fmla="*/ 230 h 293"/>
                  <a:gd name="T114" fmla="*/ 152 w 288"/>
                  <a:gd name="T115" fmla="*/ 152 h 293"/>
                  <a:gd name="T116" fmla="*/ 154 w 288"/>
                  <a:gd name="T117" fmla="*/ 15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293">
                    <a:moveTo>
                      <a:pt x="147" y="116"/>
                    </a:moveTo>
                    <a:cubicBezTo>
                      <a:pt x="147" y="116"/>
                      <a:pt x="147" y="116"/>
                      <a:pt x="147" y="116"/>
                    </a:cubicBezTo>
                    <a:cubicBezTo>
                      <a:pt x="147" y="116"/>
                      <a:pt x="147" y="116"/>
                      <a:pt x="147" y="116"/>
                    </a:cubicBezTo>
                    <a:cubicBezTo>
                      <a:pt x="178" y="115"/>
                      <a:pt x="203" y="89"/>
                      <a:pt x="203" y="58"/>
                    </a:cubicBezTo>
                    <a:cubicBezTo>
                      <a:pt x="202" y="26"/>
                      <a:pt x="177" y="0"/>
                      <a:pt x="146" y="1"/>
                    </a:cubicBezTo>
                    <a:cubicBezTo>
                      <a:pt x="131" y="1"/>
                      <a:pt x="117" y="7"/>
                      <a:pt x="106" y="18"/>
                    </a:cubicBezTo>
                    <a:cubicBezTo>
                      <a:pt x="96" y="29"/>
                      <a:pt x="90" y="43"/>
                      <a:pt x="90" y="59"/>
                    </a:cubicBezTo>
                    <a:cubicBezTo>
                      <a:pt x="90" y="74"/>
                      <a:pt x="96" y="89"/>
                      <a:pt x="107" y="99"/>
                    </a:cubicBezTo>
                    <a:cubicBezTo>
                      <a:pt x="118" y="110"/>
                      <a:pt x="132" y="116"/>
                      <a:pt x="147" y="116"/>
                    </a:cubicBezTo>
                    <a:close/>
                    <a:moveTo>
                      <a:pt x="240" y="293"/>
                    </a:moveTo>
                    <a:cubicBezTo>
                      <a:pt x="288" y="292"/>
                      <a:pt x="288" y="292"/>
                      <a:pt x="288" y="292"/>
                    </a:cubicBezTo>
                    <a:cubicBezTo>
                      <a:pt x="255" y="185"/>
                      <a:pt x="255" y="185"/>
                      <a:pt x="255" y="185"/>
                    </a:cubicBezTo>
                    <a:cubicBezTo>
                      <a:pt x="250" y="167"/>
                      <a:pt x="228" y="136"/>
                      <a:pt x="189" y="135"/>
                    </a:cubicBezTo>
                    <a:cubicBezTo>
                      <a:pt x="172" y="135"/>
                      <a:pt x="172" y="135"/>
                      <a:pt x="172" y="135"/>
                    </a:cubicBezTo>
                    <a:cubicBezTo>
                      <a:pt x="172" y="135"/>
                      <a:pt x="172" y="135"/>
                      <a:pt x="172" y="136"/>
                    </a:cubicBezTo>
                    <a:cubicBezTo>
                      <a:pt x="173" y="137"/>
                      <a:pt x="173" y="137"/>
                      <a:pt x="173" y="137"/>
                    </a:cubicBezTo>
                    <a:cubicBezTo>
                      <a:pt x="172" y="139"/>
                      <a:pt x="172" y="139"/>
                      <a:pt x="172" y="139"/>
                    </a:cubicBezTo>
                    <a:cubicBezTo>
                      <a:pt x="172" y="143"/>
                      <a:pt x="168" y="148"/>
                      <a:pt x="161" y="155"/>
                    </a:cubicBezTo>
                    <a:cubicBezTo>
                      <a:pt x="173" y="232"/>
                      <a:pt x="173" y="232"/>
                      <a:pt x="173" y="232"/>
                    </a:cubicBezTo>
                    <a:cubicBezTo>
                      <a:pt x="148" y="263"/>
                      <a:pt x="148" y="263"/>
                      <a:pt x="148" y="263"/>
                    </a:cubicBezTo>
                    <a:cubicBezTo>
                      <a:pt x="138" y="250"/>
                      <a:pt x="138" y="250"/>
                      <a:pt x="138" y="250"/>
                    </a:cubicBezTo>
                    <a:cubicBezTo>
                      <a:pt x="123" y="233"/>
                      <a:pt x="123" y="233"/>
                      <a:pt x="123" y="233"/>
                    </a:cubicBezTo>
                    <a:cubicBezTo>
                      <a:pt x="133" y="155"/>
                      <a:pt x="133" y="155"/>
                      <a:pt x="133" y="155"/>
                    </a:cubicBezTo>
                    <a:cubicBezTo>
                      <a:pt x="126" y="149"/>
                      <a:pt x="122" y="143"/>
                      <a:pt x="122" y="139"/>
                    </a:cubicBezTo>
                    <a:cubicBezTo>
                      <a:pt x="122" y="138"/>
                      <a:pt x="122" y="138"/>
                      <a:pt x="122" y="138"/>
                    </a:cubicBezTo>
                    <a:cubicBezTo>
                      <a:pt x="122" y="136"/>
                      <a:pt x="122" y="136"/>
                      <a:pt x="122" y="136"/>
                    </a:cubicBezTo>
                    <a:cubicBezTo>
                      <a:pt x="122" y="136"/>
                      <a:pt x="122" y="135"/>
                      <a:pt x="122" y="135"/>
                    </a:cubicBezTo>
                    <a:cubicBezTo>
                      <a:pt x="101" y="135"/>
                      <a:pt x="101" y="135"/>
                      <a:pt x="101" y="135"/>
                    </a:cubicBezTo>
                    <a:cubicBezTo>
                      <a:pt x="61" y="135"/>
                      <a:pt x="39" y="167"/>
                      <a:pt x="33" y="185"/>
                    </a:cubicBezTo>
                    <a:cubicBezTo>
                      <a:pt x="0" y="293"/>
                      <a:pt x="0" y="293"/>
                      <a:pt x="0" y="293"/>
                    </a:cubicBezTo>
                    <a:cubicBezTo>
                      <a:pt x="49" y="293"/>
                      <a:pt x="49" y="293"/>
                      <a:pt x="49" y="293"/>
                    </a:cubicBezTo>
                    <a:cubicBezTo>
                      <a:pt x="69" y="222"/>
                      <a:pt x="69" y="222"/>
                      <a:pt x="69" y="222"/>
                    </a:cubicBezTo>
                    <a:cubicBezTo>
                      <a:pt x="84" y="222"/>
                      <a:pt x="84" y="222"/>
                      <a:pt x="84" y="222"/>
                    </a:cubicBezTo>
                    <a:cubicBezTo>
                      <a:pt x="63" y="293"/>
                      <a:pt x="63" y="293"/>
                      <a:pt x="63" y="293"/>
                    </a:cubicBezTo>
                    <a:cubicBezTo>
                      <a:pt x="225" y="293"/>
                      <a:pt x="225" y="293"/>
                      <a:pt x="225" y="293"/>
                    </a:cubicBezTo>
                    <a:cubicBezTo>
                      <a:pt x="205" y="221"/>
                      <a:pt x="205" y="221"/>
                      <a:pt x="205" y="221"/>
                    </a:cubicBezTo>
                    <a:cubicBezTo>
                      <a:pt x="219" y="221"/>
                      <a:pt x="219" y="221"/>
                      <a:pt x="219" y="221"/>
                    </a:cubicBezTo>
                    <a:lnTo>
                      <a:pt x="240" y="293"/>
                    </a:lnTo>
                    <a:close/>
                    <a:moveTo>
                      <a:pt x="154" y="150"/>
                    </a:moveTo>
                    <a:cubicBezTo>
                      <a:pt x="163" y="142"/>
                      <a:pt x="164" y="138"/>
                      <a:pt x="164" y="138"/>
                    </a:cubicBezTo>
                    <a:cubicBezTo>
                      <a:pt x="164" y="137"/>
                      <a:pt x="164" y="137"/>
                      <a:pt x="164" y="137"/>
                    </a:cubicBezTo>
                    <a:cubicBezTo>
                      <a:pt x="164" y="137"/>
                      <a:pt x="163" y="136"/>
                      <a:pt x="162" y="135"/>
                    </a:cubicBezTo>
                    <a:cubicBezTo>
                      <a:pt x="161" y="134"/>
                      <a:pt x="160" y="133"/>
                      <a:pt x="158" y="132"/>
                    </a:cubicBezTo>
                    <a:cubicBezTo>
                      <a:pt x="155" y="131"/>
                      <a:pt x="151" y="130"/>
                      <a:pt x="147" y="130"/>
                    </a:cubicBezTo>
                    <a:cubicBezTo>
                      <a:pt x="144" y="130"/>
                      <a:pt x="140" y="131"/>
                      <a:pt x="137" y="132"/>
                    </a:cubicBezTo>
                    <a:cubicBezTo>
                      <a:pt x="135" y="133"/>
                      <a:pt x="133" y="134"/>
                      <a:pt x="132" y="135"/>
                    </a:cubicBezTo>
                    <a:cubicBezTo>
                      <a:pt x="131" y="136"/>
                      <a:pt x="131" y="137"/>
                      <a:pt x="131" y="138"/>
                    </a:cubicBezTo>
                    <a:cubicBezTo>
                      <a:pt x="131" y="138"/>
                      <a:pt x="131" y="138"/>
                      <a:pt x="131" y="138"/>
                    </a:cubicBezTo>
                    <a:cubicBezTo>
                      <a:pt x="131" y="138"/>
                      <a:pt x="131" y="142"/>
                      <a:pt x="140" y="150"/>
                    </a:cubicBezTo>
                    <a:cubicBezTo>
                      <a:pt x="143" y="152"/>
                      <a:pt x="143" y="152"/>
                      <a:pt x="143" y="152"/>
                    </a:cubicBezTo>
                    <a:cubicBezTo>
                      <a:pt x="132" y="230"/>
                      <a:pt x="132" y="230"/>
                      <a:pt x="132" y="230"/>
                    </a:cubicBezTo>
                    <a:cubicBezTo>
                      <a:pt x="144" y="244"/>
                      <a:pt x="144" y="244"/>
                      <a:pt x="144" y="244"/>
                    </a:cubicBezTo>
                    <a:cubicBezTo>
                      <a:pt x="146" y="247"/>
                      <a:pt x="146" y="247"/>
                      <a:pt x="146" y="247"/>
                    </a:cubicBezTo>
                    <a:cubicBezTo>
                      <a:pt x="148" y="249"/>
                      <a:pt x="148" y="249"/>
                      <a:pt x="148" y="249"/>
                    </a:cubicBezTo>
                    <a:cubicBezTo>
                      <a:pt x="150" y="247"/>
                      <a:pt x="150" y="247"/>
                      <a:pt x="150" y="247"/>
                    </a:cubicBezTo>
                    <a:cubicBezTo>
                      <a:pt x="152" y="244"/>
                      <a:pt x="152" y="244"/>
                      <a:pt x="152" y="244"/>
                    </a:cubicBezTo>
                    <a:cubicBezTo>
                      <a:pt x="164" y="230"/>
                      <a:pt x="164" y="230"/>
                      <a:pt x="164" y="230"/>
                    </a:cubicBezTo>
                    <a:cubicBezTo>
                      <a:pt x="152" y="152"/>
                      <a:pt x="152" y="152"/>
                      <a:pt x="152" y="152"/>
                    </a:cubicBezTo>
                    <a:lnTo>
                      <a:pt x="154" y="150"/>
                    </a:ln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grpSp>
            <p:nvGrpSpPr>
              <p:cNvPr id="66" name="Group 4"/>
              <p:cNvGrpSpPr>
                <a:grpSpLocks/>
              </p:cNvGrpSpPr>
              <p:nvPr/>
            </p:nvGrpSpPr>
            <p:grpSpPr bwMode="auto">
              <a:xfrm>
                <a:off x="9890692" y="3156562"/>
                <a:ext cx="629033" cy="664924"/>
                <a:chOff x="3730" y="2047"/>
                <a:chExt cx="222" cy="226"/>
              </a:xfrm>
              <a:grpFill/>
            </p:grpSpPr>
            <p:sp>
              <p:nvSpPr>
                <p:cNvPr id="67" name="AutoShape 3"/>
                <p:cNvSpPr>
                  <a:spLocks noChangeAspect="1" noChangeArrowheads="1" noTextEdit="1"/>
                </p:cNvSpPr>
                <p:nvPr/>
              </p:nvSpPr>
              <p:spPr bwMode="auto">
                <a:xfrm>
                  <a:off x="3730" y="2047"/>
                  <a:ext cx="220" cy="22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baseline="-25000" dirty="0">
                    <a:solidFill>
                      <a:srgbClr val="505050"/>
                    </a:solidFill>
                  </a:endParaRPr>
                </a:p>
              </p:txBody>
            </p:sp>
            <p:sp>
              <p:nvSpPr>
                <p:cNvPr id="68" name="Oval 5"/>
                <p:cNvSpPr>
                  <a:spLocks noChangeArrowheads="1"/>
                </p:cNvSpPr>
                <p:nvPr/>
              </p:nvSpPr>
              <p:spPr bwMode="auto">
                <a:xfrm>
                  <a:off x="3798" y="2049"/>
                  <a:ext cx="88"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baseline="-25000" dirty="0">
                    <a:solidFill>
                      <a:srgbClr val="505050"/>
                    </a:solidFill>
                  </a:endParaRPr>
                </a:p>
              </p:txBody>
            </p:sp>
            <p:sp>
              <p:nvSpPr>
                <p:cNvPr id="69" name="Freeform 6"/>
                <p:cNvSpPr>
                  <a:spLocks noEditPoints="1"/>
                </p:cNvSpPr>
                <p:nvPr/>
              </p:nvSpPr>
              <p:spPr bwMode="auto">
                <a:xfrm>
                  <a:off x="3835" y="2181"/>
                  <a:ext cx="58" cy="41"/>
                </a:xfrm>
                <a:custGeom>
                  <a:avLst/>
                  <a:gdLst>
                    <a:gd name="T0" fmla="*/ 12 w 24"/>
                    <a:gd name="T1" fmla="*/ 0 h 17"/>
                    <a:gd name="T2" fmla="*/ 0 w 24"/>
                    <a:gd name="T3" fmla="*/ 12 h 17"/>
                    <a:gd name="T4" fmla="*/ 0 w 24"/>
                    <a:gd name="T5" fmla="*/ 15 h 17"/>
                    <a:gd name="T6" fmla="*/ 7 w 24"/>
                    <a:gd name="T7" fmla="*/ 15 h 17"/>
                    <a:gd name="T8" fmla="*/ 12 w 24"/>
                    <a:gd name="T9" fmla="*/ 17 h 17"/>
                    <a:gd name="T10" fmla="*/ 17 w 24"/>
                    <a:gd name="T11" fmla="*/ 15 h 17"/>
                    <a:gd name="T12" fmla="*/ 21 w 24"/>
                    <a:gd name="T13" fmla="*/ 15 h 17"/>
                    <a:gd name="T14" fmla="*/ 21 w 24"/>
                    <a:gd name="T15" fmla="*/ 14 h 17"/>
                    <a:gd name="T16" fmla="*/ 24 w 24"/>
                    <a:gd name="T17" fmla="*/ 14 h 17"/>
                    <a:gd name="T18" fmla="*/ 24 w 24"/>
                    <a:gd name="T19" fmla="*/ 12 h 17"/>
                    <a:gd name="T20" fmla="*/ 12 w 24"/>
                    <a:gd name="T21" fmla="*/ 0 h 17"/>
                    <a:gd name="T22" fmla="*/ 5 w 24"/>
                    <a:gd name="T23" fmla="*/ 12 h 17"/>
                    <a:gd name="T24" fmla="*/ 3 w 24"/>
                    <a:gd name="T25" fmla="*/ 12 h 17"/>
                    <a:gd name="T26" fmla="*/ 2 w 24"/>
                    <a:gd name="T27" fmla="*/ 12 h 17"/>
                    <a:gd name="T28" fmla="*/ 3 w 24"/>
                    <a:gd name="T29" fmla="*/ 11 h 17"/>
                    <a:gd name="T30" fmla="*/ 5 w 24"/>
                    <a:gd name="T31" fmla="*/ 11 h 17"/>
                    <a:gd name="T32" fmla="*/ 5 w 24"/>
                    <a:gd name="T33" fmla="*/ 12 h 17"/>
                    <a:gd name="T34" fmla="*/ 5 w 24"/>
                    <a:gd name="T35" fmla="*/ 12 h 17"/>
                    <a:gd name="T36" fmla="*/ 7 w 24"/>
                    <a:gd name="T37" fmla="*/ 9 h 17"/>
                    <a:gd name="T38" fmla="*/ 6 w 24"/>
                    <a:gd name="T39" fmla="*/ 9 h 17"/>
                    <a:gd name="T40" fmla="*/ 6 w 24"/>
                    <a:gd name="T41" fmla="*/ 9 h 17"/>
                    <a:gd name="T42" fmla="*/ 4 w 24"/>
                    <a:gd name="T43" fmla="*/ 8 h 17"/>
                    <a:gd name="T44" fmla="*/ 4 w 24"/>
                    <a:gd name="T45" fmla="*/ 7 h 17"/>
                    <a:gd name="T46" fmla="*/ 5 w 24"/>
                    <a:gd name="T47" fmla="*/ 7 h 17"/>
                    <a:gd name="T48" fmla="*/ 6 w 24"/>
                    <a:gd name="T49" fmla="*/ 8 h 17"/>
                    <a:gd name="T50" fmla="*/ 7 w 24"/>
                    <a:gd name="T51" fmla="*/ 9 h 17"/>
                    <a:gd name="T52" fmla="*/ 12 w 24"/>
                    <a:gd name="T53" fmla="*/ 4 h 17"/>
                    <a:gd name="T54" fmla="*/ 12 w 24"/>
                    <a:gd name="T55" fmla="*/ 3 h 17"/>
                    <a:gd name="T56" fmla="*/ 13 w 24"/>
                    <a:gd name="T57" fmla="*/ 4 h 17"/>
                    <a:gd name="T58" fmla="*/ 13 w 24"/>
                    <a:gd name="T59" fmla="*/ 5 h 17"/>
                    <a:gd name="T60" fmla="*/ 12 w 24"/>
                    <a:gd name="T61" fmla="*/ 6 h 17"/>
                    <a:gd name="T62" fmla="*/ 12 w 24"/>
                    <a:gd name="T63" fmla="*/ 5 h 17"/>
                    <a:gd name="T64" fmla="*/ 12 w 24"/>
                    <a:gd name="T65" fmla="*/ 4 h 17"/>
                    <a:gd name="T66" fmla="*/ 13 w 24"/>
                    <a:gd name="T67" fmla="*/ 14 h 17"/>
                    <a:gd name="T68" fmla="*/ 10 w 24"/>
                    <a:gd name="T69" fmla="*/ 13 h 17"/>
                    <a:gd name="T70" fmla="*/ 7 w 24"/>
                    <a:gd name="T71" fmla="*/ 4 h 17"/>
                    <a:gd name="T72" fmla="*/ 14 w 24"/>
                    <a:gd name="T73" fmla="*/ 11 h 17"/>
                    <a:gd name="T74" fmla="*/ 13 w 24"/>
                    <a:gd name="T75" fmla="*/ 14 h 17"/>
                    <a:gd name="T76" fmla="*/ 17 w 24"/>
                    <a:gd name="T77" fmla="*/ 5 h 17"/>
                    <a:gd name="T78" fmla="*/ 16 w 24"/>
                    <a:gd name="T79" fmla="*/ 6 h 17"/>
                    <a:gd name="T80" fmla="*/ 15 w 24"/>
                    <a:gd name="T81" fmla="*/ 7 h 17"/>
                    <a:gd name="T82" fmla="*/ 15 w 24"/>
                    <a:gd name="T83" fmla="*/ 7 h 17"/>
                    <a:gd name="T84" fmla="*/ 15 w 24"/>
                    <a:gd name="T85" fmla="*/ 6 h 17"/>
                    <a:gd name="T86" fmla="*/ 16 w 24"/>
                    <a:gd name="T87" fmla="*/ 4 h 17"/>
                    <a:gd name="T88" fmla="*/ 17 w 24"/>
                    <a:gd name="T89" fmla="*/ 4 h 17"/>
                    <a:gd name="T90" fmla="*/ 17 w 24"/>
                    <a:gd name="T91" fmla="*/ 5 h 17"/>
                    <a:gd name="T92" fmla="*/ 18 w 24"/>
                    <a:gd name="T93" fmla="*/ 9 h 17"/>
                    <a:gd name="T94" fmla="*/ 17 w 24"/>
                    <a:gd name="T95" fmla="*/ 9 h 17"/>
                    <a:gd name="T96" fmla="*/ 18 w 24"/>
                    <a:gd name="T97" fmla="*/ 8 h 17"/>
                    <a:gd name="T98" fmla="*/ 19 w 24"/>
                    <a:gd name="T99" fmla="*/ 7 h 17"/>
                    <a:gd name="T100" fmla="*/ 20 w 24"/>
                    <a:gd name="T101" fmla="*/ 7 h 17"/>
                    <a:gd name="T102" fmla="*/ 20 w 24"/>
                    <a:gd name="T103" fmla="*/ 8 h 17"/>
                    <a:gd name="T104" fmla="*/ 18 w 24"/>
                    <a:gd name="T105" fmla="*/ 9 h 17"/>
                    <a:gd name="T106" fmla="*/ 18 w 24"/>
                    <a:gd name="T107" fmla="*/ 9 h 17"/>
                    <a:gd name="T108" fmla="*/ 22 w 24"/>
                    <a:gd name="T109" fmla="*/ 12 h 17"/>
                    <a:gd name="T110" fmla="*/ 21 w 24"/>
                    <a:gd name="T111" fmla="*/ 12 h 17"/>
                    <a:gd name="T112" fmla="*/ 19 w 24"/>
                    <a:gd name="T113" fmla="*/ 12 h 17"/>
                    <a:gd name="T114" fmla="*/ 19 w 24"/>
                    <a:gd name="T115" fmla="*/ 12 h 17"/>
                    <a:gd name="T116" fmla="*/ 19 w 24"/>
                    <a:gd name="T117" fmla="*/ 11 h 17"/>
                    <a:gd name="T118" fmla="*/ 21 w 24"/>
                    <a:gd name="T119" fmla="*/ 11 h 17"/>
                    <a:gd name="T120" fmla="*/ 22 w 24"/>
                    <a:gd name="T121"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 h="17">
                      <a:moveTo>
                        <a:pt x="12" y="0"/>
                      </a:moveTo>
                      <a:cubicBezTo>
                        <a:pt x="6" y="0"/>
                        <a:pt x="0" y="6"/>
                        <a:pt x="0" y="12"/>
                      </a:cubicBezTo>
                      <a:cubicBezTo>
                        <a:pt x="0" y="13"/>
                        <a:pt x="0" y="14"/>
                        <a:pt x="0" y="15"/>
                      </a:cubicBezTo>
                      <a:cubicBezTo>
                        <a:pt x="0" y="15"/>
                        <a:pt x="0" y="15"/>
                        <a:pt x="7" y="15"/>
                      </a:cubicBezTo>
                      <a:cubicBezTo>
                        <a:pt x="8" y="16"/>
                        <a:pt x="10" y="17"/>
                        <a:pt x="12" y="17"/>
                      </a:cubicBezTo>
                      <a:cubicBezTo>
                        <a:pt x="14" y="17"/>
                        <a:pt x="16" y="16"/>
                        <a:pt x="17" y="15"/>
                      </a:cubicBezTo>
                      <a:cubicBezTo>
                        <a:pt x="17" y="15"/>
                        <a:pt x="17" y="15"/>
                        <a:pt x="21" y="15"/>
                      </a:cubicBezTo>
                      <a:cubicBezTo>
                        <a:pt x="21" y="14"/>
                        <a:pt x="21" y="14"/>
                        <a:pt x="21" y="14"/>
                      </a:cubicBezTo>
                      <a:cubicBezTo>
                        <a:pt x="22" y="14"/>
                        <a:pt x="23" y="14"/>
                        <a:pt x="24" y="14"/>
                      </a:cubicBezTo>
                      <a:cubicBezTo>
                        <a:pt x="24" y="14"/>
                        <a:pt x="24" y="13"/>
                        <a:pt x="24" y="12"/>
                      </a:cubicBezTo>
                      <a:cubicBezTo>
                        <a:pt x="24" y="6"/>
                        <a:pt x="19" y="0"/>
                        <a:pt x="12" y="0"/>
                      </a:cubicBezTo>
                      <a:close/>
                      <a:moveTo>
                        <a:pt x="5" y="12"/>
                      </a:moveTo>
                      <a:cubicBezTo>
                        <a:pt x="3" y="12"/>
                        <a:pt x="3" y="12"/>
                        <a:pt x="3" y="12"/>
                      </a:cubicBezTo>
                      <a:cubicBezTo>
                        <a:pt x="3" y="12"/>
                        <a:pt x="2" y="12"/>
                        <a:pt x="2" y="12"/>
                      </a:cubicBezTo>
                      <a:cubicBezTo>
                        <a:pt x="2" y="11"/>
                        <a:pt x="3" y="11"/>
                        <a:pt x="3" y="11"/>
                      </a:cubicBezTo>
                      <a:cubicBezTo>
                        <a:pt x="5" y="11"/>
                        <a:pt x="5" y="11"/>
                        <a:pt x="5" y="11"/>
                      </a:cubicBezTo>
                      <a:cubicBezTo>
                        <a:pt x="5" y="11"/>
                        <a:pt x="5" y="11"/>
                        <a:pt x="5" y="12"/>
                      </a:cubicBezTo>
                      <a:cubicBezTo>
                        <a:pt x="5" y="12"/>
                        <a:pt x="5" y="12"/>
                        <a:pt x="5" y="12"/>
                      </a:cubicBezTo>
                      <a:close/>
                      <a:moveTo>
                        <a:pt x="7" y="9"/>
                      </a:moveTo>
                      <a:cubicBezTo>
                        <a:pt x="7" y="9"/>
                        <a:pt x="6" y="9"/>
                        <a:pt x="6" y="9"/>
                      </a:cubicBezTo>
                      <a:cubicBezTo>
                        <a:pt x="6" y="9"/>
                        <a:pt x="6" y="9"/>
                        <a:pt x="6" y="9"/>
                      </a:cubicBezTo>
                      <a:cubicBezTo>
                        <a:pt x="4" y="8"/>
                        <a:pt x="4" y="8"/>
                        <a:pt x="4" y="8"/>
                      </a:cubicBezTo>
                      <a:cubicBezTo>
                        <a:pt x="4" y="8"/>
                        <a:pt x="4" y="8"/>
                        <a:pt x="4" y="7"/>
                      </a:cubicBezTo>
                      <a:cubicBezTo>
                        <a:pt x="4" y="7"/>
                        <a:pt x="5" y="7"/>
                        <a:pt x="5" y="7"/>
                      </a:cubicBezTo>
                      <a:cubicBezTo>
                        <a:pt x="6" y="8"/>
                        <a:pt x="6" y="8"/>
                        <a:pt x="6" y="8"/>
                      </a:cubicBezTo>
                      <a:cubicBezTo>
                        <a:pt x="7" y="8"/>
                        <a:pt x="7" y="9"/>
                        <a:pt x="7" y="9"/>
                      </a:cubicBezTo>
                      <a:close/>
                      <a:moveTo>
                        <a:pt x="12" y="4"/>
                      </a:moveTo>
                      <a:cubicBezTo>
                        <a:pt x="12" y="3"/>
                        <a:pt x="12" y="3"/>
                        <a:pt x="12" y="3"/>
                      </a:cubicBezTo>
                      <a:cubicBezTo>
                        <a:pt x="12" y="3"/>
                        <a:pt x="13" y="3"/>
                        <a:pt x="13" y="4"/>
                      </a:cubicBezTo>
                      <a:cubicBezTo>
                        <a:pt x="13" y="5"/>
                        <a:pt x="13" y="5"/>
                        <a:pt x="13" y="5"/>
                      </a:cubicBezTo>
                      <a:cubicBezTo>
                        <a:pt x="13" y="6"/>
                        <a:pt x="12" y="6"/>
                        <a:pt x="12" y="6"/>
                      </a:cubicBezTo>
                      <a:cubicBezTo>
                        <a:pt x="12" y="6"/>
                        <a:pt x="12" y="6"/>
                        <a:pt x="12" y="5"/>
                      </a:cubicBezTo>
                      <a:cubicBezTo>
                        <a:pt x="12" y="4"/>
                        <a:pt x="12" y="4"/>
                        <a:pt x="12" y="4"/>
                      </a:cubicBezTo>
                      <a:close/>
                      <a:moveTo>
                        <a:pt x="13" y="14"/>
                      </a:moveTo>
                      <a:cubicBezTo>
                        <a:pt x="12" y="15"/>
                        <a:pt x="11" y="14"/>
                        <a:pt x="10" y="13"/>
                      </a:cubicBezTo>
                      <a:cubicBezTo>
                        <a:pt x="9" y="12"/>
                        <a:pt x="7" y="4"/>
                        <a:pt x="7" y="4"/>
                      </a:cubicBezTo>
                      <a:cubicBezTo>
                        <a:pt x="7" y="4"/>
                        <a:pt x="13" y="10"/>
                        <a:pt x="14" y="11"/>
                      </a:cubicBezTo>
                      <a:cubicBezTo>
                        <a:pt x="14" y="12"/>
                        <a:pt x="14" y="14"/>
                        <a:pt x="13" y="14"/>
                      </a:cubicBezTo>
                      <a:close/>
                      <a:moveTo>
                        <a:pt x="17" y="5"/>
                      </a:moveTo>
                      <a:cubicBezTo>
                        <a:pt x="16" y="6"/>
                        <a:pt x="16" y="6"/>
                        <a:pt x="16" y="6"/>
                      </a:cubicBezTo>
                      <a:cubicBezTo>
                        <a:pt x="16" y="7"/>
                        <a:pt x="16" y="7"/>
                        <a:pt x="15" y="7"/>
                      </a:cubicBezTo>
                      <a:cubicBezTo>
                        <a:pt x="15" y="7"/>
                        <a:pt x="15" y="7"/>
                        <a:pt x="15" y="7"/>
                      </a:cubicBezTo>
                      <a:cubicBezTo>
                        <a:pt x="15" y="6"/>
                        <a:pt x="15" y="6"/>
                        <a:pt x="15" y="6"/>
                      </a:cubicBezTo>
                      <a:cubicBezTo>
                        <a:pt x="16" y="4"/>
                        <a:pt x="16" y="4"/>
                        <a:pt x="16" y="4"/>
                      </a:cubicBezTo>
                      <a:cubicBezTo>
                        <a:pt x="16" y="4"/>
                        <a:pt x="16" y="4"/>
                        <a:pt x="17" y="4"/>
                      </a:cubicBezTo>
                      <a:cubicBezTo>
                        <a:pt x="17" y="4"/>
                        <a:pt x="17" y="5"/>
                        <a:pt x="17" y="5"/>
                      </a:cubicBezTo>
                      <a:close/>
                      <a:moveTo>
                        <a:pt x="18" y="9"/>
                      </a:moveTo>
                      <a:cubicBezTo>
                        <a:pt x="18" y="9"/>
                        <a:pt x="18" y="9"/>
                        <a:pt x="17" y="9"/>
                      </a:cubicBezTo>
                      <a:cubicBezTo>
                        <a:pt x="17" y="8"/>
                        <a:pt x="17" y="8"/>
                        <a:pt x="18" y="8"/>
                      </a:cubicBezTo>
                      <a:cubicBezTo>
                        <a:pt x="19" y="7"/>
                        <a:pt x="19" y="7"/>
                        <a:pt x="19" y="7"/>
                      </a:cubicBezTo>
                      <a:cubicBezTo>
                        <a:pt x="19" y="7"/>
                        <a:pt x="20" y="7"/>
                        <a:pt x="20" y="7"/>
                      </a:cubicBezTo>
                      <a:cubicBezTo>
                        <a:pt x="20" y="7"/>
                        <a:pt x="20" y="8"/>
                        <a:pt x="20" y="8"/>
                      </a:cubicBezTo>
                      <a:cubicBezTo>
                        <a:pt x="18" y="9"/>
                        <a:pt x="18" y="9"/>
                        <a:pt x="18" y="9"/>
                      </a:cubicBezTo>
                      <a:cubicBezTo>
                        <a:pt x="18" y="9"/>
                        <a:pt x="18" y="9"/>
                        <a:pt x="18" y="9"/>
                      </a:cubicBezTo>
                      <a:close/>
                      <a:moveTo>
                        <a:pt x="22" y="12"/>
                      </a:moveTo>
                      <a:cubicBezTo>
                        <a:pt x="22" y="12"/>
                        <a:pt x="21" y="12"/>
                        <a:pt x="21" y="12"/>
                      </a:cubicBezTo>
                      <a:cubicBezTo>
                        <a:pt x="19" y="12"/>
                        <a:pt x="19" y="12"/>
                        <a:pt x="19" y="12"/>
                      </a:cubicBezTo>
                      <a:cubicBezTo>
                        <a:pt x="19" y="12"/>
                        <a:pt x="19" y="12"/>
                        <a:pt x="19" y="12"/>
                      </a:cubicBezTo>
                      <a:cubicBezTo>
                        <a:pt x="19" y="11"/>
                        <a:pt x="19" y="11"/>
                        <a:pt x="19" y="11"/>
                      </a:cubicBezTo>
                      <a:cubicBezTo>
                        <a:pt x="21" y="11"/>
                        <a:pt x="21" y="11"/>
                        <a:pt x="21" y="11"/>
                      </a:cubicBezTo>
                      <a:cubicBezTo>
                        <a:pt x="21" y="11"/>
                        <a:pt x="22" y="11"/>
                        <a:pt x="2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baseline="-25000" dirty="0">
                    <a:solidFill>
                      <a:srgbClr val="505050"/>
                    </a:solidFill>
                  </a:endParaRPr>
                </a:p>
              </p:txBody>
            </p:sp>
            <p:sp>
              <p:nvSpPr>
                <p:cNvPr id="70" name="Freeform 7"/>
                <p:cNvSpPr>
                  <a:spLocks/>
                </p:cNvSpPr>
                <p:nvPr/>
              </p:nvSpPr>
              <p:spPr bwMode="auto">
                <a:xfrm>
                  <a:off x="3730" y="2149"/>
                  <a:ext cx="222" cy="122"/>
                </a:xfrm>
                <a:custGeom>
                  <a:avLst/>
                  <a:gdLst>
                    <a:gd name="T0" fmla="*/ 76 w 91"/>
                    <a:gd name="T1" fmla="*/ 50 h 50"/>
                    <a:gd name="T2" fmla="*/ 91 w 91"/>
                    <a:gd name="T3" fmla="*/ 50 h 50"/>
                    <a:gd name="T4" fmla="*/ 81 w 91"/>
                    <a:gd name="T5" fmla="*/ 16 h 50"/>
                    <a:gd name="T6" fmla="*/ 60 w 91"/>
                    <a:gd name="T7" fmla="*/ 0 h 50"/>
                    <a:gd name="T8" fmla="*/ 32 w 91"/>
                    <a:gd name="T9" fmla="*/ 0 h 50"/>
                    <a:gd name="T10" fmla="*/ 10 w 91"/>
                    <a:gd name="T11" fmla="*/ 16 h 50"/>
                    <a:gd name="T12" fmla="*/ 0 w 91"/>
                    <a:gd name="T13" fmla="*/ 50 h 50"/>
                    <a:gd name="T14" fmla="*/ 15 w 91"/>
                    <a:gd name="T15" fmla="*/ 50 h 50"/>
                    <a:gd name="T16" fmla="*/ 22 w 91"/>
                    <a:gd name="T17" fmla="*/ 27 h 50"/>
                    <a:gd name="T18" fmla="*/ 27 w 91"/>
                    <a:gd name="T19" fmla="*/ 27 h 50"/>
                    <a:gd name="T20" fmla="*/ 20 w 91"/>
                    <a:gd name="T21" fmla="*/ 50 h 50"/>
                    <a:gd name="T22" fmla="*/ 72 w 91"/>
                    <a:gd name="T23" fmla="*/ 50 h 50"/>
                    <a:gd name="T24" fmla="*/ 68 w 91"/>
                    <a:gd name="T25" fmla="*/ 36 h 50"/>
                    <a:gd name="T26" fmla="*/ 56 w 91"/>
                    <a:gd name="T27" fmla="*/ 41 h 50"/>
                    <a:gd name="T28" fmla="*/ 40 w 91"/>
                    <a:gd name="T29" fmla="*/ 25 h 50"/>
                    <a:gd name="T30" fmla="*/ 56 w 91"/>
                    <a:gd name="T31" fmla="*/ 9 h 50"/>
                    <a:gd name="T32" fmla="*/ 72 w 91"/>
                    <a:gd name="T33" fmla="*/ 25 h 50"/>
                    <a:gd name="T34" fmla="*/ 71 w 91"/>
                    <a:gd name="T35" fmla="*/ 31 h 50"/>
                    <a:gd name="T36" fmla="*/ 76 w 91"/>
                    <a:gd name="T3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50">
                      <a:moveTo>
                        <a:pt x="76" y="50"/>
                      </a:moveTo>
                      <a:cubicBezTo>
                        <a:pt x="91" y="50"/>
                        <a:pt x="91" y="50"/>
                        <a:pt x="91" y="50"/>
                      </a:cubicBezTo>
                      <a:cubicBezTo>
                        <a:pt x="81" y="16"/>
                        <a:pt x="81" y="16"/>
                        <a:pt x="81" y="16"/>
                      </a:cubicBezTo>
                      <a:cubicBezTo>
                        <a:pt x="80" y="10"/>
                        <a:pt x="73" y="0"/>
                        <a:pt x="60" y="0"/>
                      </a:cubicBezTo>
                      <a:cubicBezTo>
                        <a:pt x="32" y="0"/>
                        <a:pt x="32" y="0"/>
                        <a:pt x="32" y="0"/>
                      </a:cubicBezTo>
                      <a:cubicBezTo>
                        <a:pt x="19" y="0"/>
                        <a:pt x="12" y="10"/>
                        <a:pt x="10" y="16"/>
                      </a:cubicBezTo>
                      <a:cubicBezTo>
                        <a:pt x="0" y="50"/>
                        <a:pt x="0" y="50"/>
                        <a:pt x="0" y="50"/>
                      </a:cubicBezTo>
                      <a:cubicBezTo>
                        <a:pt x="15" y="50"/>
                        <a:pt x="15" y="50"/>
                        <a:pt x="15" y="50"/>
                      </a:cubicBezTo>
                      <a:cubicBezTo>
                        <a:pt x="22" y="27"/>
                        <a:pt x="22" y="27"/>
                        <a:pt x="22" y="27"/>
                      </a:cubicBezTo>
                      <a:cubicBezTo>
                        <a:pt x="27" y="27"/>
                        <a:pt x="27" y="27"/>
                        <a:pt x="27" y="27"/>
                      </a:cubicBezTo>
                      <a:cubicBezTo>
                        <a:pt x="20" y="50"/>
                        <a:pt x="20" y="50"/>
                        <a:pt x="20" y="50"/>
                      </a:cubicBezTo>
                      <a:cubicBezTo>
                        <a:pt x="72" y="50"/>
                        <a:pt x="72" y="50"/>
                        <a:pt x="72" y="50"/>
                      </a:cubicBezTo>
                      <a:cubicBezTo>
                        <a:pt x="70" y="44"/>
                        <a:pt x="69" y="39"/>
                        <a:pt x="68" y="36"/>
                      </a:cubicBezTo>
                      <a:cubicBezTo>
                        <a:pt x="65" y="39"/>
                        <a:pt x="61" y="41"/>
                        <a:pt x="56" y="41"/>
                      </a:cubicBezTo>
                      <a:cubicBezTo>
                        <a:pt x="47" y="41"/>
                        <a:pt x="40" y="34"/>
                        <a:pt x="40" y="25"/>
                      </a:cubicBezTo>
                      <a:cubicBezTo>
                        <a:pt x="40" y="17"/>
                        <a:pt x="47" y="9"/>
                        <a:pt x="56" y="9"/>
                      </a:cubicBezTo>
                      <a:cubicBezTo>
                        <a:pt x="65" y="9"/>
                        <a:pt x="72" y="17"/>
                        <a:pt x="72" y="25"/>
                      </a:cubicBezTo>
                      <a:cubicBezTo>
                        <a:pt x="72" y="27"/>
                        <a:pt x="72" y="29"/>
                        <a:pt x="71" y="31"/>
                      </a:cubicBezTo>
                      <a:cubicBezTo>
                        <a:pt x="76" y="50"/>
                        <a:pt x="76" y="50"/>
                        <a:pt x="76" y="50"/>
                      </a:cubicBezTo>
                      <a:close/>
                    </a:path>
                  </a:pathLst>
                </a:custGeom>
                <a:solidFill>
                  <a:srgbClr val="EDC3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baseline="-25000" dirty="0">
                    <a:solidFill>
                      <a:srgbClr val="505050"/>
                    </a:solidFill>
                  </a:endParaRPr>
                </a:p>
              </p:txBody>
            </p:sp>
          </p:grpSp>
        </p:grpSp>
        <p:grpSp>
          <p:nvGrpSpPr>
            <p:cNvPr id="75" name="Group 74"/>
            <p:cNvGrpSpPr/>
            <p:nvPr/>
          </p:nvGrpSpPr>
          <p:grpSpPr>
            <a:xfrm>
              <a:off x="3280900" y="3184584"/>
              <a:ext cx="5508645" cy="845808"/>
              <a:chOff x="3533313" y="3141063"/>
              <a:chExt cx="5508645" cy="845808"/>
            </a:xfrm>
            <a:solidFill>
              <a:srgbClr val="EDC30D"/>
            </a:solidFill>
          </p:grpSpPr>
          <p:sp>
            <p:nvSpPr>
              <p:cNvPr id="76" name="Title 1"/>
              <p:cNvSpPr txBox="1">
                <a:spLocks/>
              </p:cNvSpPr>
              <p:nvPr/>
            </p:nvSpPr>
            <p:spPr>
              <a:xfrm>
                <a:off x="3533313" y="3141063"/>
                <a:ext cx="2286000" cy="845808"/>
              </a:xfrm>
              <a:prstGeom prst="rect">
                <a:avLst/>
              </a:prstGeom>
              <a:solidFill>
                <a:srgbClr val="EDC30D"/>
              </a:solidFill>
            </p:spPr>
            <p:txBody>
              <a:bodyPr vert="horz" wrap="square" lIns="143407" tIns="89630" rIns="143407" bIns="89630"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spcBef>
                    <a:spcPct val="20000"/>
                  </a:spcBef>
                  <a:buSzPct val="90000"/>
                </a:pPr>
                <a:r>
                  <a:rPr sz="2400" dirty="0">
                    <a:solidFill>
                      <a:schemeClr val="tx1"/>
                    </a:solidFill>
                    <a:latin typeface="Segoe UI Semibold" panose="020B0702040204020203" pitchFamily="34" charset="0"/>
                    <a:cs typeface="Segoe UI Semibold" panose="020B0702040204020203" pitchFamily="34" charset="0"/>
                  </a:rPr>
                  <a:t>2</a:t>
                </a:r>
                <a:r>
                  <a:rPr sz="2400" baseline="30000" dirty="0">
                    <a:solidFill>
                      <a:schemeClr val="tx1"/>
                    </a:solidFill>
                    <a:latin typeface="Segoe UI Semibold" panose="020B0702040204020203" pitchFamily="34" charset="0"/>
                    <a:cs typeface="Segoe UI Semibold" panose="020B0702040204020203" pitchFamily="34" charset="0"/>
                  </a:rPr>
                  <a:t>nd</a:t>
                </a:r>
                <a:r>
                  <a:rPr sz="2400" dirty="0">
                    <a:solidFill>
                      <a:schemeClr val="tx1"/>
                    </a:solidFill>
                    <a:latin typeface="Segoe UI Semibold" panose="020B0702040204020203" pitchFamily="34" charset="0"/>
                    <a:cs typeface="Segoe UI Semibold" panose="020B0702040204020203" pitchFamily="34" charset="0"/>
                  </a:rPr>
                  <a:t> wave</a:t>
                </a:r>
                <a:br>
                  <a:rPr sz="2400" dirty="0">
                    <a:solidFill>
                      <a:schemeClr val="tx1"/>
                    </a:solidFill>
                    <a:latin typeface="Segoe UI Semibold" panose="020B0702040204020203" pitchFamily="34" charset="0"/>
                    <a:cs typeface="Segoe UI Semibold" panose="020B0702040204020203" pitchFamily="34" charset="0"/>
                  </a:rPr>
                </a:br>
                <a:r>
                  <a:rPr lang="zh-TW" altLang="en-US" sz="2400" spc="0" dirty="0">
                    <a:solidFill>
                      <a:schemeClr val="tx1"/>
                    </a:solidFill>
                    <a:latin typeface="+mn-lt"/>
                    <a:cs typeface="+mn-cs"/>
                  </a:rPr>
                  <a:t>自助式</a:t>
                </a:r>
                <a:r>
                  <a:rPr lang="en-US" sz="2400" spc="0" dirty="0">
                    <a:solidFill>
                      <a:schemeClr val="tx1"/>
                    </a:solidFill>
                    <a:latin typeface="+mn-lt"/>
                    <a:cs typeface="+mn-cs"/>
                  </a:rPr>
                  <a:t> BI</a:t>
                </a:r>
              </a:p>
            </p:txBody>
          </p:sp>
          <p:cxnSp>
            <p:nvCxnSpPr>
              <p:cNvPr id="77" name="Straight Connector 76"/>
              <p:cNvCxnSpPr/>
              <p:nvPr/>
            </p:nvCxnSpPr>
            <p:spPr>
              <a:xfrm>
                <a:off x="3533314" y="3924477"/>
                <a:ext cx="5508644" cy="58485"/>
              </a:xfrm>
              <a:prstGeom prst="line">
                <a:avLst/>
              </a:prstGeom>
              <a:grpFill/>
              <a:ln w="3175">
                <a:solidFill>
                  <a:srgbClr val="EDC30D"/>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84" name="Group 83"/>
          <p:cNvGrpSpPr/>
          <p:nvPr/>
        </p:nvGrpSpPr>
        <p:grpSpPr>
          <a:xfrm>
            <a:off x="0" y="4323238"/>
            <a:ext cx="12192000" cy="2752476"/>
            <a:chOff x="0" y="4323238"/>
            <a:chExt cx="12192000" cy="2752476"/>
          </a:xfrm>
        </p:grpSpPr>
        <p:sp>
          <p:nvSpPr>
            <p:cNvPr id="52" name="Flowchart: Document 3"/>
            <p:cNvSpPr/>
            <p:nvPr/>
          </p:nvSpPr>
          <p:spPr bwMode="auto">
            <a:xfrm flipH="1" flipV="1">
              <a:off x="0" y="4323238"/>
              <a:ext cx="12192000" cy="2752476"/>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71" name="Group 70"/>
            <p:cNvGrpSpPr/>
            <p:nvPr/>
          </p:nvGrpSpPr>
          <p:grpSpPr>
            <a:xfrm>
              <a:off x="9440040" y="4940049"/>
              <a:ext cx="2167592" cy="1126120"/>
              <a:chOff x="9504208" y="4624939"/>
              <a:chExt cx="2167592" cy="1126120"/>
            </a:xfrm>
            <a:solidFill>
              <a:srgbClr val="EDC30D"/>
            </a:solidFill>
          </p:grpSpPr>
          <p:sp>
            <p:nvSpPr>
              <p:cNvPr id="72" name="TextBox 4"/>
              <p:cNvSpPr txBox="1"/>
              <p:nvPr/>
            </p:nvSpPr>
            <p:spPr>
              <a:xfrm>
                <a:off x="9504208" y="5418660"/>
                <a:ext cx="2167592" cy="332399"/>
              </a:xfrm>
              <a:prstGeom prst="rect">
                <a:avLst/>
              </a:prstGeom>
              <a:noFill/>
            </p:spPr>
            <p:txBody>
              <a:bodyPr wrap="square" lIns="0" tIns="0" rIns="0" bIns="0" rtlCol="0">
                <a:spAutoFit/>
              </a:bodyPr>
              <a:lstStyle/>
              <a:p>
                <a:pPr algn="ctr" defTabSz="914192">
                  <a:lnSpc>
                    <a:spcPct val="90000"/>
                  </a:lnSpc>
                  <a:spcAft>
                    <a:spcPts val="588"/>
                  </a:spcAft>
                </a:pPr>
                <a:r>
                  <a:rPr lang="zh-TW" altLang="en-US" sz="2400" spc="-100" dirty="0">
                    <a:ln w="3175">
                      <a:noFill/>
                    </a:ln>
                    <a:solidFill>
                      <a:srgbClr val="EDC30D"/>
                    </a:solidFill>
                    <a:cs typeface="Segoe UI Semibold" panose="020B0702040204020203" pitchFamily="34" charset="0"/>
                  </a:rPr>
                  <a:t>由 </a:t>
                </a:r>
                <a:r>
                  <a:rPr lang="en-US" altLang="zh-TW" sz="2400" spc="-100" dirty="0">
                    <a:ln w="3175">
                      <a:noFill/>
                    </a:ln>
                    <a:solidFill>
                      <a:srgbClr val="EDC30D"/>
                    </a:solidFill>
                    <a:cs typeface="Segoe UI Semibold" panose="020B0702040204020203" pitchFamily="34" charset="0"/>
                  </a:rPr>
                  <a:t>IT </a:t>
                </a:r>
                <a:r>
                  <a:rPr lang="zh-TW" altLang="en-US" sz="2400" spc="-100" dirty="0">
                    <a:ln w="3175">
                      <a:noFill/>
                    </a:ln>
                    <a:solidFill>
                      <a:srgbClr val="EDC30D"/>
                    </a:solidFill>
                    <a:cs typeface="Segoe UI Semibold" panose="020B0702040204020203" pitchFamily="34" charset="0"/>
                  </a:rPr>
                  <a:t>人員提供</a:t>
                </a:r>
                <a:endParaRPr lang="en-US" sz="2400" spc="-100" dirty="0">
                  <a:ln w="3175">
                    <a:noFill/>
                  </a:ln>
                  <a:solidFill>
                    <a:srgbClr val="EDC30D"/>
                  </a:solidFill>
                  <a:cs typeface="Segoe UI Semibold" panose="020B0702040204020203" pitchFamily="34" charset="0"/>
                </a:endParaRPr>
              </a:p>
            </p:txBody>
          </p:sp>
          <p:sp>
            <p:nvSpPr>
              <p:cNvPr id="73" name="Freeform 13"/>
              <p:cNvSpPr>
                <a:spLocks noChangeAspect="1" noEditPoints="1"/>
              </p:cNvSpPr>
              <p:nvPr/>
            </p:nvSpPr>
            <p:spPr bwMode="auto">
              <a:xfrm>
                <a:off x="10640907" y="4624939"/>
                <a:ext cx="657484" cy="667042"/>
              </a:xfrm>
              <a:custGeom>
                <a:avLst/>
                <a:gdLst>
                  <a:gd name="T0" fmla="*/ 147 w 288"/>
                  <a:gd name="T1" fmla="*/ 116 h 293"/>
                  <a:gd name="T2" fmla="*/ 147 w 288"/>
                  <a:gd name="T3" fmla="*/ 116 h 293"/>
                  <a:gd name="T4" fmla="*/ 147 w 288"/>
                  <a:gd name="T5" fmla="*/ 116 h 293"/>
                  <a:gd name="T6" fmla="*/ 203 w 288"/>
                  <a:gd name="T7" fmla="*/ 58 h 293"/>
                  <a:gd name="T8" fmla="*/ 146 w 288"/>
                  <a:gd name="T9" fmla="*/ 1 h 293"/>
                  <a:gd name="T10" fmla="*/ 106 w 288"/>
                  <a:gd name="T11" fmla="*/ 18 h 293"/>
                  <a:gd name="T12" fmla="*/ 90 w 288"/>
                  <a:gd name="T13" fmla="*/ 59 h 293"/>
                  <a:gd name="T14" fmla="*/ 107 w 288"/>
                  <a:gd name="T15" fmla="*/ 99 h 293"/>
                  <a:gd name="T16" fmla="*/ 147 w 288"/>
                  <a:gd name="T17" fmla="*/ 116 h 293"/>
                  <a:gd name="T18" fmla="*/ 240 w 288"/>
                  <a:gd name="T19" fmla="*/ 293 h 293"/>
                  <a:gd name="T20" fmla="*/ 288 w 288"/>
                  <a:gd name="T21" fmla="*/ 292 h 293"/>
                  <a:gd name="T22" fmla="*/ 255 w 288"/>
                  <a:gd name="T23" fmla="*/ 185 h 293"/>
                  <a:gd name="T24" fmla="*/ 189 w 288"/>
                  <a:gd name="T25" fmla="*/ 135 h 293"/>
                  <a:gd name="T26" fmla="*/ 172 w 288"/>
                  <a:gd name="T27" fmla="*/ 135 h 293"/>
                  <a:gd name="T28" fmla="*/ 172 w 288"/>
                  <a:gd name="T29" fmla="*/ 136 h 293"/>
                  <a:gd name="T30" fmla="*/ 173 w 288"/>
                  <a:gd name="T31" fmla="*/ 137 h 293"/>
                  <a:gd name="T32" fmla="*/ 172 w 288"/>
                  <a:gd name="T33" fmla="*/ 139 h 293"/>
                  <a:gd name="T34" fmla="*/ 161 w 288"/>
                  <a:gd name="T35" fmla="*/ 155 h 293"/>
                  <a:gd name="T36" fmla="*/ 173 w 288"/>
                  <a:gd name="T37" fmla="*/ 232 h 293"/>
                  <a:gd name="T38" fmla="*/ 148 w 288"/>
                  <a:gd name="T39" fmla="*/ 263 h 293"/>
                  <a:gd name="T40" fmla="*/ 138 w 288"/>
                  <a:gd name="T41" fmla="*/ 250 h 293"/>
                  <a:gd name="T42" fmla="*/ 123 w 288"/>
                  <a:gd name="T43" fmla="*/ 233 h 293"/>
                  <a:gd name="T44" fmla="*/ 133 w 288"/>
                  <a:gd name="T45" fmla="*/ 155 h 293"/>
                  <a:gd name="T46" fmla="*/ 122 w 288"/>
                  <a:gd name="T47" fmla="*/ 139 h 293"/>
                  <a:gd name="T48" fmla="*/ 122 w 288"/>
                  <a:gd name="T49" fmla="*/ 138 h 293"/>
                  <a:gd name="T50" fmla="*/ 122 w 288"/>
                  <a:gd name="T51" fmla="*/ 136 h 293"/>
                  <a:gd name="T52" fmla="*/ 122 w 288"/>
                  <a:gd name="T53" fmla="*/ 135 h 293"/>
                  <a:gd name="T54" fmla="*/ 101 w 288"/>
                  <a:gd name="T55" fmla="*/ 135 h 293"/>
                  <a:gd name="T56" fmla="*/ 33 w 288"/>
                  <a:gd name="T57" fmla="*/ 185 h 293"/>
                  <a:gd name="T58" fmla="*/ 0 w 288"/>
                  <a:gd name="T59" fmla="*/ 293 h 293"/>
                  <a:gd name="T60" fmla="*/ 49 w 288"/>
                  <a:gd name="T61" fmla="*/ 293 h 293"/>
                  <a:gd name="T62" fmla="*/ 69 w 288"/>
                  <a:gd name="T63" fmla="*/ 222 h 293"/>
                  <a:gd name="T64" fmla="*/ 84 w 288"/>
                  <a:gd name="T65" fmla="*/ 222 h 293"/>
                  <a:gd name="T66" fmla="*/ 63 w 288"/>
                  <a:gd name="T67" fmla="*/ 293 h 293"/>
                  <a:gd name="T68" fmla="*/ 225 w 288"/>
                  <a:gd name="T69" fmla="*/ 293 h 293"/>
                  <a:gd name="T70" fmla="*/ 205 w 288"/>
                  <a:gd name="T71" fmla="*/ 221 h 293"/>
                  <a:gd name="T72" fmla="*/ 219 w 288"/>
                  <a:gd name="T73" fmla="*/ 221 h 293"/>
                  <a:gd name="T74" fmla="*/ 240 w 288"/>
                  <a:gd name="T75" fmla="*/ 293 h 293"/>
                  <a:gd name="T76" fmla="*/ 154 w 288"/>
                  <a:gd name="T77" fmla="*/ 150 h 293"/>
                  <a:gd name="T78" fmla="*/ 164 w 288"/>
                  <a:gd name="T79" fmla="*/ 138 h 293"/>
                  <a:gd name="T80" fmla="*/ 164 w 288"/>
                  <a:gd name="T81" fmla="*/ 137 h 293"/>
                  <a:gd name="T82" fmla="*/ 162 w 288"/>
                  <a:gd name="T83" fmla="*/ 135 h 293"/>
                  <a:gd name="T84" fmla="*/ 158 w 288"/>
                  <a:gd name="T85" fmla="*/ 132 h 293"/>
                  <a:gd name="T86" fmla="*/ 147 w 288"/>
                  <a:gd name="T87" fmla="*/ 130 h 293"/>
                  <a:gd name="T88" fmla="*/ 137 w 288"/>
                  <a:gd name="T89" fmla="*/ 132 h 293"/>
                  <a:gd name="T90" fmla="*/ 132 w 288"/>
                  <a:gd name="T91" fmla="*/ 135 h 293"/>
                  <a:gd name="T92" fmla="*/ 131 w 288"/>
                  <a:gd name="T93" fmla="*/ 138 h 293"/>
                  <a:gd name="T94" fmla="*/ 131 w 288"/>
                  <a:gd name="T95" fmla="*/ 138 h 293"/>
                  <a:gd name="T96" fmla="*/ 140 w 288"/>
                  <a:gd name="T97" fmla="*/ 150 h 293"/>
                  <a:gd name="T98" fmla="*/ 143 w 288"/>
                  <a:gd name="T99" fmla="*/ 152 h 293"/>
                  <a:gd name="T100" fmla="*/ 132 w 288"/>
                  <a:gd name="T101" fmla="*/ 230 h 293"/>
                  <a:gd name="T102" fmla="*/ 144 w 288"/>
                  <a:gd name="T103" fmla="*/ 244 h 293"/>
                  <a:gd name="T104" fmla="*/ 146 w 288"/>
                  <a:gd name="T105" fmla="*/ 247 h 293"/>
                  <a:gd name="T106" fmla="*/ 148 w 288"/>
                  <a:gd name="T107" fmla="*/ 249 h 293"/>
                  <a:gd name="T108" fmla="*/ 150 w 288"/>
                  <a:gd name="T109" fmla="*/ 247 h 293"/>
                  <a:gd name="T110" fmla="*/ 152 w 288"/>
                  <a:gd name="T111" fmla="*/ 244 h 293"/>
                  <a:gd name="T112" fmla="*/ 164 w 288"/>
                  <a:gd name="T113" fmla="*/ 230 h 293"/>
                  <a:gd name="T114" fmla="*/ 152 w 288"/>
                  <a:gd name="T115" fmla="*/ 152 h 293"/>
                  <a:gd name="T116" fmla="*/ 154 w 288"/>
                  <a:gd name="T117" fmla="*/ 15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293">
                    <a:moveTo>
                      <a:pt x="147" y="116"/>
                    </a:moveTo>
                    <a:cubicBezTo>
                      <a:pt x="147" y="116"/>
                      <a:pt x="147" y="116"/>
                      <a:pt x="147" y="116"/>
                    </a:cubicBezTo>
                    <a:cubicBezTo>
                      <a:pt x="147" y="116"/>
                      <a:pt x="147" y="116"/>
                      <a:pt x="147" y="116"/>
                    </a:cubicBezTo>
                    <a:cubicBezTo>
                      <a:pt x="178" y="115"/>
                      <a:pt x="203" y="89"/>
                      <a:pt x="203" y="58"/>
                    </a:cubicBezTo>
                    <a:cubicBezTo>
                      <a:pt x="202" y="26"/>
                      <a:pt x="177" y="0"/>
                      <a:pt x="146" y="1"/>
                    </a:cubicBezTo>
                    <a:cubicBezTo>
                      <a:pt x="131" y="1"/>
                      <a:pt x="117" y="7"/>
                      <a:pt x="106" y="18"/>
                    </a:cubicBezTo>
                    <a:cubicBezTo>
                      <a:pt x="96" y="29"/>
                      <a:pt x="90" y="43"/>
                      <a:pt x="90" y="59"/>
                    </a:cubicBezTo>
                    <a:cubicBezTo>
                      <a:pt x="90" y="74"/>
                      <a:pt x="96" y="89"/>
                      <a:pt x="107" y="99"/>
                    </a:cubicBezTo>
                    <a:cubicBezTo>
                      <a:pt x="118" y="110"/>
                      <a:pt x="132" y="116"/>
                      <a:pt x="147" y="116"/>
                    </a:cubicBezTo>
                    <a:close/>
                    <a:moveTo>
                      <a:pt x="240" y="293"/>
                    </a:moveTo>
                    <a:cubicBezTo>
                      <a:pt x="288" y="292"/>
                      <a:pt x="288" y="292"/>
                      <a:pt x="288" y="292"/>
                    </a:cubicBezTo>
                    <a:cubicBezTo>
                      <a:pt x="255" y="185"/>
                      <a:pt x="255" y="185"/>
                      <a:pt x="255" y="185"/>
                    </a:cubicBezTo>
                    <a:cubicBezTo>
                      <a:pt x="250" y="167"/>
                      <a:pt x="228" y="136"/>
                      <a:pt x="189" y="135"/>
                    </a:cubicBezTo>
                    <a:cubicBezTo>
                      <a:pt x="172" y="135"/>
                      <a:pt x="172" y="135"/>
                      <a:pt x="172" y="135"/>
                    </a:cubicBezTo>
                    <a:cubicBezTo>
                      <a:pt x="172" y="135"/>
                      <a:pt x="172" y="135"/>
                      <a:pt x="172" y="136"/>
                    </a:cubicBezTo>
                    <a:cubicBezTo>
                      <a:pt x="173" y="137"/>
                      <a:pt x="173" y="137"/>
                      <a:pt x="173" y="137"/>
                    </a:cubicBezTo>
                    <a:cubicBezTo>
                      <a:pt x="172" y="139"/>
                      <a:pt x="172" y="139"/>
                      <a:pt x="172" y="139"/>
                    </a:cubicBezTo>
                    <a:cubicBezTo>
                      <a:pt x="172" y="143"/>
                      <a:pt x="168" y="148"/>
                      <a:pt x="161" y="155"/>
                    </a:cubicBezTo>
                    <a:cubicBezTo>
                      <a:pt x="173" y="232"/>
                      <a:pt x="173" y="232"/>
                      <a:pt x="173" y="232"/>
                    </a:cubicBezTo>
                    <a:cubicBezTo>
                      <a:pt x="148" y="263"/>
                      <a:pt x="148" y="263"/>
                      <a:pt x="148" y="263"/>
                    </a:cubicBezTo>
                    <a:cubicBezTo>
                      <a:pt x="138" y="250"/>
                      <a:pt x="138" y="250"/>
                      <a:pt x="138" y="250"/>
                    </a:cubicBezTo>
                    <a:cubicBezTo>
                      <a:pt x="123" y="233"/>
                      <a:pt x="123" y="233"/>
                      <a:pt x="123" y="233"/>
                    </a:cubicBezTo>
                    <a:cubicBezTo>
                      <a:pt x="133" y="155"/>
                      <a:pt x="133" y="155"/>
                      <a:pt x="133" y="155"/>
                    </a:cubicBezTo>
                    <a:cubicBezTo>
                      <a:pt x="126" y="149"/>
                      <a:pt x="122" y="143"/>
                      <a:pt x="122" y="139"/>
                    </a:cubicBezTo>
                    <a:cubicBezTo>
                      <a:pt x="122" y="138"/>
                      <a:pt x="122" y="138"/>
                      <a:pt x="122" y="138"/>
                    </a:cubicBezTo>
                    <a:cubicBezTo>
                      <a:pt x="122" y="136"/>
                      <a:pt x="122" y="136"/>
                      <a:pt x="122" y="136"/>
                    </a:cubicBezTo>
                    <a:cubicBezTo>
                      <a:pt x="122" y="136"/>
                      <a:pt x="122" y="135"/>
                      <a:pt x="122" y="135"/>
                    </a:cubicBezTo>
                    <a:cubicBezTo>
                      <a:pt x="101" y="135"/>
                      <a:pt x="101" y="135"/>
                      <a:pt x="101" y="135"/>
                    </a:cubicBezTo>
                    <a:cubicBezTo>
                      <a:pt x="61" y="135"/>
                      <a:pt x="39" y="167"/>
                      <a:pt x="33" y="185"/>
                    </a:cubicBezTo>
                    <a:cubicBezTo>
                      <a:pt x="0" y="293"/>
                      <a:pt x="0" y="293"/>
                      <a:pt x="0" y="293"/>
                    </a:cubicBezTo>
                    <a:cubicBezTo>
                      <a:pt x="49" y="293"/>
                      <a:pt x="49" y="293"/>
                      <a:pt x="49" y="293"/>
                    </a:cubicBezTo>
                    <a:cubicBezTo>
                      <a:pt x="69" y="222"/>
                      <a:pt x="69" y="222"/>
                      <a:pt x="69" y="222"/>
                    </a:cubicBezTo>
                    <a:cubicBezTo>
                      <a:pt x="84" y="222"/>
                      <a:pt x="84" y="222"/>
                      <a:pt x="84" y="222"/>
                    </a:cubicBezTo>
                    <a:cubicBezTo>
                      <a:pt x="63" y="293"/>
                      <a:pt x="63" y="293"/>
                      <a:pt x="63" y="293"/>
                    </a:cubicBezTo>
                    <a:cubicBezTo>
                      <a:pt x="225" y="293"/>
                      <a:pt x="225" y="293"/>
                      <a:pt x="225" y="293"/>
                    </a:cubicBezTo>
                    <a:cubicBezTo>
                      <a:pt x="205" y="221"/>
                      <a:pt x="205" y="221"/>
                      <a:pt x="205" y="221"/>
                    </a:cubicBezTo>
                    <a:cubicBezTo>
                      <a:pt x="219" y="221"/>
                      <a:pt x="219" y="221"/>
                      <a:pt x="219" y="221"/>
                    </a:cubicBezTo>
                    <a:lnTo>
                      <a:pt x="240" y="293"/>
                    </a:lnTo>
                    <a:close/>
                    <a:moveTo>
                      <a:pt x="154" y="150"/>
                    </a:moveTo>
                    <a:cubicBezTo>
                      <a:pt x="163" y="142"/>
                      <a:pt x="164" y="138"/>
                      <a:pt x="164" y="138"/>
                    </a:cubicBezTo>
                    <a:cubicBezTo>
                      <a:pt x="164" y="137"/>
                      <a:pt x="164" y="137"/>
                      <a:pt x="164" y="137"/>
                    </a:cubicBezTo>
                    <a:cubicBezTo>
                      <a:pt x="164" y="137"/>
                      <a:pt x="163" y="136"/>
                      <a:pt x="162" y="135"/>
                    </a:cubicBezTo>
                    <a:cubicBezTo>
                      <a:pt x="161" y="134"/>
                      <a:pt x="160" y="133"/>
                      <a:pt x="158" y="132"/>
                    </a:cubicBezTo>
                    <a:cubicBezTo>
                      <a:pt x="155" y="131"/>
                      <a:pt x="151" y="130"/>
                      <a:pt x="147" y="130"/>
                    </a:cubicBezTo>
                    <a:cubicBezTo>
                      <a:pt x="144" y="130"/>
                      <a:pt x="140" y="131"/>
                      <a:pt x="137" y="132"/>
                    </a:cubicBezTo>
                    <a:cubicBezTo>
                      <a:pt x="135" y="133"/>
                      <a:pt x="133" y="134"/>
                      <a:pt x="132" y="135"/>
                    </a:cubicBezTo>
                    <a:cubicBezTo>
                      <a:pt x="131" y="136"/>
                      <a:pt x="131" y="137"/>
                      <a:pt x="131" y="138"/>
                    </a:cubicBezTo>
                    <a:cubicBezTo>
                      <a:pt x="131" y="138"/>
                      <a:pt x="131" y="138"/>
                      <a:pt x="131" y="138"/>
                    </a:cubicBezTo>
                    <a:cubicBezTo>
                      <a:pt x="131" y="138"/>
                      <a:pt x="131" y="142"/>
                      <a:pt x="140" y="150"/>
                    </a:cubicBezTo>
                    <a:cubicBezTo>
                      <a:pt x="143" y="152"/>
                      <a:pt x="143" y="152"/>
                      <a:pt x="143" y="152"/>
                    </a:cubicBezTo>
                    <a:cubicBezTo>
                      <a:pt x="132" y="230"/>
                      <a:pt x="132" y="230"/>
                      <a:pt x="132" y="230"/>
                    </a:cubicBezTo>
                    <a:cubicBezTo>
                      <a:pt x="144" y="244"/>
                      <a:pt x="144" y="244"/>
                      <a:pt x="144" y="244"/>
                    </a:cubicBezTo>
                    <a:cubicBezTo>
                      <a:pt x="146" y="247"/>
                      <a:pt x="146" y="247"/>
                      <a:pt x="146" y="247"/>
                    </a:cubicBezTo>
                    <a:cubicBezTo>
                      <a:pt x="148" y="249"/>
                      <a:pt x="148" y="249"/>
                      <a:pt x="148" y="249"/>
                    </a:cubicBezTo>
                    <a:cubicBezTo>
                      <a:pt x="150" y="247"/>
                      <a:pt x="150" y="247"/>
                      <a:pt x="150" y="247"/>
                    </a:cubicBezTo>
                    <a:cubicBezTo>
                      <a:pt x="152" y="244"/>
                      <a:pt x="152" y="244"/>
                      <a:pt x="152" y="244"/>
                    </a:cubicBezTo>
                    <a:cubicBezTo>
                      <a:pt x="164" y="230"/>
                      <a:pt x="164" y="230"/>
                      <a:pt x="164" y="230"/>
                    </a:cubicBezTo>
                    <a:cubicBezTo>
                      <a:pt x="152" y="152"/>
                      <a:pt x="152" y="152"/>
                      <a:pt x="152" y="152"/>
                    </a:cubicBezTo>
                    <a:lnTo>
                      <a:pt x="154" y="150"/>
                    </a:ln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74" name="Freeform 25"/>
              <p:cNvSpPr>
                <a:spLocks noChangeAspect="1" noEditPoints="1"/>
              </p:cNvSpPr>
              <p:nvPr/>
            </p:nvSpPr>
            <p:spPr bwMode="auto">
              <a:xfrm>
                <a:off x="9890691" y="4646581"/>
                <a:ext cx="637477" cy="685800"/>
              </a:xfrm>
              <a:custGeom>
                <a:avLst/>
                <a:gdLst>
                  <a:gd name="T0" fmla="*/ 106 w 287"/>
                  <a:gd name="T1" fmla="*/ 17 h 309"/>
                  <a:gd name="T2" fmla="*/ 147 w 287"/>
                  <a:gd name="T3" fmla="*/ 115 h 309"/>
                  <a:gd name="T4" fmla="*/ 107 w 287"/>
                  <a:gd name="T5" fmla="*/ 99 h 309"/>
                  <a:gd name="T6" fmla="*/ 195 w 287"/>
                  <a:gd name="T7" fmla="*/ 238 h 309"/>
                  <a:gd name="T8" fmla="*/ 207 w 287"/>
                  <a:gd name="T9" fmla="*/ 218 h 309"/>
                  <a:gd name="T10" fmla="*/ 226 w 287"/>
                  <a:gd name="T11" fmla="*/ 216 h 309"/>
                  <a:gd name="T12" fmla="*/ 243 w 287"/>
                  <a:gd name="T13" fmla="*/ 180 h 309"/>
                  <a:gd name="T14" fmla="*/ 241 w 287"/>
                  <a:gd name="T15" fmla="*/ 177 h 309"/>
                  <a:gd name="T16" fmla="*/ 229 w 287"/>
                  <a:gd name="T17" fmla="*/ 191 h 309"/>
                  <a:gd name="T18" fmla="*/ 217 w 287"/>
                  <a:gd name="T19" fmla="*/ 203 h 309"/>
                  <a:gd name="T20" fmla="*/ 208 w 287"/>
                  <a:gd name="T21" fmla="*/ 200 h 309"/>
                  <a:gd name="T22" fmla="*/ 198 w 287"/>
                  <a:gd name="T23" fmla="*/ 191 h 309"/>
                  <a:gd name="T24" fmla="*/ 204 w 287"/>
                  <a:gd name="T25" fmla="*/ 175 h 309"/>
                  <a:gd name="T26" fmla="*/ 217 w 287"/>
                  <a:gd name="T27" fmla="*/ 172 h 309"/>
                  <a:gd name="T28" fmla="*/ 211 w 287"/>
                  <a:gd name="T29" fmla="*/ 157 h 309"/>
                  <a:gd name="T30" fmla="*/ 191 w 287"/>
                  <a:gd name="T31" fmla="*/ 166 h 309"/>
                  <a:gd name="T32" fmla="*/ 189 w 287"/>
                  <a:gd name="T33" fmla="*/ 203 h 309"/>
                  <a:gd name="T34" fmla="*/ 159 w 287"/>
                  <a:gd name="T35" fmla="*/ 250 h 309"/>
                  <a:gd name="T36" fmla="*/ 144 w 287"/>
                  <a:gd name="T37" fmla="*/ 250 h 309"/>
                  <a:gd name="T38" fmla="*/ 128 w 287"/>
                  <a:gd name="T39" fmla="*/ 288 h 309"/>
                  <a:gd name="T40" fmla="*/ 140 w 287"/>
                  <a:gd name="T41" fmla="*/ 287 h 309"/>
                  <a:gd name="T42" fmla="*/ 142 w 287"/>
                  <a:gd name="T43" fmla="*/ 272 h 309"/>
                  <a:gd name="T44" fmla="*/ 163 w 287"/>
                  <a:gd name="T45" fmla="*/ 264 h 309"/>
                  <a:gd name="T46" fmla="*/ 171 w 287"/>
                  <a:gd name="T47" fmla="*/ 279 h 309"/>
                  <a:gd name="T48" fmla="*/ 164 w 287"/>
                  <a:gd name="T49" fmla="*/ 292 h 309"/>
                  <a:gd name="T50" fmla="*/ 154 w 287"/>
                  <a:gd name="T51" fmla="*/ 297 h 309"/>
                  <a:gd name="T52" fmla="*/ 158 w 287"/>
                  <a:gd name="T53" fmla="*/ 309 h 309"/>
                  <a:gd name="T54" fmla="*/ 183 w 287"/>
                  <a:gd name="T55" fmla="*/ 292 h 309"/>
                  <a:gd name="T56" fmla="*/ 187 w 287"/>
                  <a:gd name="T57" fmla="*/ 274 h 309"/>
                  <a:gd name="T58" fmla="*/ 189 w 287"/>
                  <a:gd name="T59" fmla="*/ 134 h 309"/>
                  <a:gd name="T60" fmla="*/ 122 w 287"/>
                  <a:gd name="T61" fmla="*/ 134 h 309"/>
                  <a:gd name="T62" fmla="*/ 109 w 287"/>
                  <a:gd name="T63" fmla="*/ 134 h 309"/>
                  <a:gd name="T64" fmla="*/ 0 w 287"/>
                  <a:gd name="T65" fmla="*/ 292 h 309"/>
                  <a:gd name="T66" fmla="*/ 83 w 287"/>
                  <a:gd name="T67" fmla="*/ 221 h 309"/>
                  <a:gd name="T68" fmla="*/ 119 w 287"/>
                  <a:gd name="T69" fmla="*/ 290 h 309"/>
                  <a:gd name="T70" fmla="*/ 121 w 287"/>
                  <a:gd name="T71" fmla="*/ 261 h 309"/>
                  <a:gd name="T72" fmla="*/ 145 w 287"/>
                  <a:gd name="T73" fmla="*/ 241 h 309"/>
                  <a:gd name="T74" fmla="*/ 181 w 287"/>
                  <a:gd name="T75" fmla="*/ 205 h 309"/>
                  <a:gd name="T76" fmla="*/ 176 w 287"/>
                  <a:gd name="T77" fmla="*/ 194 h 309"/>
                  <a:gd name="T78" fmla="*/ 175 w 287"/>
                  <a:gd name="T79" fmla="*/ 187 h 309"/>
                  <a:gd name="T80" fmla="*/ 207 w 287"/>
                  <a:gd name="T81" fmla="*/ 150 h 309"/>
                  <a:gd name="T82" fmla="*/ 211 w 287"/>
                  <a:gd name="T83" fmla="*/ 149 h 309"/>
                  <a:gd name="T84" fmla="*/ 222 w 287"/>
                  <a:gd name="T85" fmla="*/ 156 h 309"/>
                  <a:gd name="T86" fmla="*/ 225 w 287"/>
                  <a:gd name="T87" fmla="*/ 173 h 309"/>
                  <a:gd name="T88" fmla="*/ 241 w 287"/>
                  <a:gd name="T89" fmla="*/ 169 h 309"/>
                  <a:gd name="T90" fmla="*/ 251 w 287"/>
                  <a:gd name="T91" fmla="*/ 178 h 309"/>
                  <a:gd name="T92" fmla="*/ 254 w 287"/>
                  <a:gd name="T93" fmla="*/ 199 h 309"/>
                  <a:gd name="T94" fmla="*/ 250 w 287"/>
                  <a:gd name="T95" fmla="*/ 204 h 309"/>
                  <a:gd name="T96" fmla="*/ 225 w 287"/>
                  <a:gd name="T97" fmla="*/ 226 h 309"/>
                  <a:gd name="T98" fmla="*/ 220 w 287"/>
                  <a:gd name="T99" fmla="*/ 226 h 309"/>
                  <a:gd name="T100" fmla="*/ 255 w 287"/>
                  <a:gd name="T101" fmla="*/ 184 h 309"/>
                  <a:gd name="T102" fmla="*/ 194 w 287"/>
                  <a:gd name="T103" fmla="*/ 270 h 309"/>
                  <a:gd name="T104" fmla="*/ 195 w 287"/>
                  <a:gd name="T105" fmla="*/ 277 h 309"/>
                  <a:gd name="T106" fmla="*/ 191 w 287"/>
                  <a:gd name="T107" fmla="*/ 292 h 309"/>
                  <a:gd name="T108" fmla="*/ 188 w 287"/>
                  <a:gd name="T109" fmla="*/ 26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7" h="309">
                    <a:moveTo>
                      <a:pt x="107" y="99"/>
                    </a:moveTo>
                    <a:cubicBezTo>
                      <a:pt x="96" y="88"/>
                      <a:pt x="90" y="74"/>
                      <a:pt x="90" y="58"/>
                    </a:cubicBezTo>
                    <a:cubicBezTo>
                      <a:pt x="90" y="43"/>
                      <a:pt x="95" y="28"/>
                      <a:pt x="106" y="17"/>
                    </a:cubicBezTo>
                    <a:cubicBezTo>
                      <a:pt x="117" y="6"/>
                      <a:pt x="131" y="0"/>
                      <a:pt x="146" y="0"/>
                    </a:cubicBezTo>
                    <a:cubicBezTo>
                      <a:pt x="177" y="0"/>
                      <a:pt x="202" y="26"/>
                      <a:pt x="202" y="57"/>
                    </a:cubicBezTo>
                    <a:cubicBezTo>
                      <a:pt x="203" y="89"/>
                      <a:pt x="178" y="115"/>
                      <a:pt x="147" y="115"/>
                    </a:cubicBezTo>
                    <a:cubicBezTo>
                      <a:pt x="147" y="115"/>
                      <a:pt x="147" y="115"/>
                      <a:pt x="147" y="115"/>
                    </a:cubicBezTo>
                    <a:cubicBezTo>
                      <a:pt x="146" y="115"/>
                      <a:pt x="146" y="115"/>
                      <a:pt x="146" y="115"/>
                    </a:cubicBezTo>
                    <a:cubicBezTo>
                      <a:pt x="131" y="115"/>
                      <a:pt x="117" y="110"/>
                      <a:pt x="107" y="99"/>
                    </a:cubicBezTo>
                    <a:close/>
                    <a:moveTo>
                      <a:pt x="180" y="264"/>
                    </a:moveTo>
                    <a:cubicBezTo>
                      <a:pt x="180" y="264"/>
                      <a:pt x="179" y="262"/>
                      <a:pt x="180" y="260"/>
                    </a:cubicBezTo>
                    <a:cubicBezTo>
                      <a:pt x="186" y="251"/>
                      <a:pt x="191" y="244"/>
                      <a:pt x="195" y="238"/>
                    </a:cubicBezTo>
                    <a:cubicBezTo>
                      <a:pt x="205" y="221"/>
                      <a:pt x="207" y="219"/>
                      <a:pt x="207" y="219"/>
                    </a:cubicBezTo>
                    <a:cubicBezTo>
                      <a:pt x="207" y="218"/>
                      <a:pt x="207" y="218"/>
                      <a:pt x="207" y="218"/>
                    </a:cubicBezTo>
                    <a:cubicBezTo>
                      <a:pt x="207" y="218"/>
                      <a:pt x="207" y="218"/>
                      <a:pt x="207" y="218"/>
                    </a:cubicBezTo>
                    <a:cubicBezTo>
                      <a:pt x="209" y="217"/>
                      <a:pt x="210" y="216"/>
                      <a:pt x="210" y="216"/>
                    </a:cubicBezTo>
                    <a:cubicBezTo>
                      <a:pt x="224" y="218"/>
                      <a:pt x="224" y="218"/>
                      <a:pt x="224" y="218"/>
                    </a:cubicBezTo>
                    <a:cubicBezTo>
                      <a:pt x="224" y="218"/>
                      <a:pt x="225" y="218"/>
                      <a:pt x="226" y="216"/>
                    </a:cubicBezTo>
                    <a:cubicBezTo>
                      <a:pt x="244" y="199"/>
                      <a:pt x="244" y="199"/>
                      <a:pt x="244" y="199"/>
                    </a:cubicBezTo>
                    <a:cubicBezTo>
                      <a:pt x="245" y="197"/>
                      <a:pt x="245" y="197"/>
                      <a:pt x="245" y="197"/>
                    </a:cubicBezTo>
                    <a:cubicBezTo>
                      <a:pt x="243" y="180"/>
                      <a:pt x="243" y="180"/>
                      <a:pt x="243" y="180"/>
                    </a:cubicBezTo>
                    <a:cubicBezTo>
                      <a:pt x="243" y="178"/>
                      <a:pt x="243" y="178"/>
                      <a:pt x="243" y="178"/>
                    </a:cubicBezTo>
                    <a:cubicBezTo>
                      <a:pt x="243" y="178"/>
                      <a:pt x="242" y="177"/>
                      <a:pt x="241" y="177"/>
                    </a:cubicBezTo>
                    <a:cubicBezTo>
                      <a:pt x="241" y="177"/>
                      <a:pt x="241" y="177"/>
                      <a:pt x="241" y="177"/>
                    </a:cubicBezTo>
                    <a:cubicBezTo>
                      <a:pt x="230" y="179"/>
                      <a:pt x="230" y="179"/>
                      <a:pt x="230" y="179"/>
                    </a:cubicBezTo>
                    <a:cubicBezTo>
                      <a:pt x="228" y="179"/>
                      <a:pt x="229" y="181"/>
                      <a:pt x="229" y="183"/>
                    </a:cubicBezTo>
                    <a:cubicBezTo>
                      <a:pt x="229" y="191"/>
                      <a:pt x="229" y="191"/>
                      <a:pt x="229" y="191"/>
                    </a:cubicBezTo>
                    <a:cubicBezTo>
                      <a:pt x="229" y="192"/>
                      <a:pt x="228" y="194"/>
                      <a:pt x="228" y="194"/>
                    </a:cubicBezTo>
                    <a:cubicBezTo>
                      <a:pt x="220" y="203"/>
                      <a:pt x="220" y="203"/>
                      <a:pt x="220" y="203"/>
                    </a:cubicBezTo>
                    <a:cubicBezTo>
                      <a:pt x="220" y="203"/>
                      <a:pt x="219" y="203"/>
                      <a:pt x="217" y="203"/>
                    </a:cubicBezTo>
                    <a:cubicBezTo>
                      <a:pt x="212" y="203"/>
                      <a:pt x="212" y="203"/>
                      <a:pt x="212" y="203"/>
                    </a:cubicBezTo>
                    <a:cubicBezTo>
                      <a:pt x="212" y="203"/>
                      <a:pt x="212" y="203"/>
                      <a:pt x="211" y="203"/>
                    </a:cubicBezTo>
                    <a:cubicBezTo>
                      <a:pt x="210" y="203"/>
                      <a:pt x="209" y="202"/>
                      <a:pt x="208" y="200"/>
                    </a:cubicBezTo>
                    <a:cubicBezTo>
                      <a:pt x="205" y="199"/>
                      <a:pt x="205" y="199"/>
                      <a:pt x="205" y="199"/>
                    </a:cubicBezTo>
                    <a:cubicBezTo>
                      <a:pt x="203" y="198"/>
                      <a:pt x="203" y="197"/>
                      <a:pt x="201" y="195"/>
                    </a:cubicBezTo>
                    <a:cubicBezTo>
                      <a:pt x="198" y="191"/>
                      <a:pt x="198" y="191"/>
                      <a:pt x="198" y="191"/>
                    </a:cubicBezTo>
                    <a:cubicBezTo>
                      <a:pt x="198" y="191"/>
                      <a:pt x="198" y="189"/>
                      <a:pt x="199" y="188"/>
                    </a:cubicBezTo>
                    <a:cubicBezTo>
                      <a:pt x="202" y="179"/>
                      <a:pt x="202" y="179"/>
                      <a:pt x="202" y="179"/>
                    </a:cubicBezTo>
                    <a:cubicBezTo>
                      <a:pt x="202" y="177"/>
                      <a:pt x="203" y="175"/>
                      <a:pt x="204" y="175"/>
                    </a:cubicBezTo>
                    <a:cubicBezTo>
                      <a:pt x="214" y="173"/>
                      <a:pt x="214" y="173"/>
                      <a:pt x="214" y="173"/>
                    </a:cubicBezTo>
                    <a:cubicBezTo>
                      <a:pt x="215" y="172"/>
                      <a:pt x="215" y="172"/>
                      <a:pt x="215" y="172"/>
                    </a:cubicBezTo>
                    <a:cubicBezTo>
                      <a:pt x="215" y="172"/>
                      <a:pt x="215" y="172"/>
                      <a:pt x="217" y="172"/>
                    </a:cubicBezTo>
                    <a:cubicBezTo>
                      <a:pt x="217" y="172"/>
                      <a:pt x="216" y="171"/>
                      <a:pt x="216" y="169"/>
                    </a:cubicBezTo>
                    <a:cubicBezTo>
                      <a:pt x="214" y="158"/>
                      <a:pt x="214" y="158"/>
                      <a:pt x="214" y="158"/>
                    </a:cubicBezTo>
                    <a:cubicBezTo>
                      <a:pt x="214" y="158"/>
                      <a:pt x="212" y="157"/>
                      <a:pt x="211" y="157"/>
                    </a:cubicBezTo>
                    <a:cubicBezTo>
                      <a:pt x="211" y="157"/>
                      <a:pt x="210" y="157"/>
                      <a:pt x="210" y="157"/>
                    </a:cubicBezTo>
                    <a:cubicBezTo>
                      <a:pt x="194" y="164"/>
                      <a:pt x="194" y="164"/>
                      <a:pt x="194" y="164"/>
                    </a:cubicBezTo>
                    <a:cubicBezTo>
                      <a:pt x="192" y="164"/>
                      <a:pt x="191" y="165"/>
                      <a:pt x="191" y="166"/>
                    </a:cubicBezTo>
                    <a:cubicBezTo>
                      <a:pt x="183" y="189"/>
                      <a:pt x="183" y="189"/>
                      <a:pt x="183" y="189"/>
                    </a:cubicBezTo>
                    <a:cubicBezTo>
                      <a:pt x="183" y="189"/>
                      <a:pt x="183" y="191"/>
                      <a:pt x="184" y="193"/>
                    </a:cubicBezTo>
                    <a:cubicBezTo>
                      <a:pt x="189" y="203"/>
                      <a:pt x="189" y="203"/>
                      <a:pt x="189" y="203"/>
                    </a:cubicBezTo>
                    <a:cubicBezTo>
                      <a:pt x="191" y="204"/>
                      <a:pt x="190" y="206"/>
                      <a:pt x="190" y="206"/>
                    </a:cubicBezTo>
                    <a:cubicBezTo>
                      <a:pt x="162" y="250"/>
                      <a:pt x="162" y="250"/>
                      <a:pt x="162" y="250"/>
                    </a:cubicBezTo>
                    <a:cubicBezTo>
                      <a:pt x="162" y="250"/>
                      <a:pt x="160" y="250"/>
                      <a:pt x="159" y="250"/>
                    </a:cubicBezTo>
                    <a:cubicBezTo>
                      <a:pt x="147" y="250"/>
                      <a:pt x="147" y="250"/>
                      <a:pt x="147" y="250"/>
                    </a:cubicBezTo>
                    <a:cubicBezTo>
                      <a:pt x="146" y="249"/>
                      <a:pt x="145" y="249"/>
                      <a:pt x="145" y="249"/>
                    </a:cubicBezTo>
                    <a:cubicBezTo>
                      <a:pt x="144" y="249"/>
                      <a:pt x="144" y="249"/>
                      <a:pt x="144" y="250"/>
                    </a:cubicBezTo>
                    <a:cubicBezTo>
                      <a:pt x="126" y="267"/>
                      <a:pt x="126" y="267"/>
                      <a:pt x="126" y="267"/>
                    </a:cubicBezTo>
                    <a:cubicBezTo>
                      <a:pt x="125" y="268"/>
                      <a:pt x="125" y="269"/>
                      <a:pt x="125" y="271"/>
                    </a:cubicBezTo>
                    <a:cubicBezTo>
                      <a:pt x="128" y="288"/>
                      <a:pt x="128" y="288"/>
                      <a:pt x="128" y="288"/>
                    </a:cubicBezTo>
                    <a:cubicBezTo>
                      <a:pt x="126" y="289"/>
                      <a:pt x="127" y="290"/>
                      <a:pt x="129" y="290"/>
                    </a:cubicBezTo>
                    <a:cubicBezTo>
                      <a:pt x="129" y="290"/>
                      <a:pt x="129" y="290"/>
                      <a:pt x="129" y="290"/>
                    </a:cubicBezTo>
                    <a:cubicBezTo>
                      <a:pt x="140" y="287"/>
                      <a:pt x="140" y="287"/>
                      <a:pt x="140" y="287"/>
                    </a:cubicBezTo>
                    <a:cubicBezTo>
                      <a:pt x="142" y="287"/>
                      <a:pt x="142" y="285"/>
                      <a:pt x="142" y="285"/>
                    </a:cubicBezTo>
                    <a:cubicBezTo>
                      <a:pt x="141" y="275"/>
                      <a:pt x="141" y="275"/>
                      <a:pt x="141" y="275"/>
                    </a:cubicBezTo>
                    <a:cubicBezTo>
                      <a:pt x="141" y="274"/>
                      <a:pt x="140" y="272"/>
                      <a:pt x="142" y="272"/>
                    </a:cubicBezTo>
                    <a:cubicBezTo>
                      <a:pt x="149" y="266"/>
                      <a:pt x="149" y="266"/>
                      <a:pt x="149" y="266"/>
                    </a:cubicBezTo>
                    <a:cubicBezTo>
                      <a:pt x="150" y="264"/>
                      <a:pt x="152" y="263"/>
                      <a:pt x="153" y="263"/>
                    </a:cubicBezTo>
                    <a:cubicBezTo>
                      <a:pt x="163" y="264"/>
                      <a:pt x="163" y="264"/>
                      <a:pt x="163" y="264"/>
                    </a:cubicBezTo>
                    <a:cubicBezTo>
                      <a:pt x="164" y="266"/>
                      <a:pt x="165" y="265"/>
                      <a:pt x="165" y="267"/>
                    </a:cubicBezTo>
                    <a:cubicBezTo>
                      <a:pt x="171" y="276"/>
                      <a:pt x="171" y="276"/>
                      <a:pt x="171" y="276"/>
                    </a:cubicBezTo>
                    <a:cubicBezTo>
                      <a:pt x="173" y="277"/>
                      <a:pt x="171" y="279"/>
                      <a:pt x="171" y="279"/>
                    </a:cubicBezTo>
                    <a:cubicBezTo>
                      <a:pt x="169" y="289"/>
                      <a:pt x="169" y="289"/>
                      <a:pt x="169" y="289"/>
                    </a:cubicBezTo>
                    <a:cubicBezTo>
                      <a:pt x="167" y="289"/>
                      <a:pt x="167" y="291"/>
                      <a:pt x="166" y="291"/>
                    </a:cubicBezTo>
                    <a:cubicBezTo>
                      <a:pt x="165" y="292"/>
                      <a:pt x="165" y="292"/>
                      <a:pt x="164" y="292"/>
                    </a:cubicBezTo>
                    <a:cubicBezTo>
                      <a:pt x="157" y="295"/>
                      <a:pt x="157" y="295"/>
                      <a:pt x="157" y="295"/>
                    </a:cubicBezTo>
                    <a:cubicBezTo>
                      <a:pt x="155" y="295"/>
                      <a:pt x="154" y="296"/>
                      <a:pt x="154" y="296"/>
                    </a:cubicBezTo>
                    <a:cubicBezTo>
                      <a:pt x="154" y="296"/>
                      <a:pt x="154" y="296"/>
                      <a:pt x="154" y="297"/>
                    </a:cubicBezTo>
                    <a:cubicBezTo>
                      <a:pt x="156" y="308"/>
                      <a:pt x="156" y="308"/>
                      <a:pt x="156" y="308"/>
                    </a:cubicBezTo>
                    <a:cubicBezTo>
                      <a:pt x="157" y="309"/>
                      <a:pt x="157" y="309"/>
                      <a:pt x="158" y="309"/>
                    </a:cubicBezTo>
                    <a:cubicBezTo>
                      <a:pt x="158" y="309"/>
                      <a:pt x="158" y="309"/>
                      <a:pt x="158" y="309"/>
                    </a:cubicBezTo>
                    <a:cubicBezTo>
                      <a:pt x="177" y="304"/>
                      <a:pt x="177" y="304"/>
                      <a:pt x="177" y="304"/>
                    </a:cubicBezTo>
                    <a:cubicBezTo>
                      <a:pt x="177" y="304"/>
                      <a:pt x="178" y="302"/>
                      <a:pt x="180" y="302"/>
                    </a:cubicBezTo>
                    <a:cubicBezTo>
                      <a:pt x="181" y="298"/>
                      <a:pt x="182" y="295"/>
                      <a:pt x="183" y="292"/>
                    </a:cubicBezTo>
                    <a:cubicBezTo>
                      <a:pt x="187" y="280"/>
                      <a:pt x="188" y="279"/>
                      <a:pt x="188" y="278"/>
                    </a:cubicBezTo>
                    <a:cubicBezTo>
                      <a:pt x="188" y="278"/>
                      <a:pt x="188" y="278"/>
                      <a:pt x="188" y="278"/>
                    </a:cubicBezTo>
                    <a:cubicBezTo>
                      <a:pt x="187" y="277"/>
                      <a:pt x="187" y="275"/>
                      <a:pt x="187" y="274"/>
                    </a:cubicBezTo>
                    <a:cubicBezTo>
                      <a:pt x="180" y="264"/>
                      <a:pt x="180" y="264"/>
                      <a:pt x="180" y="264"/>
                    </a:cubicBezTo>
                    <a:close/>
                    <a:moveTo>
                      <a:pt x="255" y="184"/>
                    </a:moveTo>
                    <a:cubicBezTo>
                      <a:pt x="249" y="167"/>
                      <a:pt x="227" y="135"/>
                      <a:pt x="189" y="134"/>
                    </a:cubicBezTo>
                    <a:cubicBezTo>
                      <a:pt x="172" y="134"/>
                      <a:pt x="172" y="134"/>
                      <a:pt x="172" y="134"/>
                    </a:cubicBezTo>
                    <a:cubicBezTo>
                      <a:pt x="172" y="134"/>
                      <a:pt x="172" y="134"/>
                      <a:pt x="172" y="134"/>
                    </a:cubicBezTo>
                    <a:cubicBezTo>
                      <a:pt x="122" y="134"/>
                      <a:pt x="122" y="134"/>
                      <a:pt x="122" y="134"/>
                    </a:cubicBezTo>
                    <a:cubicBezTo>
                      <a:pt x="122" y="134"/>
                      <a:pt x="122" y="134"/>
                      <a:pt x="122" y="134"/>
                    </a:cubicBezTo>
                    <a:cubicBezTo>
                      <a:pt x="111" y="134"/>
                      <a:pt x="111" y="134"/>
                      <a:pt x="111" y="134"/>
                    </a:cubicBezTo>
                    <a:cubicBezTo>
                      <a:pt x="109" y="134"/>
                      <a:pt x="109" y="134"/>
                      <a:pt x="109" y="134"/>
                    </a:cubicBezTo>
                    <a:cubicBezTo>
                      <a:pt x="100" y="134"/>
                      <a:pt x="100" y="134"/>
                      <a:pt x="100" y="134"/>
                    </a:cubicBezTo>
                    <a:cubicBezTo>
                      <a:pt x="61" y="135"/>
                      <a:pt x="38" y="167"/>
                      <a:pt x="33" y="185"/>
                    </a:cubicBezTo>
                    <a:cubicBezTo>
                      <a:pt x="0" y="292"/>
                      <a:pt x="0" y="292"/>
                      <a:pt x="0" y="292"/>
                    </a:cubicBezTo>
                    <a:cubicBezTo>
                      <a:pt x="48" y="292"/>
                      <a:pt x="48" y="292"/>
                      <a:pt x="48" y="292"/>
                    </a:cubicBezTo>
                    <a:cubicBezTo>
                      <a:pt x="69" y="221"/>
                      <a:pt x="69" y="221"/>
                      <a:pt x="69" y="221"/>
                    </a:cubicBezTo>
                    <a:cubicBezTo>
                      <a:pt x="83" y="221"/>
                      <a:pt x="83" y="221"/>
                      <a:pt x="83" y="221"/>
                    </a:cubicBezTo>
                    <a:cubicBezTo>
                      <a:pt x="63" y="292"/>
                      <a:pt x="63" y="292"/>
                      <a:pt x="63" y="292"/>
                    </a:cubicBezTo>
                    <a:cubicBezTo>
                      <a:pt x="120" y="292"/>
                      <a:pt x="120" y="292"/>
                      <a:pt x="120" y="292"/>
                    </a:cubicBezTo>
                    <a:cubicBezTo>
                      <a:pt x="119" y="291"/>
                      <a:pt x="119" y="291"/>
                      <a:pt x="119" y="290"/>
                    </a:cubicBezTo>
                    <a:cubicBezTo>
                      <a:pt x="119" y="289"/>
                      <a:pt x="119" y="287"/>
                      <a:pt x="119" y="286"/>
                    </a:cubicBezTo>
                    <a:cubicBezTo>
                      <a:pt x="117" y="272"/>
                      <a:pt x="117" y="272"/>
                      <a:pt x="117" y="272"/>
                    </a:cubicBezTo>
                    <a:cubicBezTo>
                      <a:pt x="116" y="265"/>
                      <a:pt x="119" y="262"/>
                      <a:pt x="121" y="261"/>
                    </a:cubicBezTo>
                    <a:cubicBezTo>
                      <a:pt x="137" y="246"/>
                      <a:pt x="137" y="246"/>
                      <a:pt x="137" y="246"/>
                    </a:cubicBezTo>
                    <a:cubicBezTo>
                      <a:pt x="137" y="246"/>
                      <a:pt x="137" y="245"/>
                      <a:pt x="138" y="244"/>
                    </a:cubicBezTo>
                    <a:cubicBezTo>
                      <a:pt x="139" y="242"/>
                      <a:pt x="142" y="241"/>
                      <a:pt x="145" y="241"/>
                    </a:cubicBezTo>
                    <a:cubicBezTo>
                      <a:pt x="146" y="241"/>
                      <a:pt x="148" y="241"/>
                      <a:pt x="149" y="242"/>
                    </a:cubicBezTo>
                    <a:cubicBezTo>
                      <a:pt x="157" y="242"/>
                      <a:pt x="157" y="242"/>
                      <a:pt x="157" y="242"/>
                    </a:cubicBezTo>
                    <a:cubicBezTo>
                      <a:pt x="181" y="205"/>
                      <a:pt x="181" y="205"/>
                      <a:pt x="181" y="205"/>
                    </a:cubicBezTo>
                    <a:cubicBezTo>
                      <a:pt x="177" y="196"/>
                      <a:pt x="177" y="196"/>
                      <a:pt x="177" y="196"/>
                    </a:cubicBezTo>
                    <a:cubicBezTo>
                      <a:pt x="176" y="195"/>
                      <a:pt x="176" y="195"/>
                      <a:pt x="176" y="195"/>
                    </a:cubicBezTo>
                    <a:cubicBezTo>
                      <a:pt x="176" y="194"/>
                      <a:pt x="176" y="194"/>
                      <a:pt x="176" y="194"/>
                    </a:cubicBezTo>
                    <a:cubicBezTo>
                      <a:pt x="175" y="191"/>
                      <a:pt x="175" y="191"/>
                      <a:pt x="175" y="191"/>
                    </a:cubicBezTo>
                    <a:cubicBezTo>
                      <a:pt x="175" y="189"/>
                      <a:pt x="175" y="189"/>
                      <a:pt x="175" y="189"/>
                    </a:cubicBezTo>
                    <a:cubicBezTo>
                      <a:pt x="175" y="187"/>
                      <a:pt x="175" y="187"/>
                      <a:pt x="175" y="187"/>
                    </a:cubicBezTo>
                    <a:cubicBezTo>
                      <a:pt x="183" y="165"/>
                      <a:pt x="183" y="165"/>
                      <a:pt x="183" y="165"/>
                    </a:cubicBezTo>
                    <a:cubicBezTo>
                      <a:pt x="183" y="162"/>
                      <a:pt x="185" y="158"/>
                      <a:pt x="191" y="156"/>
                    </a:cubicBezTo>
                    <a:cubicBezTo>
                      <a:pt x="207" y="150"/>
                      <a:pt x="207" y="150"/>
                      <a:pt x="207" y="150"/>
                    </a:cubicBezTo>
                    <a:cubicBezTo>
                      <a:pt x="208" y="150"/>
                      <a:pt x="208" y="150"/>
                      <a:pt x="208" y="150"/>
                    </a:cubicBezTo>
                    <a:cubicBezTo>
                      <a:pt x="209" y="149"/>
                      <a:pt x="209" y="149"/>
                      <a:pt x="209" y="149"/>
                    </a:cubicBezTo>
                    <a:cubicBezTo>
                      <a:pt x="209" y="149"/>
                      <a:pt x="210" y="149"/>
                      <a:pt x="211" y="149"/>
                    </a:cubicBezTo>
                    <a:cubicBezTo>
                      <a:pt x="214" y="149"/>
                      <a:pt x="217" y="151"/>
                      <a:pt x="218" y="151"/>
                    </a:cubicBezTo>
                    <a:cubicBezTo>
                      <a:pt x="221" y="153"/>
                      <a:pt x="221" y="153"/>
                      <a:pt x="221" y="153"/>
                    </a:cubicBezTo>
                    <a:cubicBezTo>
                      <a:pt x="222" y="156"/>
                      <a:pt x="222" y="156"/>
                      <a:pt x="222" y="156"/>
                    </a:cubicBezTo>
                    <a:cubicBezTo>
                      <a:pt x="224" y="167"/>
                      <a:pt x="224" y="167"/>
                      <a:pt x="224" y="167"/>
                    </a:cubicBezTo>
                    <a:cubicBezTo>
                      <a:pt x="225" y="170"/>
                      <a:pt x="225" y="170"/>
                      <a:pt x="225" y="170"/>
                    </a:cubicBezTo>
                    <a:cubicBezTo>
                      <a:pt x="225" y="173"/>
                      <a:pt x="225" y="173"/>
                      <a:pt x="225" y="173"/>
                    </a:cubicBezTo>
                    <a:cubicBezTo>
                      <a:pt x="227" y="172"/>
                      <a:pt x="228" y="171"/>
                      <a:pt x="228" y="171"/>
                    </a:cubicBezTo>
                    <a:cubicBezTo>
                      <a:pt x="239" y="169"/>
                      <a:pt x="239" y="169"/>
                      <a:pt x="239" y="169"/>
                    </a:cubicBezTo>
                    <a:cubicBezTo>
                      <a:pt x="240" y="169"/>
                      <a:pt x="240" y="169"/>
                      <a:pt x="241" y="169"/>
                    </a:cubicBezTo>
                    <a:cubicBezTo>
                      <a:pt x="246" y="169"/>
                      <a:pt x="250" y="172"/>
                      <a:pt x="250" y="176"/>
                    </a:cubicBezTo>
                    <a:cubicBezTo>
                      <a:pt x="251" y="178"/>
                      <a:pt x="251" y="178"/>
                      <a:pt x="251" y="178"/>
                    </a:cubicBezTo>
                    <a:cubicBezTo>
                      <a:pt x="251" y="178"/>
                      <a:pt x="251" y="178"/>
                      <a:pt x="251" y="178"/>
                    </a:cubicBezTo>
                    <a:cubicBezTo>
                      <a:pt x="251" y="179"/>
                      <a:pt x="251" y="179"/>
                      <a:pt x="251" y="179"/>
                    </a:cubicBezTo>
                    <a:cubicBezTo>
                      <a:pt x="253" y="196"/>
                      <a:pt x="253" y="196"/>
                      <a:pt x="253" y="196"/>
                    </a:cubicBezTo>
                    <a:cubicBezTo>
                      <a:pt x="254" y="199"/>
                      <a:pt x="254" y="199"/>
                      <a:pt x="254" y="199"/>
                    </a:cubicBezTo>
                    <a:cubicBezTo>
                      <a:pt x="252" y="201"/>
                      <a:pt x="252" y="201"/>
                      <a:pt x="252" y="201"/>
                    </a:cubicBezTo>
                    <a:cubicBezTo>
                      <a:pt x="251" y="203"/>
                      <a:pt x="251" y="203"/>
                      <a:pt x="251" y="203"/>
                    </a:cubicBezTo>
                    <a:cubicBezTo>
                      <a:pt x="250" y="204"/>
                      <a:pt x="250" y="204"/>
                      <a:pt x="250" y="204"/>
                    </a:cubicBezTo>
                    <a:cubicBezTo>
                      <a:pt x="250" y="205"/>
                      <a:pt x="250" y="205"/>
                      <a:pt x="250" y="205"/>
                    </a:cubicBezTo>
                    <a:cubicBezTo>
                      <a:pt x="232" y="221"/>
                      <a:pt x="232" y="221"/>
                      <a:pt x="232" y="221"/>
                    </a:cubicBezTo>
                    <a:cubicBezTo>
                      <a:pt x="230" y="225"/>
                      <a:pt x="226" y="226"/>
                      <a:pt x="225" y="226"/>
                    </a:cubicBezTo>
                    <a:cubicBezTo>
                      <a:pt x="224" y="226"/>
                      <a:pt x="224" y="226"/>
                      <a:pt x="224" y="226"/>
                    </a:cubicBezTo>
                    <a:cubicBezTo>
                      <a:pt x="222" y="226"/>
                      <a:pt x="222" y="226"/>
                      <a:pt x="222" y="226"/>
                    </a:cubicBezTo>
                    <a:cubicBezTo>
                      <a:pt x="220" y="226"/>
                      <a:pt x="220" y="226"/>
                      <a:pt x="220" y="226"/>
                    </a:cubicBezTo>
                    <a:cubicBezTo>
                      <a:pt x="240" y="292"/>
                      <a:pt x="240" y="292"/>
                      <a:pt x="240" y="292"/>
                    </a:cubicBezTo>
                    <a:cubicBezTo>
                      <a:pt x="287" y="292"/>
                      <a:pt x="287" y="292"/>
                      <a:pt x="287" y="292"/>
                    </a:cubicBezTo>
                    <a:lnTo>
                      <a:pt x="255" y="184"/>
                    </a:lnTo>
                    <a:close/>
                    <a:moveTo>
                      <a:pt x="188" y="263"/>
                    </a:moveTo>
                    <a:cubicBezTo>
                      <a:pt x="193" y="269"/>
                      <a:pt x="193" y="269"/>
                      <a:pt x="193" y="269"/>
                    </a:cubicBezTo>
                    <a:cubicBezTo>
                      <a:pt x="194" y="270"/>
                      <a:pt x="194" y="270"/>
                      <a:pt x="194" y="270"/>
                    </a:cubicBezTo>
                    <a:cubicBezTo>
                      <a:pt x="194" y="272"/>
                      <a:pt x="194" y="272"/>
                      <a:pt x="194" y="272"/>
                    </a:cubicBezTo>
                    <a:cubicBezTo>
                      <a:pt x="195" y="275"/>
                      <a:pt x="195" y="275"/>
                      <a:pt x="195" y="275"/>
                    </a:cubicBezTo>
                    <a:cubicBezTo>
                      <a:pt x="195" y="277"/>
                      <a:pt x="195" y="277"/>
                      <a:pt x="195" y="277"/>
                    </a:cubicBezTo>
                    <a:cubicBezTo>
                      <a:pt x="196" y="279"/>
                      <a:pt x="196" y="279"/>
                      <a:pt x="196" y="279"/>
                    </a:cubicBezTo>
                    <a:cubicBezTo>
                      <a:pt x="195" y="281"/>
                      <a:pt x="195" y="281"/>
                      <a:pt x="195" y="281"/>
                    </a:cubicBezTo>
                    <a:cubicBezTo>
                      <a:pt x="191" y="292"/>
                      <a:pt x="191" y="292"/>
                      <a:pt x="191" y="292"/>
                    </a:cubicBezTo>
                    <a:cubicBezTo>
                      <a:pt x="225" y="292"/>
                      <a:pt x="225" y="292"/>
                      <a:pt x="225" y="292"/>
                    </a:cubicBezTo>
                    <a:cubicBezTo>
                      <a:pt x="208" y="233"/>
                      <a:pt x="208" y="233"/>
                      <a:pt x="208" y="233"/>
                    </a:cubicBezTo>
                    <a:lnTo>
                      <a:pt x="188" y="263"/>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grpSp>
        <p:grpSp>
          <p:nvGrpSpPr>
            <p:cNvPr id="78" name="Group 77"/>
            <p:cNvGrpSpPr/>
            <p:nvPr/>
          </p:nvGrpSpPr>
          <p:grpSpPr>
            <a:xfrm>
              <a:off x="1014866" y="5011141"/>
              <a:ext cx="7845019" cy="859876"/>
              <a:chOff x="1449351" y="4995756"/>
              <a:chExt cx="7845019" cy="859876"/>
            </a:xfrm>
          </p:grpSpPr>
          <p:sp>
            <p:nvSpPr>
              <p:cNvPr id="79" name="Title 1"/>
              <p:cNvSpPr txBox="1">
                <a:spLocks/>
              </p:cNvSpPr>
              <p:nvPr/>
            </p:nvSpPr>
            <p:spPr>
              <a:xfrm>
                <a:off x="1449351" y="4995756"/>
                <a:ext cx="2286000" cy="845808"/>
              </a:xfrm>
              <a:prstGeom prst="rect">
                <a:avLst/>
              </a:prstGeom>
              <a:solidFill>
                <a:srgbClr val="EDC30D"/>
              </a:solidFill>
            </p:spPr>
            <p:txBody>
              <a:bodyPr vert="horz" wrap="square" lIns="143407" tIns="89630" rIns="143407" bIns="89630"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spcBef>
                    <a:spcPct val="20000"/>
                  </a:spcBef>
                  <a:buSzPct val="90000"/>
                </a:pPr>
                <a:r>
                  <a:rPr lang="en-US" sz="2400" dirty="0">
                    <a:solidFill>
                      <a:schemeClr val="tx1"/>
                    </a:solidFill>
                    <a:latin typeface="Segoe UI Semibold" panose="020B0702040204020203" pitchFamily="34" charset="0"/>
                    <a:cs typeface="Segoe UI Semibold" panose="020B0702040204020203" pitchFamily="34" charset="0"/>
                  </a:rPr>
                  <a:t>1st wave</a:t>
                </a:r>
                <a:br>
                  <a:rPr sz="2400" dirty="0">
                    <a:solidFill>
                      <a:schemeClr val="tx1"/>
                    </a:solidFill>
                    <a:latin typeface="Segoe UI Semibold" panose="020B0702040204020203" pitchFamily="34" charset="0"/>
                    <a:cs typeface="Segoe UI Semibold" panose="020B0702040204020203" pitchFamily="34" charset="0"/>
                  </a:rPr>
                </a:br>
                <a:r>
                  <a:rPr lang="zh-TW" altLang="en-US" sz="2400" spc="0" dirty="0">
                    <a:solidFill>
                      <a:schemeClr val="tx1"/>
                    </a:solidFill>
                    <a:latin typeface="+mn-lt"/>
                    <a:cs typeface="+mn-cs"/>
                  </a:rPr>
                  <a:t>技術型</a:t>
                </a:r>
                <a:r>
                  <a:rPr lang="en-US" sz="2400" spc="0" dirty="0">
                    <a:solidFill>
                      <a:schemeClr val="tx1"/>
                    </a:solidFill>
                    <a:latin typeface="+mn-lt"/>
                    <a:cs typeface="+mn-cs"/>
                  </a:rPr>
                  <a:t> BI</a:t>
                </a:r>
              </a:p>
            </p:txBody>
          </p:sp>
          <p:cxnSp>
            <p:nvCxnSpPr>
              <p:cNvPr id="80" name="Straight Connector 79"/>
              <p:cNvCxnSpPr/>
              <p:nvPr/>
            </p:nvCxnSpPr>
            <p:spPr>
              <a:xfrm>
                <a:off x="2026123" y="5799862"/>
                <a:ext cx="7268247" cy="55770"/>
              </a:xfrm>
              <a:prstGeom prst="line">
                <a:avLst/>
              </a:prstGeom>
              <a:ln w="3175">
                <a:solidFill>
                  <a:srgbClr val="EDC30D"/>
                </a:solidFill>
                <a:headEnd type="none"/>
                <a:tailEnd type="non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36410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4"/>
                                        </p:tgtEl>
                                        <p:attrNameLst>
                                          <p:attrName>style.visibility</p:attrName>
                                        </p:attrNameLst>
                                      </p:cBhvr>
                                      <p:to>
                                        <p:strVal val="visible"/>
                                      </p:to>
                                    </p:set>
                                    <p:animEffect transition="in" filter="fade">
                                      <p:cBhvr>
                                        <p:cTn id="7" dur="500"/>
                                        <p:tgtEl>
                                          <p:spTgt spid="8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5"/>
                                        </p:tgtEl>
                                        <p:attrNameLst>
                                          <p:attrName>style.visibility</p:attrName>
                                        </p:attrNameLst>
                                      </p:cBhvr>
                                      <p:to>
                                        <p:strVal val="visible"/>
                                      </p:to>
                                    </p:set>
                                    <p:animEffect transition="in" filter="fade">
                                      <p:cBhvr>
                                        <p:cTn id="12" dur="500"/>
                                        <p:tgtEl>
                                          <p:spTgt spid="8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7"/>
                                        </p:tgtEl>
                                        <p:attrNameLst>
                                          <p:attrName>style.visibility</p:attrName>
                                        </p:attrNameLst>
                                      </p:cBhvr>
                                      <p:to>
                                        <p:strVal val="visible"/>
                                      </p:to>
                                    </p:set>
                                    <p:animEffect transition="in" filter="fade">
                                      <p:cBhvr>
                                        <p:cTn id="17" dur="500"/>
                                        <p:tgtEl>
                                          <p:spTgt spid="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Introducing Power BI Desktop</a:t>
            </a:r>
            <a:endParaRPr lang="en-US" dirty="0"/>
          </a:p>
        </p:txBody>
      </p:sp>
      <p:sp>
        <p:nvSpPr>
          <p:cNvPr id="3" name="Content Placeholder 2"/>
          <p:cNvSpPr>
            <a:spLocks noGrp="1"/>
          </p:cNvSpPr>
          <p:nvPr>
            <p:ph sz="quarter" idx="10"/>
          </p:nvPr>
        </p:nvSpPr>
        <p:spPr/>
        <p:txBody>
          <a:bodyPr/>
          <a:lstStyle/>
          <a:p>
            <a:r>
              <a:rPr lang="en-AU" dirty="0"/>
              <a:t>User experience: Relationships view</a:t>
            </a:r>
            <a:endParaRPr lang="en-US" dirty="0"/>
          </a:p>
        </p:txBody>
      </p:sp>
      <p:sp>
        <p:nvSpPr>
          <p:cNvPr id="4" name="Text Placeholder 3"/>
          <p:cNvSpPr>
            <a:spLocks noGrp="1"/>
          </p:cNvSpPr>
          <p:nvPr>
            <p:ph type="body" sz="quarter" idx="11"/>
          </p:nvPr>
        </p:nvSpPr>
        <p:spPr>
          <a:xfrm>
            <a:off x="269875" y="1749425"/>
            <a:ext cx="4603575" cy="5108575"/>
          </a:xfrm>
        </p:spPr>
        <p:txBody>
          <a:bodyPr>
            <a:normAutofit/>
          </a:bodyPr>
          <a:lstStyle/>
          <a:p>
            <a:r>
              <a:rPr lang="en-US" dirty="0"/>
              <a:t>Work in </a:t>
            </a:r>
            <a:r>
              <a:rPr lang="en-US" b="1" dirty="0"/>
              <a:t>Relationships View </a:t>
            </a:r>
            <a:r>
              <a:rPr lang="en-US" dirty="0"/>
              <a:t>to view all tables, columns, measures and relationships in the model</a:t>
            </a:r>
          </a:p>
        </p:txBody>
      </p:sp>
      <p:pic>
        <p:nvPicPr>
          <p:cNvPr id="5" name="Picture 4"/>
          <p:cNvPicPr>
            <a:picLocks noChangeAspect="1"/>
          </p:cNvPicPr>
          <p:nvPr/>
        </p:nvPicPr>
        <p:blipFill>
          <a:blip r:embed="rId3"/>
          <a:stretch>
            <a:fillRect/>
          </a:stretch>
        </p:blipFill>
        <p:spPr>
          <a:xfrm>
            <a:off x="5711763" y="1749425"/>
            <a:ext cx="5672790" cy="4507047"/>
          </a:xfrm>
          <a:prstGeom prst="rect">
            <a:avLst/>
          </a:prstGeom>
        </p:spPr>
      </p:pic>
    </p:spTree>
    <p:extLst>
      <p:ext uri="{BB962C8B-B14F-4D97-AF65-F5344CB8AC3E}">
        <p14:creationId xmlns:p14="http://schemas.microsoft.com/office/powerpoint/2010/main" val="3486435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Introducing Power BI Desktop</a:t>
            </a:r>
          </a:p>
        </p:txBody>
      </p:sp>
      <p:sp>
        <p:nvSpPr>
          <p:cNvPr id="8" name="Content Placeholder 7"/>
          <p:cNvSpPr>
            <a:spLocks noGrp="1"/>
          </p:cNvSpPr>
          <p:nvPr>
            <p:ph sz="quarter" idx="10"/>
          </p:nvPr>
        </p:nvSpPr>
        <p:spPr/>
        <p:txBody>
          <a:bodyPr/>
          <a:lstStyle/>
          <a:p>
            <a:r>
              <a:rPr lang="en-AU" dirty="0"/>
              <a:t>Complex schemas: Development methodology</a:t>
            </a:r>
            <a:endParaRPr lang="en-US" dirty="0"/>
          </a:p>
        </p:txBody>
      </p:sp>
      <p:sp>
        <p:nvSpPr>
          <p:cNvPr id="4" name="Text Placeholder 3"/>
          <p:cNvSpPr>
            <a:spLocks noGrp="1"/>
          </p:cNvSpPr>
          <p:nvPr>
            <p:ph type="body" sz="quarter" idx="11"/>
          </p:nvPr>
        </p:nvSpPr>
        <p:spPr/>
        <p:txBody>
          <a:bodyPr/>
          <a:lstStyle/>
          <a:p>
            <a:r>
              <a:rPr lang="en-AU" dirty="0"/>
              <a:t>In contrast to the simple and quick “get then visualize” approach, more complex schemas may follow this methodology:</a:t>
            </a:r>
            <a:endParaRPr lang="en-US" dirty="0"/>
          </a:p>
          <a:p>
            <a:pPr marL="458254" lvl="1" indent="-457200">
              <a:buFont typeface="+mj-lt"/>
              <a:buAutoNum type="arabicPeriod"/>
            </a:pPr>
            <a:r>
              <a:rPr lang="en-US" sz="2000" dirty="0"/>
              <a:t>Create queries and use the </a:t>
            </a:r>
            <a:r>
              <a:rPr lang="en-US" sz="2000" b="1" dirty="0"/>
              <a:t>Query Editor </a:t>
            </a:r>
            <a:r>
              <a:rPr lang="en-US" sz="2000" dirty="0"/>
              <a:t>to filter, cleanse and reshape data</a:t>
            </a:r>
          </a:p>
          <a:p>
            <a:pPr marL="458254" lvl="1" indent="-457200">
              <a:buFont typeface="+mj-lt"/>
              <a:buAutoNum type="arabicPeriod"/>
            </a:pPr>
            <a:r>
              <a:rPr lang="en-US" sz="2000" dirty="0"/>
              <a:t>Configure/refine relationships to establish the foundations of a model</a:t>
            </a:r>
          </a:p>
          <a:p>
            <a:pPr marL="458254" lvl="1" indent="-457200">
              <a:buFont typeface="+mj-lt"/>
              <a:buAutoNum type="arabicPeriod"/>
            </a:pPr>
            <a:r>
              <a:rPr lang="en-AU" sz="2000" dirty="0"/>
              <a:t>Enrich the model with calculation logic and formatting</a:t>
            </a:r>
            <a:endParaRPr lang="en-US" sz="2000" dirty="0"/>
          </a:p>
          <a:p>
            <a:pPr marL="458254" lvl="1" indent="-457200">
              <a:buFont typeface="+mj-lt"/>
              <a:buAutoNum type="arabicPeriod"/>
            </a:pPr>
            <a:r>
              <a:rPr lang="en-US" sz="2000" dirty="0"/>
              <a:t>Design interactive reports with a broad range of modern data visualizations</a:t>
            </a:r>
          </a:p>
          <a:p>
            <a:pPr marL="458254" lvl="1" indent="-457200">
              <a:buFont typeface="+mj-lt"/>
              <a:buAutoNum type="arabicPeriod"/>
            </a:pPr>
            <a:r>
              <a:rPr lang="en-US" sz="2000" dirty="0"/>
              <a:t>Publish solutions directly to the Power BI service</a:t>
            </a:r>
          </a:p>
          <a:p>
            <a:endParaRPr lang="en-US" dirty="0"/>
          </a:p>
        </p:txBody>
      </p:sp>
      <p:graphicFrame>
        <p:nvGraphicFramePr>
          <p:cNvPr id="3" name="Diagram 2"/>
          <p:cNvGraphicFramePr/>
          <p:nvPr>
            <p:extLst/>
          </p:nvPr>
        </p:nvGraphicFramePr>
        <p:xfrm>
          <a:off x="428486" y="5489368"/>
          <a:ext cx="11206923" cy="9302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45750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a:t>建立查詢</a:t>
            </a:r>
            <a:endParaRPr lang="en-AU" dirty="0"/>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a:xfrm>
            <a:off x="269875" y="2332800"/>
            <a:ext cx="11655425" cy="4525200"/>
          </a:xfrm>
        </p:spPr>
        <p:txBody>
          <a:bodyPr>
            <a:normAutofit/>
          </a:bodyPr>
          <a:lstStyle/>
          <a:p>
            <a:r>
              <a:rPr lang="zh-TW" altLang="en-US" dirty="0"/>
              <a:t>查詢能在載入模型前進行編輯</a:t>
            </a:r>
            <a:endParaRPr lang="en-AU" dirty="0"/>
          </a:p>
          <a:p>
            <a:r>
              <a:rPr lang="zh-TW" altLang="en-US" dirty="0"/>
              <a:t>每個查詢一旦建立</a:t>
            </a:r>
            <a:r>
              <a:rPr lang="en-AU" dirty="0"/>
              <a:t>:</a:t>
            </a:r>
          </a:p>
          <a:p>
            <a:pPr lvl="1"/>
            <a:r>
              <a:rPr lang="zh-TW" altLang="en-US" dirty="0"/>
              <a:t>會以一個唯一的名稱對應它</a:t>
            </a:r>
            <a:endParaRPr lang="en-AU" dirty="0"/>
          </a:p>
          <a:p>
            <a:pPr lvl="1"/>
            <a:r>
              <a:rPr lang="en-US" dirty="0"/>
              <a:t>Defines query steps by using the language “M”</a:t>
            </a:r>
          </a:p>
          <a:p>
            <a:pPr lvl="2"/>
            <a:r>
              <a:rPr lang="en-US" dirty="0"/>
              <a:t>Most query step logic does not require writing formulas</a:t>
            </a:r>
          </a:p>
          <a:p>
            <a:pPr lvl="2"/>
            <a:r>
              <a:rPr lang="en-US" dirty="0"/>
              <a:t>Advanced logic can be written, and even exposed as functions</a:t>
            </a:r>
          </a:p>
          <a:p>
            <a:pPr lvl="1"/>
            <a:r>
              <a:rPr lang="zh-TW" altLang="en-US" dirty="0"/>
              <a:t>用來載入資料到模型表中</a:t>
            </a:r>
            <a:endParaRPr lang="en-US" dirty="0"/>
          </a:p>
        </p:txBody>
      </p:sp>
      <p:graphicFrame>
        <p:nvGraphicFramePr>
          <p:cNvPr id="5" name="Diagram 4"/>
          <p:cNvGraphicFramePr/>
          <p:nvPr>
            <p:extLst>
              <p:ext uri="{D42A27DB-BD31-4B8C-83A1-F6EECF244321}">
                <p14:modId xmlns:p14="http://schemas.microsoft.com/office/powerpoint/2010/main" val="3690664371"/>
              </p:ext>
            </p:extLst>
          </p:nvPr>
        </p:nvGraphicFramePr>
        <p:xfrm>
          <a:off x="441738" y="1332000"/>
          <a:ext cx="11206923" cy="9302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70189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a:t>建立查詢</a:t>
            </a:r>
            <a:endParaRPr lang="en-AU" dirty="0"/>
          </a:p>
        </p:txBody>
      </p:sp>
      <p:sp>
        <p:nvSpPr>
          <p:cNvPr id="3" name="Content Placeholder 2"/>
          <p:cNvSpPr>
            <a:spLocks noGrp="1"/>
          </p:cNvSpPr>
          <p:nvPr>
            <p:ph sz="quarter" idx="10"/>
          </p:nvPr>
        </p:nvSpPr>
        <p:spPr/>
        <p:txBody>
          <a:bodyPr/>
          <a:lstStyle/>
          <a:p>
            <a:r>
              <a:rPr lang="en-AU" dirty="0"/>
              <a:t>Source types: Azure</a:t>
            </a:r>
            <a:endParaRPr lang="en-US" dirty="0"/>
          </a:p>
        </p:txBody>
      </p:sp>
      <p:sp>
        <p:nvSpPr>
          <p:cNvPr id="4" name="Text Placeholder 3"/>
          <p:cNvSpPr>
            <a:spLocks noGrp="1"/>
          </p:cNvSpPr>
          <p:nvPr>
            <p:ph type="body" sz="quarter" idx="11"/>
          </p:nvPr>
        </p:nvSpPr>
        <p:spPr>
          <a:xfrm>
            <a:off x="5274365" y="1749425"/>
            <a:ext cx="6650935" cy="5108575"/>
          </a:xfrm>
        </p:spPr>
        <p:txBody>
          <a:bodyPr>
            <a:normAutofit/>
          </a:bodyPr>
          <a:lstStyle/>
          <a:p>
            <a:endParaRPr lang="en-US" dirty="0"/>
          </a:p>
        </p:txBody>
      </p:sp>
      <p:pic>
        <p:nvPicPr>
          <p:cNvPr id="6" name="Picture 5"/>
          <p:cNvPicPr>
            <a:picLocks noChangeAspect="1"/>
          </p:cNvPicPr>
          <p:nvPr/>
        </p:nvPicPr>
        <p:blipFill>
          <a:blip r:embed="rId3"/>
          <a:stretch>
            <a:fillRect/>
          </a:stretch>
        </p:blipFill>
        <p:spPr>
          <a:xfrm>
            <a:off x="482400" y="1749425"/>
            <a:ext cx="4365714" cy="4742857"/>
          </a:xfrm>
          <a:prstGeom prst="rect">
            <a:avLst/>
          </a:prstGeom>
        </p:spPr>
      </p:pic>
    </p:spTree>
    <p:extLst>
      <p:ext uri="{BB962C8B-B14F-4D97-AF65-F5344CB8AC3E}">
        <p14:creationId xmlns:p14="http://schemas.microsoft.com/office/powerpoint/2010/main" val="69046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a:t>建立查詢</a:t>
            </a:r>
            <a:endParaRPr lang="en-AU" dirty="0"/>
          </a:p>
        </p:txBody>
      </p:sp>
      <p:sp>
        <p:nvSpPr>
          <p:cNvPr id="3" name="Content Placeholder 2"/>
          <p:cNvSpPr>
            <a:spLocks noGrp="1"/>
          </p:cNvSpPr>
          <p:nvPr>
            <p:ph sz="quarter" idx="10"/>
          </p:nvPr>
        </p:nvSpPr>
        <p:spPr/>
        <p:txBody>
          <a:bodyPr/>
          <a:lstStyle/>
          <a:p>
            <a:r>
              <a:rPr lang="en-AU" dirty="0" err="1"/>
              <a:t>DirectQuery</a:t>
            </a:r>
            <a:r>
              <a:rPr lang="en-AU" dirty="0"/>
              <a:t> </a:t>
            </a:r>
            <a:r>
              <a:rPr lang="zh-TW" altLang="en-US" dirty="0"/>
              <a:t>模式</a:t>
            </a:r>
            <a:endParaRPr lang="en-US" dirty="0"/>
          </a:p>
        </p:txBody>
      </p:sp>
      <p:sp>
        <p:nvSpPr>
          <p:cNvPr id="4" name="Text Placeholder 3"/>
          <p:cNvSpPr>
            <a:spLocks noGrp="1"/>
          </p:cNvSpPr>
          <p:nvPr>
            <p:ph type="body" sz="quarter" idx="11"/>
          </p:nvPr>
        </p:nvSpPr>
        <p:spPr>
          <a:xfrm>
            <a:off x="269876" y="1749425"/>
            <a:ext cx="5983780" cy="5108575"/>
          </a:xfrm>
        </p:spPr>
        <p:txBody>
          <a:bodyPr>
            <a:normAutofit/>
          </a:bodyPr>
          <a:lstStyle/>
          <a:p>
            <a:r>
              <a:rPr lang="zh-TW" altLang="en-US" dirty="0"/>
              <a:t>在支援的資料來源下，可以使用</a:t>
            </a:r>
            <a:r>
              <a:rPr lang="en-US" dirty="0"/>
              <a:t> </a:t>
            </a:r>
            <a:r>
              <a:rPr lang="en-US" b="1" dirty="0" err="1"/>
              <a:t>DirectQuery</a:t>
            </a:r>
            <a:r>
              <a:rPr lang="en-US" dirty="0"/>
              <a:t> </a:t>
            </a:r>
            <a:r>
              <a:rPr lang="zh-TW" altLang="en-US" dirty="0"/>
              <a:t>即時讀取資料</a:t>
            </a:r>
            <a:endParaRPr lang="en-US" dirty="0"/>
          </a:p>
          <a:p>
            <a:pPr lvl="1"/>
            <a:r>
              <a:rPr lang="en-US" dirty="0"/>
              <a:t>SQL Server</a:t>
            </a:r>
          </a:p>
          <a:p>
            <a:pPr lvl="1"/>
            <a:r>
              <a:rPr lang="en-US" dirty="0"/>
              <a:t>Azure SQL Database</a:t>
            </a:r>
          </a:p>
          <a:p>
            <a:pPr lvl="1"/>
            <a:r>
              <a:rPr lang="en-US" dirty="0"/>
              <a:t>Azure SQL Data Warehouse</a:t>
            </a:r>
          </a:p>
          <a:p>
            <a:pPr lvl="1"/>
            <a:r>
              <a:rPr lang="en-US" dirty="0"/>
              <a:t>SAP HANA</a:t>
            </a:r>
          </a:p>
        </p:txBody>
      </p:sp>
      <p:pic>
        <p:nvPicPr>
          <p:cNvPr id="9" name="Picture 8"/>
          <p:cNvPicPr>
            <a:picLocks noChangeAspect="1"/>
          </p:cNvPicPr>
          <p:nvPr/>
        </p:nvPicPr>
        <p:blipFill>
          <a:blip r:embed="rId2"/>
          <a:stretch>
            <a:fillRect/>
          </a:stretch>
        </p:blipFill>
        <p:spPr>
          <a:xfrm>
            <a:off x="5855422" y="1950334"/>
            <a:ext cx="5827920" cy="3407379"/>
          </a:xfrm>
          <a:prstGeom prst="rect">
            <a:avLst/>
          </a:prstGeom>
        </p:spPr>
      </p:pic>
    </p:spTree>
    <p:extLst>
      <p:ext uri="{BB962C8B-B14F-4D97-AF65-F5344CB8AC3E}">
        <p14:creationId xmlns:p14="http://schemas.microsoft.com/office/powerpoint/2010/main" val="800477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a:t>建立查詢</a:t>
            </a:r>
            <a:endParaRPr lang="en-AU" dirty="0"/>
          </a:p>
        </p:txBody>
      </p:sp>
      <p:sp>
        <p:nvSpPr>
          <p:cNvPr id="3" name="Content Placeholder 2"/>
          <p:cNvSpPr>
            <a:spLocks noGrp="1"/>
          </p:cNvSpPr>
          <p:nvPr>
            <p:ph sz="quarter" idx="10"/>
          </p:nvPr>
        </p:nvSpPr>
        <p:spPr/>
        <p:txBody>
          <a:bodyPr/>
          <a:lstStyle/>
          <a:p>
            <a:r>
              <a:rPr lang="en-AU" dirty="0" err="1"/>
              <a:t>DirectQuery</a:t>
            </a:r>
            <a:r>
              <a:rPr lang="en-AU" dirty="0"/>
              <a:t> </a:t>
            </a:r>
            <a:r>
              <a:rPr lang="zh-TW" altLang="en-US" dirty="0"/>
              <a:t>模式</a:t>
            </a:r>
            <a:r>
              <a:rPr lang="en-AU" dirty="0"/>
              <a:t> (Continued)</a:t>
            </a:r>
            <a:endParaRPr lang="en-US" dirty="0"/>
          </a:p>
        </p:txBody>
      </p:sp>
      <p:sp>
        <p:nvSpPr>
          <p:cNvPr id="4" name="Text Placeholder 3"/>
          <p:cNvSpPr>
            <a:spLocks noGrp="1"/>
          </p:cNvSpPr>
          <p:nvPr>
            <p:ph type="body" sz="quarter" idx="11"/>
          </p:nvPr>
        </p:nvSpPr>
        <p:spPr/>
        <p:txBody>
          <a:bodyPr>
            <a:normAutofit/>
          </a:bodyPr>
          <a:lstStyle/>
          <a:p>
            <a:r>
              <a:rPr lang="zh-TW" altLang="en-US" dirty="0"/>
              <a:t>發佈至 </a:t>
            </a:r>
            <a:r>
              <a:rPr lang="en-AU" dirty="0"/>
              <a:t>Power BI </a:t>
            </a:r>
            <a:r>
              <a:rPr lang="zh-TW" altLang="en-US" dirty="0"/>
              <a:t>服務時</a:t>
            </a:r>
            <a:r>
              <a:rPr lang="en-AU" dirty="0"/>
              <a:t>:</a:t>
            </a:r>
          </a:p>
          <a:p>
            <a:pPr lvl="1"/>
            <a:r>
              <a:rPr lang="en-AU" dirty="0"/>
              <a:t>Until credentials are supplied, opening a published report or exploring a dataset created with a </a:t>
            </a:r>
            <a:r>
              <a:rPr lang="en-AU" dirty="0" err="1"/>
              <a:t>DirectQuery</a:t>
            </a:r>
            <a:r>
              <a:rPr lang="en-AU" dirty="0"/>
              <a:t> connection to an Azure connection results in an error</a:t>
            </a:r>
          </a:p>
          <a:p>
            <a:pPr lvl="1"/>
            <a:r>
              <a:rPr lang="en-AU" dirty="0"/>
              <a:t>For data sources other than Azure connections that use </a:t>
            </a:r>
            <a:r>
              <a:rPr lang="en-AU" dirty="0" err="1"/>
              <a:t>DirectQuery</a:t>
            </a:r>
            <a:r>
              <a:rPr lang="en-AU" dirty="0"/>
              <a:t>, an Enterprise Gateway must be installed and the data sources must be registered to establish a data connection</a:t>
            </a:r>
          </a:p>
          <a:p>
            <a:r>
              <a:rPr lang="zh-TW" altLang="en-US" dirty="0"/>
              <a:t>好處</a:t>
            </a:r>
            <a:r>
              <a:rPr lang="en-US" dirty="0"/>
              <a:t>:</a:t>
            </a:r>
          </a:p>
          <a:p>
            <a:pPr lvl="1"/>
            <a:r>
              <a:rPr lang="zh-TW" altLang="en-US" dirty="0"/>
              <a:t>可以針對非常大量的資料做視覺化圖表</a:t>
            </a:r>
            <a:endParaRPr lang="en-AU" dirty="0"/>
          </a:p>
          <a:p>
            <a:pPr lvl="1"/>
            <a:r>
              <a:rPr lang="zh-TW" altLang="en-US" dirty="0"/>
              <a:t>報表永遠呈現最新的資料</a:t>
            </a:r>
            <a:endParaRPr lang="en-US" dirty="0"/>
          </a:p>
          <a:p>
            <a:endParaRPr lang="en-US" dirty="0"/>
          </a:p>
        </p:txBody>
      </p:sp>
    </p:spTree>
    <p:extLst>
      <p:ext uri="{BB962C8B-B14F-4D97-AF65-F5344CB8AC3E}">
        <p14:creationId xmlns:p14="http://schemas.microsoft.com/office/powerpoint/2010/main" val="715793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a:t>建立查詢</a:t>
            </a:r>
            <a:endParaRPr lang="en-AU" dirty="0"/>
          </a:p>
        </p:txBody>
      </p:sp>
      <p:sp>
        <p:nvSpPr>
          <p:cNvPr id="3" name="Content Placeholder 2"/>
          <p:cNvSpPr>
            <a:spLocks noGrp="1"/>
          </p:cNvSpPr>
          <p:nvPr>
            <p:ph sz="quarter" idx="10"/>
          </p:nvPr>
        </p:nvSpPr>
        <p:spPr/>
        <p:txBody>
          <a:bodyPr/>
          <a:lstStyle/>
          <a:p>
            <a:r>
              <a:rPr lang="en-AU" dirty="0" err="1"/>
              <a:t>DirectQuery</a:t>
            </a:r>
            <a:r>
              <a:rPr lang="en-AU" dirty="0"/>
              <a:t> </a:t>
            </a:r>
            <a:r>
              <a:rPr lang="zh-TW" altLang="en-US" dirty="0"/>
              <a:t>模式</a:t>
            </a:r>
            <a:r>
              <a:rPr lang="en-AU" dirty="0"/>
              <a:t> (Continued)</a:t>
            </a:r>
            <a:endParaRPr lang="en-US" dirty="0"/>
          </a:p>
        </p:txBody>
      </p:sp>
      <p:sp>
        <p:nvSpPr>
          <p:cNvPr id="4" name="Text Placeholder 3"/>
          <p:cNvSpPr>
            <a:spLocks noGrp="1"/>
          </p:cNvSpPr>
          <p:nvPr>
            <p:ph type="body" sz="quarter" idx="11"/>
          </p:nvPr>
        </p:nvSpPr>
        <p:spPr/>
        <p:txBody>
          <a:bodyPr>
            <a:normAutofit/>
          </a:bodyPr>
          <a:lstStyle/>
          <a:p>
            <a:r>
              <a:rPr lang="zh-TW" altLang="en-US" dirty="0"/>
              <a:t>限制</a:t>
            </a:r>
            <a:r>
              <a:rPr lang="en-US" dirty="0"/>
              <a:t>:</a:t>
            </a:r>
          </a:p>
          <a:p>
            <a:pPr lvl="1"/>
            <a:r>
              <a:rPr lang="zh-TW" altLang="en-US" dirty="0"/>
              <a:t>所有表格必須來自單一資料庫</a:t>
            </a:r>
            <a:endParaRPr lang="en-AU" dirty="0"/>
          </a:p>
          <a:p>
            <a:pPr lvl="1"/>
            <a:r>
              <a:rPr lang="en-AU" dirty="0"/>
              <a:t>The </a:t>
            </a:r>
            <a:r>
              <a:rPr lang="en-AU" b="1" dirty="0"/>
              <a:t>Query Editor </a:t>
            </a:r>
            <a:r>
              <a:rPr lang="en-AU" dirty="0"/>
              <a:t>query cannot be overly complex</a:t>
            </a:r>
          </a:p>
          <a:p>
            <a:pPr lvl="1"/>
            <a:r>
              <a:rPr lang="en-AU" dirty="0"/>
              <a:t>There is no support for calculated columns or tables</a:t>
            </a:r>
          </a:p>
          <a:p>
            <a:pPr lvl="1"/>
            <a:r>
              <a:rPr lang="en-AU" dirty="0"/>
              <a:t>Measures are restricted to a subset of the DAX functions</a:t>
            </a:r>
          </a:p>
          <a:p>
            <a:pPr lvl="1"/>
            <a:r>
              <a:rPr lang="en-AU" dirty="0"/>
              <a:t>Relationship filtering is limited to a single direction, rather than both directions</a:t>
            </a:r>
          </a:p>
          <a:p>
            <a:pPr lvl="1"/>
            <a:r>
              <a:rPr lang="en-AU" dirty="0"/>
              <a:t>The data type of a column cannot be changed</a:t>
            </a:r>
          </a:p>
        </p:txBody>
      </p:sp>
    </p:spTree>
    <p:extLst>
      <p:ext uri="{BB962C8B-B14F-4D97-AF65-F5344CB8AC3E}">
        <p14:creationId xmlns:p14="http://schemas.microsoft.com/office/powerpoint/2010/main" val="1549689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Creating queries</a:t>
            </a:r>
          </a:p>
        </p:txBody>
      </p:sp>
      <p:sp>
        <p:nvSpPr>
          <p:cNvPr id="3" name="Content Placeholder 2"/>
          <p:cNvSpPr>
            <a:spLocks noGrp="1"/>
          </p:cNvSpPr>
          <p:nvPr>
            <p:ph sz="quarter" idx="10"/>
          </p:nvPr>
        </p:nvSpPr>
        <p:spPr/>
        <p:txBody>
          <a:bodyPr/>
          <a:lstStyle/>
          <a:p>
            <a:r>
              <a:rPr lang="en-AU" dirty="0"/>
              <a:t>Defining query steps</a:t>
            </a:r>
            <a:endParaRPr lang="en-US" dirty="0"/>
          </a:p>
        </p:txBody>
      </p:sp>
      <p:sp>
        <p:nvSpPr>
          <p:cNvPr id="4" name="Text Placeholder 3"/>
          <p:cNvSpPr>
            <a:spLocks noGrp="1"/>
          </p:cNvSpPr>
          <p:nvPr>
            <p:ph type="body" sz="quarter" idx="11"/>
          </p:nvPr>
        </p:nvSpPr>
        <p:spPr>
          <a:xfrm>
            <a:off x="269875" y="1749425"/>
            <a:ext cx="7906716" cy="5108575"/>
          </a:xfrm>
        </p:spPr>
        <p:txBody>
          <a:bodyPr>
            <a:normAutofit lnSpcReduction="10000"/>
          </a:bodyPr>
          <a:lstStyle/>
          <a:p>
            <a:r>
              <a:rPr lang="en-US" dirty="0"/>
              <a:t>The </a:t>
            </a:r>
            <a:r>
              <a:rPr lang="en-US" b="1" dirty="0"/>
              <a:t>Query Editor </a:t>
            </a:r>
            <a:r>
              <a:rPr lang="en-US" dirty="0"/>
              <a:t>can be used to filter, cleanse and reshape data into the desired result</a:t>
            </a:r>
          </a:p>
          <a:p>
            <a:pPr lvl="1"/>
            <a:r>
              <a:rPr lang="en-US" dirty="0"/>
              <a:t>Steps can easily be produced by applying column filters, and by using the commands available from the ribbon, or the query and column context menus</a:t>
            </a:r>
          </a:p>
          <a:p>
            <a:pPr lvl="1"/>
            <a:r>
              <a:rPr lang="en-US" dirty="0"/>
              <a:t>It is possible to select a step and preview the data at that step</a:t>
            </a:r>
          </a:p>
          <a:p>
            <a:pPr lvl="1"/>
            <a:r>
              <a:rPr lang="en-US" dirty="0"/>
              <a:t>Steps can be removed – but take care not to remove a step that downstream steps depend on</a:t>
            </a:r>
          </a:p>
          <a:p>
            <a:pPr lvl="1"/>
            <a:r>
              <a:rPr lang="en-US" dirty="0"/>
              <a:t>Step formulas can be viewed or edited in the formula bar</a:t>
            </a:r>
          </a:p>
          <a:p>
            <a:endParaRPr lang="en-US" dirty="0"/>
          </a:p>
        </p:txBody>
      </p:sp>
      <p:pic>
        <p:nvPicPr>
          <p:cNvPr id="6" name="Picture 5"/>
          <p:cNvPicPr>
            <a:picLocks noChangeAspect="1"/>
          </p:cNvPicPr>
          <p:nvPr/>
        </p:nvPicPr>
        <p:blipFill>
          <a:blip r:embed="rId2"/>
          <a:stretch>
            <a:fillRect/>
          </a:stretch>
        </p:blipFill>
        <p:spPr>
          <a:xfrm>
            <a:off x="8395496" y="1972136"/>
            <a:ext cx="3027878" cy="4075113"/>
          </a:xfrm>
          <a:prstGeom prst="rect">
            <a:avLst/>
          </a:prstGeom>
        </p:spPr>
      </p:pic>
    </p:spTree>
    <p:extLst>
      <p:ext uri="{BB962C8B-B14F-4D97-AF65-F5344CB8AC3E}">
        <p14:creationId xmlns:p14="http://schemas.microsoft.com/office/powerpoint/2010/main" val="3242628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Creating queries</a:t>
            </a:r>
          </a:p>
        </p:txBody>
      </p:sp>
      <p:sp>
        <p:nvSpPr>
          <p:cNvPr id="3" name="Content Placeholder 2"/>
          <p:cNvSpPr>
            <a:spLocks noGrp="1"/>
          </p:cNvSpPr>
          <p:nvPr>
            <p:ph sz="quarter" idx="10"/>
          </p:nvPr>
        </p:nvSpPr>
        <p:spPr/>
        <p:txBody>
          <a:bodyPr/>
          <a:lstStyle/>
          <a:p>
            <a:r>
              <a:rPr lang="en-AU" dirty="0"/>
              <a:t>Defining query steps: Commands</a:t>
            </a:r>
            <a:endParaRPr lang="en-US" dirty="0"/>
          </a:p>
        </p:txBody>
      </p:sp>
      <p:sp>
        <p:nvSpPr>
          <p:cNvPr id="4" name="Text Placeholder 3"/>
          <p:cNvSpPr>
            <a:spLocks noGrp="1"/>
          </p:cNvSpPr>
          <p:nvPr>
            <p:ph type="body" sz="quarter" idx="11"/>
          </p:nvPr>
        </p:nvSpPr>
        <p:spPr/>
        <p:txBody>
          <a:bodyPr/>
          <a:lstStyle/>
          <a:p>
            <a:r>
              <a:rPr lang="en-US" dirty="0"/>
              <a:t>Numerous commands are available on the </a:t>
            </a:r>
            <a:r>
              <a:rPr lang="en-US" b="1" dirty="0"/>
              <a:t>Query Editor </a:t>
            </a:r>
            <a:r>
              <a:rPr lang="en-US" dirty="0"/>
              <a:t>ribbons and context menus to:</a:t>
            </a:r>
          </a:p>
          <a:p>
            <a:pPr lvl="1"/>
            <a:r>
              <a:rPr lang="en-AU" dirty="0"/>
              <a:t>Manage columns</a:t>
            </a:r>
          </a:p>
          <a:p>
            <a:pPr lvl="1"/>
            <a:r>
              <a:rPr lang="en-AU" dirty="0"/>
              <a:t>Reduce rows, including removing errors</a:t>
            </a:r>
          </a:p>
          <a:p>
            <a:pPr lvl="1"/>
            <a:r>
              <a:rPr lang="en-AU" dirty="0"/>
              <a:t>Transform</a:t>
            </a:r>
          </a:p>
          <a:p>
            <a:pPr lvl="1"/>
            <a:r>
              <a:rPr lang="en-AU" dirty="0"/>
              <a:t>Split</a:t>
            </a:r>
          </a:p>
          <a:p>
            <a:pPr lvl="1"/>
            <a:r>
              <a:rPr lang="en-AU" dirty="0"/>
              <a:t>Add columns, by using formulas</a:t>
            </a:r>
          </a:p>
          <a:p>
            <a:r>
              <a:rPr lang="en-AU" dirty="0"/>
              <a:t>As the editor experience is WYSIWYG, users can easily experiment and roll-back changes</a:t>
            </a:r>
          </a:p>
          <a:p>
            <a:endParaRPr lang="en-US" dirty="0"/>
          </a:p>
        </p:txBody>
      </p:sp>
    </p:spTree>
    <p:extLst>
      <p:ext uri="{BB962C8B-B14F-4D97-AF65-F5344CB8AC3E}">
        <p14:creationId xmlns:p14="http://schemas.microsoft.com/office/powerpoint/2010/main" val="3715754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Creating queries</a:t>
            </a:r>
          </a:p>
        </p:txBody>
      </p:sp>
      <p:sp>
        <p:nvSpPr>
          <p:cNvPr id="3" name="Content Placeholder 2"/>
          <p:cNvSpPr>
            <a:spLocks noGrp="1"/>
          </p:cNvSpPr>
          <p:nvPr>
            <p:ph sz="quarter" idx="10"/>
          </p:nvPr>
        </p:nvSpPr>
        <p:spPr/>
        <p:txBody>
          <a:bodyPr/>
          <a:lstStyle/>
          <a:p>
            <a:r>
              <a:rPr lang="en-AU" dirty="0"/>
              <a:t>Defining query steps: Combining queries</a:t>
            </a:r>
            <a:endParaRPr lang="en-US" dirty="0"/>
          </a:p>
        </p:txBody>
      </p:sp>
      <p:sp>
        <p:nvSpPr>
          <p:cNvPr id="4" name="Text Placeholder 3"/>
          <p:cNvSpPr>
            <a:spLocks noGrp="1"/>
          </p:cNvSpPr>
          <p:nvPr>
            <p:ph type="body" sz="quarter" idx="11"/>
          </p:nvPr>
        </p:nvSpPr>
        <p:spPr>
          <a:xfrm>
            <a:off x="1921565" y="1749425"/>
            <a:ext cx="10003736" cy="5108575"/>
          </a:xfrm>
        </p:spPr>
        <p:txBody>
          <a:bodyPr/>
          <a:lstStyle/>
          <a:p>
            <a:r>
              <a:rPr lang="en-US" dirty="0"/>
              <a:t>New queries can be created by:</a:t>
            </a:r>
          </a:p>
          <a:p>
            <a:pPr lvl="1"/>
            <a:r>
              <a:rPr lang="en-US" dirty="0"/>
              <a:t>Merging two queries (joining on a common column)</a:t>
            </a:r>
          </a:p>
          <a:p>
            <a:pPr lvl="1"/>
            <a:r>
              <a:rPr lang="en-US" dirty="0"/>
              <a:t>Appending two queries (union)</a:t>
            </a:r>
          </a:p>
          <a:p>
            <a:r>
              <a:rPr lang="en-AU" dirty="0"/>
              <a:t>Merge join options include:</a:t>
            </a:r>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2250" y="1968646"/>
            <a:ext cx="1178451" cy="1166666"/>
          </a:xfrm>
          <a:prstGeom prst="rect">
            <a:avLst/>
          </a:prstGeom>
          <a:ln>
            <a:solidFill>
              <a:schemeClr val="tx1"/>
            </a:solidFill>
          </a:ln>
        </p:spPr>
      </p:pic>
      <p:pic>
        <p:nvPicPr>
          <p:cNvPr id="7" name="Picture 6"/>
          <p:cNvPicPr>
            <a:picLocks noChangeAspect="1"/>
          </p:cNvPicPr>
          <p:nvPr/>
        </p:nvPicPr>
        <p:blipFill>
          <a:blip r:embed="rId3"/>
          <a:stretch>
            <a:fillRect/>
          </a:stretch>
        </p:blipFill>
        <p:spPr>
          <a:xfrm>
            <a:off x="1921565" y="3946118"/>
            <a:ext cx="6983896" cy="2376803"/>
          </a:xfrm>
          <a:prstGeom prst="rect">
            <a:avLst/>
          </a:prstGeom>
        </p:spPr>
      </p:pic>
    </p:spTree>
    <p:extLst>
      <p:ext uri="{BB962C8B-B14F-4D97-AF65-F5344CB8AC3E}">
        <p14:creationId xmlns:p14="http://schemas.microsoft.com/office/powerpoint/2010/main" val="1525885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a:t>新一化的</a:t>
            </a:r>
            <a:r>
              <a:rPr lang="zh-TW" altLang="en-US" b="1" dirty="0"/>
              <a:t>商業智慧</a:t>
            </a:r>
            <a:r>
              <a:rPr lang="zh-TW" altLang="en-US" dirty="0"/>
              <a:t> </a:t>
            </a:r>
            <a:r>
              <a:rPr lang="en-US" altLang="zh-TW" dirty="0"/>
              <a:t>(</a:t>
            </a:r>
            <a:r>
              <a:rPr lang="en-AU" altLang="zh-TW" dirty="0"/>
              <a:t>BI) </a:t>
            </a:r>
            <a:r>
              <a:rPr lang="zh-TW" altLang="en-US" dirty="0"/>
              <a:t>工具</a:t>
            </a:r>
            <a:endParaRPr lang="en-US" dirty="0"/>
          </a:p>
        </p:txBody>
      </p:sp>
      <p:sp>
        <p:nvSpPr>
          <p:cNvPr id="3" name="Content Placeholder 2"/>
          <p:cNvSpPr>
            <a:spLocks noGrp="1"/>
          </p:cNvSpPr>
          <p:nvPr>
            <p:ph sz="quarter" idx="10"/>
          </p:nvPr>
        </p:nvSpPr>
        <p:spPr/>
        <p:txBody>
          <a:bodyPr/>
          <a:lstStyle/>
          <a:p>
            <a:r>
              <a:rPr lang="zh-TW" altLang="en-US" dirty="0"/>
              <a:t>將資料轉換成商業洞察</a:t>
            </a:r>
            <a:r>
              <a:rPr lang="en-US" altLang="zh-TW" dirty="0"/>
              <a:t> (</a:t>
            </a:r>
            <a:r>
              <a:rPr lang="en-US" dirty="0"/>
              <a:t>business insights) </a:t>
            </a:r>
            <a:r>
              <a:rPr lang="zh-TW" altLang="en-US" dirty="0"/>
              <a:t>很有挑戰性</a:t>
            </a:r>
            <a:endParaRPr lang="en-US" b="1" dirty="0">
              <a:cs typeface="Segoe UI" panose="020B0502040204020203" pitchFamily="34" charset="0"/>
            </a:endParaRPr>
          </a:p>
        </p:txBody>
      </p:sp>
      <p:sp>
        <p:nvSpPr>
          <p:cNvPr id="4" name="Text Placeholder 3"/>
          <p:cNvSpPr>
            <a:spLocks noGrp="1"/>
          </p:cNvSpPr>
          <p:nvPr>
            <p:ph type="body" sz="quarter" idx="11"/>
          </p:nvPr>
        </p:nvSpPr>
        <p:spPr/>
        <p:txBody>
          <a:bodyPr/>
          <a:lstStyle/>
          <a:p>
            <a:r>
              <a:rPr lang="zh-TW" altLang="en-US" dirty="0"/>
              <a:t>常見的</a:t>
            </a:r>
            <a:r>
              <a:rPr lang="en-US" dirty="0"/>
              <a:t> BI </a:t>
            </a:r>
            <a:r>
              <a:rPr lang="zh-TW" altLang="en-US" dirty="0"/>
              <a:t>挑戰包括了</a:t>
            </a:r>
            <a:r>
              <a:rPr lang="en-US" dirty="0"/>
              <a:t>…</a:t>
            </a:r>
          </a:p>
          <a:p>
            <a:endParaRPr lang="en-US" dirty="0"/>
          </a:p>
        </p:txBody>
      </p:sp>
      <p:grpSp>
        <p:nvGrpSpPr>
          <p:cNvPr id="24" name="Group 23"/>
          <p:cNvGrpSpPr/>
          <p:nvPr/>
        </p:nvGrpSpPr>
        <p:grpSpPr>
          <a:xfrm>
            <a:off x="461438" y="3751994"/>
            <a:ext cx="11131423" cy="919829"/>
            <a:chOff x="419875" y="3553208"/>
            <a:chExt cx="11131423" cy="919829"/>
          </a:xfrm>
        </p:grpSpPr>
        <p:grpSp>
          <p:nvGrpSpPr>
            <p:cNvPr id="25" name="Group 11"/>
            <p:cNvGrpSpPr/>
            <p:nvPr/>
          </p:nvGrpSpPr>
          <p:grpSpPr>
            <a:xfrm>
              <a:off x="419875" y="3553208"/>
              <a:ext cx="11131423" cy="919829"/>
              <a:chOff x="419875" y="3540205"/>
              <a:chExt cx="11131423" cy="919829"/>
            </a:xfrm>
          </p:grpSpPr>
          <p:sp>
            <p:nvSpPr>
              <p:cNvPr id="28" name="Rectangle 12"/>
              <p:cNvSpPr/>
              <p:nvPr/>
            </p:nvSpPr>
            <p:spPr bwMode="auto">
              <a:xfrm>
                <a:off x="1327452" y="3540205"/>
                <a:ext cx="4252254" cy="914400"/>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zh-TW" altLang="en-US" sz="2800" dirty="0">
                    <a:solidFill>
                      <a:srgbClr val="EDC30D"/>
                    </a:solidFill>
                    <a:latin typeface="+mj-lt"/>
                    <a:ea typeface="Segoe UI" pitchFamily="34" charset="0"/>
                    <a:cs typeface="Segoe UI" pitchFamily="34" charset="0"/>
                  </a:rPr>
                  <a:t>多重資料來源</a:t>
                </a:r>
                <a:endParaRPr lang="en-US" sz="2800" dirty="0">
                  <a:solidFill>
                    <a:srgbClr val="EDC30D"/>
                  </a:solidFill>
                  <a:latin typeface="+mj-lt"/>
                  <a:ea typeface="Segoe UI" pitchFamily="34" charset="0"/>
                  <a:cs typeface="Segoe UI" pitchFamily="34" charset="0"/>
                </a:endParaRPr>
              </a:p>
            </p:txBody>
          </p:sp>
          <p:sp>
            <p:nvSpPr>
              <p:cNvPr id="29" name="Rectangle 13"/>
              <p:cNvSpPr/>
              <p:nvPr/>
            </p:nvSpPr>
            <p:spPr bwMode="auto">
              <a:xfrm>
                <a:off x="5579706" y="3545634"/>
                <a:ext cx="5971592" cy="914400"/>
              </a:xfrm>
              <a:prstGeom prst="rect">
                <a:avLst/>
              </a:prstGeom>
              <a:solidFill>
                <a:schemeClr val="bg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14367" fontAlgn="base">
                  <a:lnSpc>
                    <a:spcPct val="90000"/>
                  </a:lnSpc>
                  <a:spcBef>
                    <a:spcPct val="20000"/>
                  </a:spcBef>
                  <a:spcAft>
                    <a:spcPct val="0"/>
                  </a:spcAft>
                  <a:buSzPct val="90000"/>
                </a:pPr>
                <a:r>
                  <a:rPr lang="zh-TW" altLang="en-US" dirty="0">
                    <a:ln w="3175">
                      <a:noFill/>
                    </a:ln>
                    <a:solidFill>
                      <a:schemeClr val="tx1"/>
                    </a:solidFill>
                    <a:latin typeface="+mj-lt"/>
                  </a:rPr>
                  <a:t>有些資料儲存在</a:t>
                </a:r>
                <a:r>
                  <a:rPr lang="en-US" dirty="0">
                    <a:ln w="3175">
                      <a:noFill/>
                    </a:ln>
                    <a:solidFill>
                      <a:schemeClr val="tx1"/>
                    </a:solidFill>
                    <a:latin typeface="+mj-lt"/>
                  </a:rPr>
                  <a:t> SaaS </a:t>
                </a:r>
                <a:r>
                  <a:rPr lang="zh-TW" altLang="en-US" dirty="0">
                    <a:ln w="3175">
                      <a:noFill/>
                    </a:ln>
                    <a:solidFill>
                      <a:schemeClr val="tx1"/>
                    </a:solidFill>
                    <a:latin typeface="+mj-lt"/>
                  </a:rPr>
                  <a:t>服務中，或是其它外部地點，若要安全地經常更新資料也會很麻煩</a:t>
                </a:r>
                <a:endParaRPr lang="en-US" dirty="0">
                  <a:ln w="3175">
                    <a:noFill/>
                  </a:ln>
                  <a:solidFill>
                    <a:schemeClr val="tx1"/>
                  </a:solidFill>
                  <a:latin typeface="+mj-lt"/>
                </a:endParaRPr>
              </a:p>
            </p:txBody>
          </p:sp>
          <p:sp>
            <p:nvSpPr>
              <p:cNvPr id="30" name="Rectangle 16"/>
              <p:cNvSpPr/>
              <p:nvPr/>
            </p:nvSpPr>
            <p:spPr bwMode="auto">
              <a:xfrm>
                <a:off x="419875" y="3545634"/>
                <a:ext cx="914400" cy="914400"/>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b="1" dirty="0">
                  <a:solidFill>
                    <a:schemeClr val="tx1"/>
                  </a:solidFill>
                  <a:ea typeface="Segoe UI" pitchFamily="34" charset="0"/>
                  <a:cs typeface="Segoe UI" pitchFamily="34" charset="0"/>
                </a:endParaRPr>
              </a:p>
            </p:txBody>
          </p:sp>
        </p:grpSp>
        <p:sp>
          <p:nvSpPr>
            <p:cNvPr id="26" name="Freeform 25"/>
            <p:cNvSpPr>
              <a:spLocks noChangeAspect="1" noEditPoints="1"/>
            </p:cNvSpPr>
            <p:nvPr/>
          </p:nvSpPr>
          <p:spPr bwMode="auto">
            <a:xfrm>
              <a:off x="895778" y="3824238"/>
              <a:ext cx="184378" cy="365760"/>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chemeClr val="tx1"/>
            </a:solidFill>
            <a:ln>
              <a:solidFill>
                <a:schemeClr val="tx1"/>
              </a:solidFill>
            </a:ln>
            <a:extLst/>
          </p:spPr>
          <p:txBody>
            <a:bodyPr vert="horz" wrap="square" lIns="87855" tIns="43927" rIns="87855" bIns="43927"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2307" dirty="0">
                <a:solidFill>
                  <a:srgbClr val="000000"/>
                </a:solidFill>
              </a:endParaRPr>
            </a:p>
          </p:txBody>
        </p:sp>
        <p:sp>
          <p:nvSpPr>
            <p:cNvPr id="27" name="Freeform 26"/>
            <p:cNvSpPr>
              <a:spLocks noChangeAspect="1" noEditPoints="1"/>
            </p:cNvSpPr>
            <p:nvPr/>
          </p:nvSpPr>
          <p:spPr bwMode="black">
            <a:xfrm>
              <a:off x="616986" y="4004167"/>
              <a:ext cx="293634" cy="182880"/>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tx1"/>
            </a:solidFill>
            <a:ln w="19050">
              <a:solidFill>
                <a:schemeClr val="tx1"/>
              </a:solid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ln w="19050">
                  <a:solidFill>
                    <a:schemeClr val="tx1"/>
                  </a:solidFill>
                </a:ln>
              </a:endParaRPr>
            </a:p>
          </p:txBody>
        </p:sp>
      </p:grpSp>
      <p:grpSp>
        <p:nvGrpSpPr>
          <p:cNvPr id="31" name="Group 30"/>
          <p:cNvGrpSpPr/>
          <p:nvPr/>
        </p:nvGrpSpPr>
        <p:grpSpPr>
          <a:xfrm>
            <a:off x="461438" y="2701522"/>
            <a:ext cx="11131422" cy="914400"/>
            <a:chOff x="419875" y="2502736"/>
            <a:chExt cx="11131422" cy="914400"/>
          </a:xfrm>
        </p:grpSpPr>
        <p:grpSp>
          <p:nvGrpSpPr>
            <p:cNvPr id="32" name="Group 31"/>
            <p:cNvGrpSpPr/>
            <p:nvPr/>
          </p:nvGrpSpPr>
          <p:grpSpPr>
            <a:xfrm>
              <a:off x="419875" y="2502736"/>
              <a:ext cx="11131422" cy="914400"/>
              <a:chOff x="419875" y="2369977"/>
              <a:chExt cx="11131422" cy="914400"/>
            </a:xfrm>
          </p:grpSpPr>
          <p:sp>
            <p:nvSpPr>
              <p:cNvPr id="34" name="Rectangle 33"/>
              <p:cNvSpPr/>
              <p:nvPr/>
            </p:nvSpPr>
            <p:spPr bwMode="auto">
              <a:xfrm>
                <a:off x="1327452" y="2369977"/>
                <a:ext cx="4252253" cy="914400"/>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zh-TW" altLang="en-US" sz="2800" dirty="0">
                    <a:solidFill>
                      <a:srgbClr val="EDC30D"/>
                    </a:solidFill>
                    <a:latin typeface="+mj-lt"/>
                    <a:ea typeface="Segoe UI" pitchFamily="34" charset="0"/>
                    <a:cs typeface="Segoe UI" pitchFamily="34" charset="0"/>
                  </a:rPr>
                  <a:t>端至端的視野</a:t>
                </a:r>
                <a:endParaRPr lang="en-US" sz="2800" dirty="0">
                  <a:solidFill>
                    <a:srgbClr val="EDC30D"/>
                  </a:solidFill>
                  <a:latin typeface="+mj-lt"/>
                  <a:ea typeface="Segoe UI" pitchFamily="34" charset="0"/>
                  <a:cs typeface="Segoe UI" pitchFamily="34" charset="0"/>
                </a:endParaRPr>
              </a:p>
            </p:txBody>
          </p:sp>
          <p:sp>
            <p:nvSpPr>
              <p:cNvPr id="35" name="Rectangle 34"/>
              <p:cNvSpPr/>
              <p:nvPr/>
            </p:nvSpPr>
            <p:spPr bwMode="auto">
              <a:xfrm>
                <a:off x="5579705" y="2369977"/>
                <a:ext cx="5971592" cy="914400"/>
              </a:xfrm>
              <a:prstGeom prst="rect">
                <a:avLst/>
              </a:prstGeom>
              <a:solidFill>
                <a:schemeClr val="bg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14367" fontAlgn="base">
                  <a:lnSpc>
                    <a:spcPct val="90000"/>
                  </a:lnSpc>
                  <a:spcBef>
                    <a:spcPct val="20000"/>
                  </a:spcBef>
                  <a:spcAft>
                    <a:spcPct val="0"/>
                  </a:spcAft>
                  <a:buSzPct val="90000"/>
                </a:pPr>
                <a:r>
                  <a:rPr lang="zh-TW" altLang="en-US" dirty="0">
                    <a:ln w="3175">
                      <a:noFill/>
                    </a:ln>
                    <a:solidFill>
                      <a:schemeClr val="tx1"/>
                    </a:solidFill>
                    <a:latin typeface="+mj-lt"/>
                  </a:rPr>
                  <a:t>資料經常散落在各地，如果想要看到整個商業全貌就會有點麻煩</a:t>
                </a:r>
                <a:endParaRPr lang="en-US" dirty="0">
                  <a:ln w="3175">
                    <a:noFill/>
                  </a:ln>
                  <a:solidFill>
                    <a:schemeClr val="tx1"/>
                  </a:solidFill>
                  <a:latin typeface="+mj-lt"/>
                </a:endParaRPr>
              </a:p>
            </p:txBody>
          </p:sp>
          <p:sp>
            <p:nvSpPr>
              <p:cNvPr id="36" name="Rectangle 35"/>
              <p:cNvSpPr/>
              <p:nvPr/>
            </p:nvSpPr>
            <p:spPr bwMode="auto">
              <a:xfrm>
                <a:off x="419875" y="2369977"/>
                <a:ext cx="914400" cy="914400"/>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b="1" dirty="0">
                  <a:solidFill>
                    <a:schemeClr val="tx1"/>
                  </a:solidFill>
                  <a:ea typeface="Segoe UI" pitchFamily="34" charset="0"/>
                  <a:cs typeface="Segoe UI" pitchFamily="34" charset="0"/>
                </a:endParaRPr>
              </a:p>
            </p:txBody>
          </p:sp>
        </p:grpSp>
        <p:sp>
          <p:nvSpPr>
            <p:cNvPr id="33" name="Freeform 32"/>
            <p:cNvSpPr>
              <a:spLocks noChangeAspect="1" noEditPoints="1"/>
            </p:cNvSpPr>
            <p:nvPr/>
          </p:nvSpPr>
          <p:spPr bwMode="black">
            <a:xfrm>
              <a:off x="675379" y="2822776"/>
              <a:ext cx="457200" cy="316260"/>
            </a:xfrm>
            <a:custGeom>
              <a:avLst/>
              <a:gdLst>
                <a:gd name="T0" fmla="*/ 40 w 80"/>
                <a:gd name="T1" fmla="*/ 0 h 56"/>
                <a:gd name="T2" fmla="*/ 0 w 80"/>
                <a:gd name="T3" fmla="*/ 28 h 56"/>
                <a:gd name="T4" fmla="*/ 40 w 80"/>
                <a:gd name="T5" fmla="*/ 56 h 56"/>
                <a:gd name="T6" fmla="*/ 80 w 80"/>
                <a:gd name="T7" fmla="*/ 28 h 56"/>
                <a:gd name="T8" fmla="*/ 40 w 80"/>
                <a:gd name="T9" fmla="*/ 0 h 56"/>
                <a:gd name="T10" fmla="*/ 40 w 80"/>
                <a:gd name="T11" fmla="*/ 48 h 56"/>
                <a:gd name="T12" fmla="*/ 20 w 80"/>
                <a:gd name="T13" fmla="*/ 28 h 56"/>
                <a:gd name="T14" fmla="*/ 40 w 80"/>
                <a:gd name="T15" fmla="*/ 8 h 56"/>
                <a:gd name="T16" fmla="*/ 60 w 80"/>
                <a:gd name="T17" fmla="*/ 28 h 56"/>
                <a:gd name="T18" fmla="*/ 40 w 80"/>
                <a:gd name="T19" fmla="*/ 48 h 56"/>
                <a:gd name="T20" fmla="*/ 52 w 80"/>
                <a:gd name="T21" fmla="*/ 28 h 56"/>
                <a:gd name="T22" fmla="*/ 40 w 80"/>
                <a:gd name="T23" fmla="*/ 40 h 56"/>
                <a:gd name="T24" fmla="*/ 28 w 80"/>
                <a:gd name="T25" fmla="*/ 28 h 56"/>
                <a:gd name="T26" fmla="*/ 40 w 80"/>
                <a:gd name="T27" fmla="*/ 16 h 56"/>
                <a:gd name="T28" fmla="*/ 52 w 80"/>
                <a:gd name="T29"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56">
                  <a:moveTo>
                    <a:pt x="40" y="0"/>
                  </a:moveTo>
                  <a:cubicBezTo>
                    <a:pt x="15" y="0"/>
                    <a:pt x="0" y="28"/>
                    <a:pt x="0" y="28"/>
                  </a:cubicBezTo>
                  <a:cubicBezTo>
                    <a:pt x="0" y="28"/>
                    <a:pt x="15" y="56"/>
                    <a:pt x="40" y="56"/>
                  </a:cubicBezTo>
                  <a:cubicBezTo>
                    <a:pt x="65" y="56"/>
                    <a:pt x="80" y="28"/>
                    <a:pt x="80" y="28"/>
                  </a:cubicBezTo>
                  <a:cubicBezTo>
                    <a:pt x="80" y="28"/>
                    <a:pt x="65" y="0"/>
                    <a:pt x="40" y="0"/>
                  </a:cubicBezTo>
                  <a:close/>
                  <a:moveTo>
                    <a:pt x="40" y="48"/>
                  </a:moveTo>
                  <a:cubicBezTo>
                    <a:pt x="29" y="48"/>
                    <a:pt x="20" y="39"/>
                    <a:pt x="20" y="28"/>
                  </a:cubicBezTo>
                  <a:cubicBezTo>
                    <a:pt x="20" y="17"/>
                    <a:pt x="29" y="8"/>
                    <a:pt x="40" y="8"/>
                  </a:cubicBezTo>
                  <a:cubicBezTo>
                    <a:pt x="51" y="8"/>
                    <a:pt x="60" y="17"/>
                    <a:pt x="60" y="28"/>
                  </a:cubicBezTo>
                  <a:cubicBezTo>
                    <a:pt x="60" y="39"/>
                    <a:pt x="51" y="48"/>
                    <a:pt x="40" y="48"/>
                  </a:cubicBezTo>
                  <a:close/>
                  <a:moveTo>
                    <a:pt x="52" y="28"/>
                  </a:moveTo>
                  <a:cubicBezTo>
                    <a:pt x="52" y="35"/>
                    <a:pt x="46" y="40"/>
                    <a:pt x="40" y="40"/>
                  </a:cubicBezTo>
                  <a:cubicBezTo>
                    <a:pt x="33" y="40"/>
                    <a:pt x="28" y="35"/>
                    <a:pt x="28" y="28"/>
                  </a:cubicBezTo>
                  <a:cubicBezTo>
                    <a:pt x="28" y="22"/>
                    <a:pt x="33" y="16"/>
                    <a:pt x="40" y="16"/>
                  </a:cubicBezTo>
                  <a:cubicBezTo>
                    <a:pt x="46" y="16"/>
                    <a:pt x="52" y="22"/>
                    <a:pt x="52" y="28"/>
                  </a:cubicBezTo>
                </a:path>
              </a:pathLst>
            </a:custGeom>
            <a:solidFill>
              <a:schemeClr val="tx1"/>
            </a:solidFill>
            <a:ln>
              <a:noFill/>
            </a:ln>
            <a:extLst/>
          </p:spPr>
          <p:txBody>
            <a:bodyPr vert="horz" wrap="square" lIns="69953" tIns="34976" rIns="69953" bIns="34976"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000000"/>
                </a:solidFill>
              </a:endParaRPr>
            </a:p>
          </p:txBody>
        </p:sp>
      </p:grpSp>
      <p:grpSp>
        <p:nvGrpSpPr>
          <p:cNvPr id="37" name="Group 36"/>
          <p:cNvGrpSpPr/>
          <p:nvPr/>
        </p:nvGrpSpPr>
        <p:grpSpPr>
          <a:xfrm>
            <a:off x="461438" y="4853039"/>
            <a:ext cx="11131423" cy="914400"/>
            <a:chOff x="419875" y="4654253"/>
            <a:chExt cx="11131423" cy="914400"/>
          </a:xfrm>
        </p:grpSpPr>
        <p:grpSp>
          <p:nvGrpSpPr>
            <p:cNvPr id="38" name="Group 24"/>
            <p:cNvGrpSpPr/>
            <p:nvPr/>
          </p:nvGrpSpPr>
          <p:grpSpPr>
            <a:xfrm>
              <a:off x="419875" y="4654253"/>
              <a:ext cx="11131423" cy="914400"/>
              <a:chOff x="419875" y="4721288"/>
              <a:chExt cx="11131423" cy="1690145"/>
            </a:xfrm>
          </p:grpSpPr>
          <p:sp>
            <p:nvSpPr>
              <p:cNvPr id="40" name="Rectangle 25"/>
              <p:cNvSpPr/>
              <p:nvPr/>
            </p:nvSpPr>
            <p:spPr bwMode="auto">
              <a:xfrm>
                <a:off x="1334275" y="4721288"/>
                <a:ext cx="4245430" cy="1690145"/>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zh-TW" altLang="en-US" sz="2800" dirty="0">
                    <a:solidFill>
                      <a:srgbClr val="EDC30D"/>
                    </a:solidFill>
                    <a:latin typeface="+mj-lt"/>
                    <a:ea typeface="Segoe UI" pitchFamily="34" charset="0"/>
                    <a:cs typeface="Segoe UI" pitchFamily="34" charset="0"/>
                  </a:rPr>
                  <a:t>在對的時間將對的資料呈現給對的用戶</a:t>
                </a:r>
                <a:endParaRPr lang="en-US" sz="2800" dirty="0">
                  <a:solidFill>
                    <a:srgbClr val="EDC30D"/>
                  </a:solidFill>
                  <a:latin typeface="+mj-lt"/>
                  <a:ea typeface="Segoe UI" pitchFamily="34" charset="0"/>
                  <a:cs typeface="Segoe UI" pitchFamily="34" charset="0"/>
                </a:endParaRPr>
              </a:p>
            </p:txBody>
          </p:sp>
          <p:sp>
            <p:nvSpPr>
              <p:cNvPr id="41" name="Rectangle 26"/>
              <p:cNvSpPr/>
              <p:nvPr/>
            </p:nvSpPr>
            <p:spPr bwMode="auto">
              <a:xfrm>
                <a:off x="5579706" y="4721288"/>
                <a:ext cx="5971592" cy="1690145"/>
              </a:xfrm>
              <a:prstGeom prst="rect">
                <a:avLst/>
              </a:prstGeom>
              <a:solidFill>
                <a:schemeClr val="bg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14367" fontAlgn="base">
                  <a:lnSpc>
                    <a:spcPct val="90000"/>
                  </a:lnSpc>
                  <a:spcBef>
                    <a:spcPct val="20000"/>
                  </a:spcBef>
                  <a:spcAft>
                    <a:spcPct val="0"/>
                  </a:spcAft>
                  <a:buSzPct val="90000"/>
                </a:pPr>
                <a:r>
                  <a:rPr lang="zh-TW" altLang="en-US" dirty="0">
                    <a:ln w="3175">
                      <a:noFill/>
                    </a:ln>
                    <a:solidFill>
                      <a:schemeClr val="tx1"/>
                    </a:solidFill>
                    <a:latin typeface="+mj-lt"/>
                  </a:rPr>
                  <a:t>不同的角色有不同的需要，而做商業決策的人可能需要最新的資料</a:t>
                </a:r>
                <a:endParaRPr lang="en-US" dirty="0">
                  <a:ln w="3175">
                    <a:noFill/>
                  </a:ln>
                  <a:solidFill>
                    <a:schemeClr val="tx1"/>
                  </a:solidFill>
                  <a:latin typeface="+mj-lt"/>
                </a:endParaRPr>
              </a:p>
            </p:txBody>
          </p:sp>
          <p:sp>
            <p:nvSpPr>
              <p:cNvPr id="42" name="Rectangle 27"/>
              <p:cNvSpPr/>
              <p:nvPr/>
            </p:nvSpPr>
            <p:spPr bwMode="auto">
              <a:xfrm>
                <a:off x="419875" y="4721288"/>
                <a:ext cx="914400" cy="1690145"/>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b="1" dirty="0">
                  <a:solidFill>
                    <a:schemeClr val="tx1"/>
                  </a:solidFill>
                  <a:ea typeface="Segoe UI" pitchFamily="34" charset="0"/>
                  <a:cs typeface="Segoe UI" pitchFamily="34" charset="0"/>
                </a:endParaRPr>
              </a:p>
            </p:txBody>
          </p:sp>
        </p:grpSp>
        <p:sp>
          <p:nvSpPr>
            <p:cNvPr id="39" name="Freeform 25"/>
            <p:cNvSpPr>
              <a:spLocks noChangeAspect="1" noEditPoints="1"/>
            </p:cNvSpPr>
            <p:nvPr/>
          </p:nvSpPr>
          <p:spPr bwMode="black">
            <a:xfrm>
              <a:off x="648475" y="4916806"/>
              <a:ext cx="457200" cy="389294"/>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chemeClr val="tx1"/>
            </a:solidFill>
            <a:ln>
              <a:noFill/>
            </a:ln>
          </p:spPr>
          <p:txBody>
            <a:bodyPr vert="horz" wrap="square" lIns="82305" tIns="41153" rIns="82305" bIns="41153" numCol="1" anchor="t" anchorCtr="0" compatLnSpc="1">
              <a:prstTxWarp prst="textNoShape">
                <a:avLst/>
              </a:prstTxWarp>
            </a:bodyPr>
            <a:lstStyle/>
            <a:p>
              <a:endParaRPr lang="en-US" sz="900" dirty="0"/>
            </a:p>
          </p:txBody>
        </p:sp>
      </p:grpSp>
    </p:spTree>
    <p:extLst>
      <p:ext uri="{BB962C8B-B14F-4D97-AF65-F5344CB8AC3E}">
        <p14:creationId xmlns:p14="http://schemas.microsoft.com/office/powerpoint/2010/main" val="122673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7"/>
                                        </p:tgtEl>
                                        <p:attrNameLst>
                                          <p:attrName>style.visibility</p:attrName>
                                        </p:attrNameLst>
                                      </p:cBhvr>
                                      <p:to>
                                        <p:strVal val="visible"/>
                                      </p:to>
                                    </p:set>
                                    <p:animEffect transition="in" filter="fade">
                                      <p:cBhvr>
                                        <p:cTn id="17"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Configuring relationships</a:t>
            </a:r>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a:xfrm>
            <a:off x="269875" y="2332800"/>
            <a:ext cx="11655425" cy="4525200"/>
          </a:xfrm>
        </p:spPr>
        <p:txBody>
          <a:bodyPr>
            <a:normAutofit/>
          </a:bodyPr>
          <a:lstStyle/>
          <a:p>
            <a:r>
              <a:rPr lang="en-US" dirty="0"/>
              <a:t>Relationships enable filters on one table to appropriately propagate filter to other tables</a:t>
            </a:r>
          </a:p>
          <a:p>
            <a:pPr lvl="1"/>
            <a:r>
              <a:rPr lang="en-AU" dirty="0"/>
              <a:t>Note: Relationships are not foreign key (integrity) constraints</a:t>
            </a:r>
            <a:endParaRPr lang="en-US" dirty="0"/>
          </a:p>
          <a:p>
            <a:r>
              <a:rPr lang="en-US" dirty="0"/>
              <a:t>They can be defined between any two tables, regardless of their data connection or source type</a:t>
            </a:r>
          </a:p>
          <a:p>
            <a:pPr lvl="1"/>
            <a:r>
              <a:rPr lang="en-US" dirty="0"/>
              <a:t>However, they must be based on single columns with matching data types</a:t>
            </a:r>
          </a:p>
          <a:p>
            <a:pPr lvl="1"/>
            <a:r>
              <a:rPr lang="en-US" dirty="0"/>
              <a:t>There is no support for self-referencing relationships</a:t>
            </a:r>
          </a:p>
        </p:txBody>
      </p:sp>
      <p:graphicFrame>
        <p:nvGraphicFramePr>
          <p:cNvPr id="5" name="Diagram 4"/>
          <p:cNvGraphicFramePr/>
          <p:nvPr>
            <p:extLst/>
          </p:nvPr>
        </p:nvGraphicFramePr>
        <p:xfrm>
          <a:off x="441738" y="1332000"/>
          <a:ext cx="11206923" cy="9302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41487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Configuring relationships</a:t>
            </a:r>
          </a:p>
        </p:txBody>
      </p:sp>
      <p:sp>
        <p:nvSpPr>
          <p:cNvPr id="3" name="Content Placeholder 2"/>
          <p:cNvSpPr>
            <a:spLocks noGrp="1"/>
          </p:cNvSpPr>
          <p:nvPr>
            <p:ph sz="quarter" idx="10"/>
          </p:nvPr>
        </p:nvSpPr>
        <p:spPr/>
        <p:txBody>
          <a:bodyPr/>
          <a:lstStyle/>
          <a:p>
            <a:r>
              <a:rPr lang="en-AU" dirty="0"/>
              <a:t>Advanced options</a:t>
            </a:r>
            <a:endParaRPr lang="en-US" dirty="0"/>
          </a:p>
        </p:txBody>
      </p:sp>
      <p:sp>
        <p:nvSpPr>
          <p:cNvPr id="4" name="Text Placeholder 3"/>
          <p:cNvSpPr>
            <a:spLocks noGrp="1"/>
          </p:cNvSpPr>
          <p:nvPr>
            <p:ph type="body" sz="quarter" idx="11"/>
          </p:nvPr>
        </p:nvSpPr>
        <p:spPr/>
        <p:txBody>
          <a:bodyPr/>
          <a:lstStyle/>
          <a:p>
            <a:r>
              <a:rPr lang="en-US" dirty="0"/>
              <a:t>It is possible to define multiple relationship paths between two tables</a:t>
            </a:r>
          </a:p>
          <a:p>
            <a:pPr lvl="1"/>
            <a:r>
              <a:rPr lang="en-US" dirty="0"/>
              <a:t>One relationship must be </a:t>
            </a:r>
            <a:r>
              <a:rPr lang="en-US" b="1" dirty="0"/>
              <a:t>active</a:t>
            </a:r>
            <a:r>
              <a:rPr lang="en-US" dirty="0"/>
              <a:t>, and will be used by default during model browsing</a:t>
            </a:r>
          </a:p>
          <a:p>
            <a:pPr lvl="1"/>
            <a:r>
              <a:rPr lang="en-US" dirty="0"/>
              <a:t>The remaining relationships are </a:t>
            </a:r>
            <a:r>
              <a:rPr lang="en-US" b="1" dirty="0"/>
              <a:t>inactive</a:t>
            </a:r>
            <a:r>
              <a:rPr lang="en-US" dirty="0"/>
              <a:t>, and can be used explicitly in model calculations</a:t>
            </a:r>
          </a:p>
          <a:p>
            <a:endParaRPr lang="en-US" dirty="0"/>
          </a:p>
        </p:txBody>
      </p:sp>
    </p:spTree>
    <p:extLst>
      <p:ext uri="{BB962C8B-B14F-4D97-AF65-F5344CB8AC3E}">
        <p14:creationId xmlns:p14="http://schemas.microsoft.com/office/powerpoint/2010/main" val="1495716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Configuring relationships</a:t>
            </a:r>
          </a:p>
        </p:txBody>
      </p:sp>
      <p:sp>
        <p:nvSpPr>
          <p:cNvPr id="3" name="Content Placeholder 2"/>
          <p:cNvSpPr>
            <a:spLocks noGrp="1"/>
          </p:cNvSpPr>
          <p:nvPr>
            <p:ph sz="quarter" idx="10"/>
          </p:nvPr>
        </p:nvSpPr>
        <p:spPr/>
        <p:txBody>
          <a:bodyPr/>
          <a:lstStyle/>
          <a:p>
            <a:r>
              <a:rPr lang="en-AU" dirty="0"/>
              <a:t>Advanced options: Continued</a:t>
            </a:r>
            <a:endParaRPr lang="en-US" dirty="0"/>
          </a:p>
        </p:txBody>
      </p:sp>
      <p:sp>
        <p:nvSpPr>
          <p:cNvPr id="4" name="Text Placeholder 3"/>
          <p:cNvSpPr>
            <a:spLocks noGrp="1"/>
          </p:cNvSpPr>
          <p:nvPr>
            <p:ph type="body" sz="quarter" idx="11"/>
          </p:nvPr>
        </p:nvSpPr>
        <p:spPr>
          <a:xfrm>
            <a:off x="269876" y="1749425"/>
            <a:ext cx="5865881" cy="5108575"/>
          </a:xfrm>
        </p:spPr>
        <p:txBody>
          <a:bodyPr/>
          <a:lstStyle/>
          <a:p>
            <a:r>
              <a:rPr lang="en-AU" dirty="0"/>
              <a:t>Configure relationship advanced options to set:</a:t>
            </a:r>
          </a:p>
          <a:p>
            <a:pPr lvl="1"/>
            <a:r>
              <a:rPr lang="en-AU" dirty="0"/>
              <a:t>Cardinality</a:t>
            </a:r>
          </a:p>
          <a:p>
            <a:pPr lvl="1"/>
            <a:r>
              <a:rPr lang="en-AU" dirty="0"/>
              <a:t>Cross filter direction</a:t>
            </a:r>
          </a:p>
          <a:p>
            <a:pPr lvl="2"/>
            <a:r>
              <a:rPr lang="en-AU" dirty="0"/>
              <a:t>The </a:t>
            </a:r>
            <a:r>
              <a:rPr lang="en-AU" b="1" dirty="0"/>
              <a:t>Both</a:t>
            </a:r>
            <a:r>
              <a:rPr lang="en-AU" dirty="0"/>
              <a:t> option enables many-to-many analysis</a:t>
            </a:r>
          </a:p>
          <a:p>
            <a:pPr lvl="1"/>
            <a:r>
              <a:rPr lang="en-AU" dirty="0"/>
              <a:t>Active/inactive</a:t>
            </a:r>
          </a:p>
          <a:p>
            <a:endParaRPr lang="en-US" dirty="0"/>
          </a:p>
        </p:txBody>
      </p:sp>
      <p:pic>
        <p:nvPicPr>
          <p:cNvPr id="5" name="Picture 4"/>
          <p:cNvPicPr>
            <a:picLocks noChangeAspect="1"/>
          </p:cNvPicPr>
          <p:nvPr/>
        </p:nvPicPr>
        <p:blipFill>
          <a:blip r:embed="rId2"/>
          <a:stretch>
            <a:fillRect/>
          </a:stretch>
        </p:blipFill>
        <p:spPr>
          <a:xfrm>
            <a:off x="6292686" y="1938576"/>
            <a:ext cx="4979611" cy="3458064"/>
          </a:xfrm>
          <a:prstGeom prst="rect">
            <a:avLst/>
          </a:prstGeom>
        </p:spPr>
      </p:pic>
      <p:sp>
        <p:nvSpPr>
          <p:cNvPr id="6" name="TextBox 5"/>
          <p:cNvSpPr txBox="1"/>
          <p:nvPr/>
        </p:nvSpPr>
        <p:spPr>
          <a:xfrm>
            <a:off x="428266" y="5765373"/>
            <a:ext cx="5111143" cy="794064"/>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Tip: </a:t>
            </a:r>
            <a:r>
              <a:rPr lang="en-US" dirty="0">
                <a:gradFill>
                  <a:gsLst>
                    <a:gs pos="2917">
                      <a:schemeClr val="tx1"/>
                    </a:gs>
                    <a:gs pos="30000">
                      <a:schemeClr val="tx1"/>
                    </a:gs>
                  </a:gsLst>
                  <a:lin ang="5400000" scaled="0"/>
                </a:gradFill>
              </a:rPr>
              <a:t>All options can be interpreted from symbols used in the relationship diagram</a:t>
            </a:r>
          </a:p>
        </p:txBody>
      </p:sp>
    </p:spTree>
    <p:extLst>
      <p:ext uri="{BB962C8B-B14F-4D97-AF65-F5344CB8AC3E}">
        <p14:creationId xmlns:p14="http://schemas.microsoft.com/office/powerpoint/2010/main" val="4044110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Enhancing the model</a:t>
            </a:r>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a:xfrm>
            <a:off x="269875" y="2332800"/>
            <a:ext cx="11655425" cy="4525200"/>
          </a:xfrm>
        </p:spPr>
        <p:txBody>
          <a:bodyPr>
            <a:normAutofit fontScale="92500"/>
          </a:bodyPr>
          <a:lstStyle/>
          <a:p>
            <a:r>
              <a:rPr lang="en-AU" dirty="0"/>
              <a:t>Model tables can be extended with hierarchies, calculations, and may be hidden (i.e. not for reporting)</a:t>
            </a:r>
          </a:p>
          <a:p>
            <a:r>
              <a:rPr lang="en-AU" dirty="0"/>
              <a:t>Model column properties can be set:</a:t>
            </a:r>
          </a:p>
          <a:p>
            <a:pPr lvl="1"/>
            <a:r>
              <a:rPr lang="en-AU" dirty="0"/>
              <a:t>Data type</a:t>
            </a:r>
          </a:p>
          <a:p>
            <a:pPr lvl="1"/>
            <a:r>
              <a:rPr lang="en-AU" dirty="0"/>
              <a:t>Format</a:t>
            </a:r>
          </a:p>
          <a:p>
            <a:pPr lvl="1"/>
            <a:r>
              <a:rPr lang="en-AU" dirty="0"/>
              <a:t>Categorization</a:t>
            </a:r>
          </a:p>
          <a:p>
            <a:pPr lvl="2"/>
            <a:r>
              <a:rPr lang="en-AU" dirty="0"/>
              <a:t>Spatial types, or web URLs</a:t>
            </a:r>
          </a:p>
          <a:p>
            <a:pPr lvl="1"/>
            <a:r>
              <a:rPr lang="en-AU" dirty="0"/>
              <a:t>Sort order, based on another column from the same table</a:t>
            </a:r>
          </a:p>
          <a:p>
            <a:pPr lvl="1"/>
            <a:r>
              <a:rPr lang="en-AU" dirty="0"/>
              <a:t>Default summarization (numeric, text and date columns)</a:t>
            </a:r>
          </a:p>
          <a:p>
            <a:pPr lvl="1"/>
            <a:r>
              <a:rPr lang="en-AU" dirty="0"/>
              <a:t>Visibility</a:t>
            </a:r>
          </a:p>
          <a:p>
            <a:endParaRPr lang="en-US" dirty="0"/>
          </a:p>
        </p:txBody>
      </p:sp>
      <p:graphicFrame>
        <p:nvGraphicFramePr>
          <p:cNvPr id="5" name="Diagram 4"/>
          <p:cNvGraphicFramePr/>
          <p:nvPr>
            <p:extLst/>
          </p:nvPr>
        </p:nvGraphicFramePr>
        <p:xfrm>
          <a:off x="441738" y="1332000"/>
          <a:ext cx="11206923" cy="9302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34105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Enhancing the model</a:t>
            </a:r>
            <a:endParaRPr lang="en-US" dirty="0"/>
          </a:p>
        </p:txBody>
      </p:sp>
      <p:sp>
        <p:nvSpPr>
          <p:cNvPr id="3" name="Content Placeholder 2"/>
          <p:cNvSpPr>
            <a:spLocks noGrp="1"/>
          </p:cNvSpPr>
          <p:nvPr>
            <p:ph sz="quarter" idx="10"/>
          </p:nvPr>
        </p:nvSpPr>
        <p:spPr/>
        <p:txBody>
          <a:bodyPr/>
          <a:lstStyle/>
          <a:p>
            <a:r>
              <a:rPr lang="en-AU"/>
              <a:t>Hierarchies</a:t>
            </a:r>
            <a:endParaRPr lang="en-US" dirty="0"/>
          </a:p>
        </p:txBody>
      </p:sp>
      <p:sp>
        <p:nvSpPr>
          <p:cNvPr id="4" name="Text Placeholder 3"/>
          <p:cNvSpPr>
            <a:spLocks noGrp="1"/>
          </p:cNvSpPr>
          <p:nvPr>
            <p:ph type="body" sz="quarter" idx="11"/>
          </p:nvPr>
        </p:nvSpPr>
        <p:spPr/>
        <p:txBody>
          <a:bodyPr/>
          <a:lstStyle/>
          <a:p>
            <a:r>
              <a:rPr lang="en-AU"/>
              <a:t>Hierarchies can be added to a table, enabling navigation between columns (in the one-to-many direction)</a:t>
            </a:r>
            <a:endParaRPr lang="en-US" dirty="0"/>
          </a:p>
        </p:txBody>
      </p:sp>
      <p:pic>
        <p:nvPicPr>
          <p:cNvPr id="6" name="Picture 5"/>
          <p:cNvPicPr>
            <a:picLocks noChangeAspect="1"/>
          </p:cNvPicPr>
          <p:nvPr/>
        </p:nvPicPr>
        <p:blipFill>
          <a:blip r:embed="rId2"/>
          <a:stretch>
            <a:fillRect/>
          </a:stretch>
        </p:blipFill>
        <p:spPr>
          <a:xfrm>
            <a:off x="3195377" y="3243480"/>
            <a:ext cx="2133333" cy="3276190"/>
          </a:xfrm>
          <a:prstGeom prst="rect">
            <a:avLst/>
          </a:prstGeom>
        </p:spPr>
      </p:pic>
      <p:pic>
        <p:nvPicPr>
          <p:cNvPr id="7" name="Picture 6"/>
          <p:cNvPicPr>
            <a:picLocks noChangeAspect="1"/>
          </p:cNvPicPr>
          <p:nvPr/>
        </p:nvPicPr>
        <p:blipFill>
          <a:blip r:embed="rId3"/>
          <a:stretch>
            <a:fillRect/>
          </a:stretch>
        </p:blipFill>
        <p:spPr>
          <a:xfrm>
            <a:off x="6926397" y="3243480"/>
            <a:ext cx="2914286" cy="3180952"/>
          </a:xfrm>
          <a:prstGeom prst="rect">
            <a:avLst/>
          </a:prstGeom>
        </p:spPr>
      </p:pic>
      <p:cxnSp>
        <p:nvCxnSpPr>
          <p:cNvPr id="11" name="Straight Arrow Connector 10"/>
          <p:cNvCxnSpPr/>
          <p:nvPr/>
        </p:nvCxnSpPr>
        <p:spPr>
          <a:xfrm>
            <a:off x="5650257" y="4881575"/>
            <a:ext cx="1039302" cy="0"/>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8243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Enhancing the model</a:t>
            </a:r>
            <a:endParaRPr lang="en-US" dirty="0"/>
          </a:p>
        </p:txBody>
      </p:sp>
      <p:sp>
        <p:nvSpPr>
          <p:cNvPr id="3" name="Content Placeholder 2"/>
          <p:cNvSpPr>
            <a:spLocks noGrp="1"/>
          </p:cNvSpPr>
          <p:nvPr>
            <p:ph sz="quarter" idx="10"/>
          </p:nvPr>
        </p:nvSpPr>
        <p:spPr/>
        <p:txBody>
          <a:bodyPr/>
          <a:lstStyle/>
          <a:p>
            <a:r>
              <a:rPr lang="en-AU" dirty="0"/>
              <a:t>Calculations</a:t>
            </a:r>
            <a:endParaRPr lang="en-US" dirty="0"/>
          </a:p>
        </p:txBody>
      </p:sp>
      <p:sp>
        <p:nvSpPr>
          <p:cNvPr id="4" name="Text Placeholder 3"/>
          <p:cNvSpPr>
            <a:spLocks noGrp="1"/>
          </p:cNvSpPr>
          <p:nvPr>
            <p:ph type="body" sz="quarter" idx="11"/>
          </p:nvPr>
        </p:nvSpPr>
        <p:spPr>
          <a:xfrm>
            <a:off x="269875" y="1749425"/>
            <a:ext cx="11763099" cy="5108575"/>
          </a:xfrm>
        </p:spPr>
        <p:txBody>
          <a:bodyPr>
            <a:normAutofit fontScale="92500" lnSpcReduction="10000"/>
          </a:bodyPr>
          <a:lstStyle/>
          <a:p>
            <a:r>
              <a:rPr lang="en-US" dirty="0"/>
              <a:t>There are three different types of calculations, and each are defined by using DAX:</a:t>
            </a:r>
            <a:endParaRPr lang="en-AU" dirty="0"/>
          </a:p>
          <a:p>
            <a:pPr lvl="1"/>
            <a:r>
              <a:rPr lang="en-US" dirty="0"/>
              <a:t>Calculated columns</a:t>
            </a:r>
          </a:p>
          <a:p>
            <a:pPr lvl="1"/>
            <a:r>
              <a:rPr lang="en-US" dirty="0"/>
              <a:t>Calculated tables</a:t>
            </a:r>
          </a:p>
          <a:p>
            <a:pPr lvl="1"/>
            <a:r>
              <a:rPr lang="en-US" dirty="0"/>
              <a:t>Measures</a:t>
            </a:r>
          </a:p>
          <a:p>
            <a:r>
              <a:rPr lang="en-US" dirty="0"/>
              <a:t>DAX = </a:t>
            </a:r>
            <a:r>
              <a:rPr lang="en-US" u="sng" dirty="0"/>
              <a:t>D</a:t>
            </a:r>
            <a:r>
              <a:rPr lang="en-US" dirty="0"/>
              <a:t>ata </a:t>
            </a:r>
            <a:r>
              <a:rPr lang="en-US" u="sng" dirty="0"/>
              <a:t>A</a:t>
            </a:r>
            <a:r>
              <a:rPr lang="en-US" dirty="0"/>
              <a:t>nalysis </a:t>
            </a:r>
            <a:r>
              <a:rPr lang="en-US" dirty="0" err="1"/>
              <a:t>E</a:t>
            </a:r>
            <a:r>
              <a:rPr lang="en-US" u="sng" dirty="0" err="1"/>
              <a:t>X</a:t>
            </a:r>
            <a:r>
              <a:rPr lang="en-US" dirty="0" err="1"/>
              <a:t>pressions</a:t>
            </a:r>
            <a:r>
              <a:rPr lang="en-US" dirty="0"/>
              <a:t> (DAX), consisting of:</a:t>
            </a:r>
          </a:p>
          <a:p>
            <a:pPr lvl="1"/>
            <a:r>
              <a:rPr lang="en-US" dirty="0"/>
              <a:t>Excel functions (~80 functions)</a:t>
            </a:r>
          </a:p>
          <a:p>
            <a:pPr lvl="1"/>
            <a:r>
              <a:rPr lang="en-US" dirty="0"/>
              <a:t>Table functions</a:t>
            </a:r>
          </a:p>
          <a:p>
            <a:pPr lvl="1"/>
            <a:r>
              <a:rPr lang="en-US" dirty="0"/>
              <a:t>Aggregate functions</a:t>
            </a:r>
          </a:p>
          <a:p>
            <a:pPr lvl="1"/>
            <a:r>
              <a:rPr lang="en-US" dirty="0"/>
              <a:t>Relationship navigation functions</a:t>
            </a:r>
          </a:p>
          <a:p>
            <a:pPr lvl="1"/>
            <a:r>
              <a:rPr lang="en-US" dirty="0"/>
              <a:t>Context modification functions</a:t>
            </a:r>
          </a:p>
          <a:p>
            <a:pPr lvl="1"/>
            <a:r>
              <a:rPr lang="en-US" dirty="0"/>
              <a:t>Time Intelligence functions</a:t>
            </a:r>
          </a:p>
        </p:txBody>
      </p:sp>
      <p:sp>
        <p:nvSpPr>
          <p:cNvPr id="5" name="TextBox 4"/>
          <p:cNvSpPr txBox="1"/>
          <p:nvPr/>
        </p:nvSpPr>
        <p:spPr>
          <a:xfrm>
            <a:off x="7845287" y="5619599"/>
            <a:ext cx="3631095" cy="794064"/>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a:t>
            </a:r>
            <a:r>
              <a:rPr lang="en-US" dirty="0">
                <a:gradFill>
                  <a:gsLst>
                    <a:gs pos="2917">
                      <a:schemeClr val="tx1"/>
                    </a:gs>
                    <a:gs pos="30000">
                      <a:schemeClr val="tx1"/>
                    </a:gs>
                  </a:gsLst>
                  <a:lin ang="5400000" scaled="0"/>
                </a:gradFill>
              </a:rPr>
              <a:t>DAX theory is not covered in this training course</a:t>
            </a:r>
          </a:p>
        </p:txBody>
      </p:sp>
    </p:spTree>
    <p:extLst>
      <p:ext uri="{BB962C8B-B14F-4D97-AF65-F5344CB8AC3E}">
        <p14:creationId xmlns:p14="http://schemas.microsoft.com/office/powerpoint/2010/main" val="1341028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Enhancing the model</a:t>
            </a:r>
            <a:endParaRPr lang="en-US" dirty="0"/>
          </a:p>
        </p:txBody>
      </p:sp>
      <p:sp>
        <p:nvSpPr>
          <p:cNvPr id="3" name="Content Placeholder 2"/>
          <p:cNvSpPr>
            <a:spLocks noGrp="1"/>
          </p:cNvSpPr>
          <p:nvPr>
            <p:ph sz="quarter" idx="10"/>
          </p:nvPr>
        </p:nvSpPr>
        <p:spPr/>
        <p:txBody>
          <a:bodyPr/>
          <a:lstStyle/>
          <a:p>
            <a:r>
              <a:rPr lang="en-AU" dirty="0"/>
              <a:t>Calculations: Calculated columns</a:t>
            </a:r>
            <a:endParaRPr lang="en-US" dirty="0"/>
          </a:p>
        </p:txBody>
      </p:sp>
      <p:sp>
        <p:nvSpPr>
          <p:cNvPr id="4" name="Text Placeholder 3"/>
          <p:cNvSpPr>
            <a:spLocks noGrp="1"/>
          </p:cNvSpPr>
          <p:nvPr>
            <p:ph type="body" sz="quarter" idx="11"/>
          </p:nvPr>
        </p:nvSpPr>
        <p:spPr/>
        <p:txBody>
          <a:bodyPr>
            <a:normAutofit/>
          </a:bodyPr>
          <a:lstStyle/>
          <a:p>
            <a:r>
              <a:rPr lang="en-US" dirty="0"/>
              <a:t>Define </a:t>
            </a:r>
            <a:r>
              <a:rPr lang="en-US" b="1" dirty="0"/>
              <a:t>Calculated Columns </a:t>
            </a:r>
            <a:r>
              <a:rPr lang="en-US" dirty="0"/>
              <a:t>to add new columns to tables (non-</a:t>
            </a:r>
            <a:r>
              <a:rPr lang="en-US" dirty="0" err="1"/>
              <a:t>DirectQuery</a:t>
            </a:r>
            <a:r>
              <a:rPr lang="en-US" dirty="0"/>
              <a:t> sources only)</a:t>
            </a:r>
          </a:p>
          <a:p>
            <a:r>
              <a:rPr lang="en-US" dirty="0"/>
              <a:t>Column values for each row are materialized and stored in the model</a:t>
            </a:r>
          </a:p>
          <a:p>
            <a:pPr lvl="1"/>
            <a:r>
              <a:rPr lang="en-US" dirty="0"/>
              <a:t>If possible, to reduce the model size, avoid creating them</a:t>
            </a:r>
          </a:p>
          <a:p>
            <a:r>
              <a:rPr lang="en-US" dirty="0"/>
              <a:t>Column values are recalculated when:</a:t>
            </a:r>
          </a:p>
          <a:p>
            <a:pPr lvl="1"/>
            <a:r>
              <a:rPr lang="en-US" dirty="0"/>
              <a:t>The table is refreshed</a:t>
            </a:r>
          </a:p>
          <a:p>
            <a:pPr lvl="1"/>
            <a:r>
              <a:rPr lang="en-US" dirty="0"/>
              <a:t>Formula dependencies are refreshed</a:t>
            </a:r>
          </a:p>
          <a:p>
            <a:endParaRPr lang="en-US" dirty="0"/>
          </a:p>
        </p:txBody>
      </p:sp>
    </p:spTree>
    <p:extLst>
      <p:ext uri="{BB962C8B-B14F-4D97-AF65-F5344CB8AC3E}">
        <p14:creationId xmlns:p14="http://schemas.microsoft.com/office/powerpoint/2010/main" val="1624465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Enhancing the model</a:t>
            </a:r>
            <a:endParaRPr lang="en-US" dirty="0"/>
          </a:p>
        </p:txBody>
      </p:sp>
      <p:sp>
        <p:nvSpPr>
          <p:cNvPr id="3" name="Content Placeholder 2"/>
          <p:cNvSpPr>
            <a:spLocks noGrp="1"/>
          </p:cNvSpPr>
          <p:nvPr>
            <p:ph sz="quarter" idx="10"/>
          </p:nvPr>
        </p:nvSpPr>
        <p:spPr/>
        <p:txBody>
          <a:bodyPr/>
          <a:lstStyle/>
          <a:p>
            <a:r>
              <a:rPr lang="en-AU" dirty="0"/>
              <a:t>Calculations: Calculated tables</a:t>
            </a:r>
            <a:endParaRPr lang="en-US" dirty="0"/>
          </a:p>
        </p:txBody>
      </p:sp>
      <p:sp>
        <p:nvSpPr>
          <p:cNvPr id="4" name="Text Placeholder 3"/>
          <p:cNvSpPr>
            <a:spLocks noGrp="1"/>
          </p:cNvSpPr>
          <p:nvPr>
            <p:ph type="body" sz="quarter" idx="11"/>
          </p:nvPr>
        </p:nvSpPr>
        <p:spPr/>
        <p:txBody>
          <a:bodyPr>
            <a:normAutofit/>
          </a:bodyPr>
          <a:lstStyle/>
          <a:p>
            <a:r>
              <a:rPr lang="en-US" dirty="0"/>
              <a:t>Define </a:t>
            </a:r>
            <a:r>
              <a:rPr lang="en-US" b="1" dirty="0"/>
              <a:t>Calculated Tables </a:t>
            </a:r>
            <a:r>
              <a:rPr lang="en-US" dirty="0"/>
              <a:t>to add new tables to the model, based on existing data from other tables</a:t>
            </a:r>
          </a:p>
          <a:p>
            <a:pPr lvl="1"/>
            <a:r>
              <a:rPr lang="en-AU" dirty="0"/>
              <a:t>Calculated tables are generally best for intermediate calculations of data stored in the model, rather than calculated on the fly</a:t>
            </a:r>
          </a:p>
          <a:p>
            <a:pPr lvl="1"/>
            <a:r>
              <a:rPr lang="en-US" dirty="0"/>
              <a:t>Calculated tables appear in Relationship view, and relationships can be defined with other tables</a:t>
            </a:r>
          </a:p>
          <a:p>
            <a:pPr lvl="1"/>
            <a:r>
              <a:rPr lang="en-US" dirty="0"/>
              <a:t>If possible, to reduce the model size, avoid creating them</a:t>
            </a:r>
          </a:p>
          <a:p>
            <a:pPr lvl="1"/>
            <a:r>
              <a:rPr lang="en-US" dirty="0"/>
              <a:t>Calculated tables are recalculated in the same circumstances as calculated columns</a:t>
            </a:r>
          </a:p>
          <a:p>
            <a:endParaRPr lang="en-US" dirty="0"/>
          </a:p>
        </p:txBody>
      </p:sp>
      <p:sp>
        <p:nvSpPr>
          <p:cNvPr id="5" name="TextBox 4"/>
          <p:cNvSpPr txBox="1"/>
          <p:nvPr/>
        </p:nvSpPr>
        <p:spPr>
          <a:xfrm>
            <a:off x="472271" y="5842846"/>
            <a:ext cx="4962867" cy="544765"/>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a:t>
            </a:r>
            <a:r>
              <a:rPr lang="en-US" dirty="0">
                <a:gradFill>
                  <a:gsLst>
                    <a:gs pos="2917">
                      <a:schemeClr val="tx1"/>
                    </a:gs>
                    <a:gs pos="30000">
                      <a:schemeClr val="tx1"/>
                    </a:gs>
                  </a:gsLst>
                  <a:lin ang="5400000" scaled="0"/>
                </a:gradFill>
              </a:rPr>
              <a:t>This is an advanced design concept</a:t>
            </a:r>
          </a:p>
        </p:txBody>
      </p:sp>
    </p:spTree>
    <p:extLst>
      <p:ext uri="{BB962C8B-B14F-4D97-AF65-F5344CB8AC3E}">
        <p14:creationId xmlns:p14="http://schemas.microsoft.com/office/powerpoint/2010/main" val="762896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Enhancing the model</a:t>
            </a:r>
            <a:endParaRPr lang="en-US" dirty="0"/>
          </a:p>
        </p:txBody>
      </p:sp>
      <p:sp>
        <p:nvSpPr>
          <p:cNvPr id="3" name="Content Placeholder 2"/>
          <p:cNvSpPr>
            <a:spLocks noGrp="1"/>
          </p:cNvSpPr>
          <p:nvPr>
            <p:ph sz="quarter" idx="10"/>
          </p:nvPr>
        </p:nvSpPr>
        <p:spPr/>
        <p:txBody>
          <a:bodyPr/>
          <a:lstStyle/>
          <a:p>
            <a:r>
              <a:rPr lang="en-AU" dirty="0"/>
              <a:t>Calculations: Measures</a:t>
            </a:r>
            <a:endParaRPr lang="en-US" dirty="0"/>
          </a:p>
        </p:txBody>
      </p:sp>
      <p:sp>
        <p:nvSpPr>
          <p:cNvPr id="4" name="Text Placeholder 3"/>
          <p:cNvSpPr>
            <a:spLocks noGrp="1"/>
          </p:cNvSpPr>
          <p:nvPr>
            <p:ph type="body" sz="quarter" idx="11"/>
          </p:nvPr>
        </p:nvSpPr>
        <p:spPr/>
        <p:txBody>
          <a:bodyPr>
            <a:normAutofit/>
          </a:bodyPr>
          <a:lstStyle/>
          <a:p>
            <a:r>
              <a:rPr lang="en-US" dirty="0"/>
              <a:t>Define </a:t>
            </a:r>
            <a:r>
              <a:rPr lang="en-US" b="1" dirty="0"/>
              <a:t>Measures</a:t>
            </a:r>
            <a:r>
              <a:rPr lang="en-US" dirty="0"/>
              <a:t> to add aggregation logic to the model</a:t>
            </a:r>
          </a:p>
          <a:p>
            <a:r>
              <a:rPr lang="en-US" dirty="0"/>
              <a:t>Values are not materialized in the model</a:t>
            </a:r>
          </a:p>
          <a:p>
            <a:pPr lvl="1"/>
            <a:r>
              <a:rPr lang="en-US" dirty="0"/>
              <a:t>Formulas are evaluated at query time</a:t>
            </a:r>
          </a:p>
          <a:p>
            <a:r>
              <a:rPr lang="en-AU" dirty="0"/>
              <a:t>Common aggregate functions:</a:t>
            </a:r>
          </a:p>
          <a:p>
            <a:pPr lvl="1"/>
            <a:r>
              <a:rPr lang="en-AU" dirty="0"/>
              <a:t>Sum</a:t>
            </a:r>
          </a:p>
          <a:p>
            <a:pPr lvl="1"/>
            <a:r>
              <a:rPr lang="en-AU" dirty="0"/>
              <a:t>Count, Distinct Count</a:t>
            </a:r>
          </a:p>
          <a:p>
            <a:pPr lvl="1"/>
            <a:r>
              <a:rPr lang="en-AU" dirty="0"/>
              <a:t>Average</a:t>
            </a:r>
          </a:p>
          <a:p>
            <a:pPr lvl="1"/>
            <a:r>
              <a:rPr lang="en-AU" dirty="0"/>
              <a:t>Minimum, Maximum</a:t>
            </a:r>
            <a:endParaRPr lang="en-US" dirty="0"/>
          </a:p>
        </p:txBody>
      </p:sp>
      <p:sp>
        <p:nvSpPr>
          <p:cNvPr id="5" name="TextBox 4"/>
          <p:cNvSpPr txBox="1"/>
          <p:nvPr/>
        </p:nvSpPr>
        <p:spPr>
          <a:xfrm>
            <a:off x="6390753" y="5461009"/>
            <a:ext cx="5394946" cy="1043363"/>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a:t>
            </a:r>
            <a:r>
              <a:rPr lang="en-AU" dirty="0" err="1">
                <a:gradFill>
                  <a:gsLst>
                    <a:gs pos="2917">
                      <a:schemeClr val="tx1"/>
                    </a:gs>
                    <a:gs pos="30000">
                      <a:schemeClr val="tx1"/>
                    </a:gs>
                  </a:gsLst>
                  <a:lin ang="5400000" scaled="0"/>
                </a:gradFill>
              </a:rPr>
              <a:t>Summarizable</a:t>
            </a:r>
            <a:r>
              <a:rPr lang="en-AU" dirty="0">
                <a:gradFill>
                  <a:gsLst>
                    <a:gs pos="2917">
                      <a:schemeClr val="tx1"/>
                    </a:gs>
                    <a:gs pos="30000">
                      <a:schemeClr val="tx1"/>
                    </a:gs>
                  </a:gsLst>
                  <a:lin ang="5400000" scaled="0"/>
                </a:gradFill>
              </a:rPr>
              <a:t> c</a:t>
            </a:r>
            <a:r>
              <a:rPr lang="en-US" dirty="0" err="1">
                <a:gradFill>
                  <a:gsLst>
                    <a:gs pos="2917">
                      <a:schemeClr val="tx1"/>
                    </a:gs>
                    <a:gs pos="30000">
                      <a:schemeClr val="tx1"/>
                    </a:gs>
                  </a:gsLst>
                  <a:lin ang="5400000" scaled="0"/>
                </a:gradFill>
              </a:rPr>
              <a:t>olumns</a:t>
            </a:r>
            <a:r>
              <a:rPr lang="en-US" dirty="0">
                <a:gradFill>
                  <a:gsLst>
                    <a:gs pos="2917">
                      <a:schemeClr val="tx1"/>
                    </a:gs>
                    <a:gs pos="30000">
                      <a:schemeClr val="tx1"/>
                    </a:gs>
                  </a:gsLst>
                  <a:lin ang="5400000" scaled="0"/>
                </a:gradFill>
              </a:rPr>
              <a:t> are aggregated by reports—so defining measures is not necessary for simple aggregation requirements</a:t>
            </a:r>
          </a:p>
        </p:txBody>
      </p:sp>
    </p:spTree>
    <p:extLst>
      <p:ext uri="{BB962C8B-B14F-4D97-AF65-F5344CB8AC3E}">
        <p14:creationId xmlns:p14="http://schemas.microsoft.com/office/powerpoint/2010/main" val="3993362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Enhancing the model</a:t>
            </a:r>
            <a:endParaRPr lang="en-US" dirty="0"/>
          </a:p>
        </p:txBody>
      </p:sp>
      <p:sp>
        <p:nvSpPr>
          <p:cNvPr id="4" name="Text Placeholder 3"/>
          <p:cNvSpPr>
            <a:spLocks noGrp="1"/>
          </p:cNvSpPr>
          <p:nvPr>
            <p:ph type="body" sz="quarter" idx="11"/>
          </p:nvPr>
        </p:nvSpPr>
        <p:spPr/>
        <p:txBody>
          <a:bodyPr/>
          <a:lstStyle/>
          <a:p>
            <a:r>
              <a:rPr lang="en-AU" dirty="0"/>
              <a:t>The model design can be tuned to improve its usefulness and Q&amp;A response accuracy</a:t>
            </a:r>
          </a:p>
          <a:p>
            <a:pPr lvl="1"/>
            <a:r>
              <a:rPr lang="en-AU" dirty="0"/>
              <a:t>Set appropriate column data types, formats and categorization</a:t>
            </a:r>
          </a:p>
          <a:p>
            <a:pPr lvl="1"/>
            <a:r>
              <a:rPr lang="en-AU" dirty="0"/>
              <a:t>Ensure relationships are configured</a:t>
            </a:r>
          </a:p>
          <a:p>
            <a:pPr lvl="1"/>
            <a:r>
              <a:rPr lang="en-AU" dirty="0"/>
              <a:t>Ensure table and columns are visible/hidden</a:t>
            </a:r>
          </a:p>
          <a:p>
            <a:pPr lvl="1"/>
            <a:r>
              <a:rPr lang="en-AU" dirty="0"/>
              <a:t>Ensure table, column and measure names are unique and concise</a:t>
            </a:r>
          </a:p>
          <a:p>
            <a:pPr lvl="1"/>
            <a:endParaRPr lang="en-AU" dirty="0"/>
          </a:p>
        </p:txBody>
      </p:sp>
      <p:sp>
        <p:nvSpPr>
          <p:cNvPr id="8" name="Content Placeholder 7"/>
          <p:cNvSpPr>
            <a:spLocks noGrp="1"/>
          </p:cNvSpPr>
          <p:nvPr>
            <p:ph sz="quarter" idx="10"/>
          </p:nvPr>
        </p:nvSpPr>
        <p:spPr/>
        <p:txBody>
          <a:bodyPr/>
          <a:lstStyle/>
          <a:p>
            <a:r>
              <a:rPr lang="en-AU" dirty="0"/>
              <a:t>Tuning the model</a:t>
            </a:r>
            <a:endParaRPr lang="en-US" dirty="0"/>
          </a:p>
        </p:txBody>
      </p:sp>
    </p:spTree>
    <p:extLst>
      <p:ext uri="{BB962C8B-B14F-4D97-AF65-F5344CB8AC3E}">
        <p14:creationId xmlns:p14="http://schemas.microsoft.com/office/powerpoint/2010/main" val="1074711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a:t>認識</a:t>
            </a:r>
            <a:r>
              <a:rPr lang="en-AU" dirty="0"/>
              <a:t> Microsoft Power BI</a:t>
            </a:r>
            <a:endParaRPr lang="en-US" dirty="0"/>
          </a:p>
        </p:txBody>
      </p:sp>
      <p:sp>
        <p:nvSpPr>
          <p:cNvPr id="3" name="Content Placeholder 2"/>
          <p:cNvSpPr>
            <a:spLocks noGrp="1"/>
          </p:cNvSpPr>
          <p:nvPr>
            <p:ph sz="quarter" idx="10"/>
          </p:nvPr>
        </p:nvSpPr>
        <p:spPr/>
        <p:txBody>
          <a:bodyPr/>
          <a:lstStyle/>
          <a:p>
            <a:r>
              <a:rPr lang="zh-TW" altLang="en-US" dirty="0"/>
              <a:t>重新認識你的資料，不論它們是哪種形式</a:t>
            </a:r>
            <a:r>
              <a:rPr lang="en-US" altLang="zh-TW" dirty="0"/>
              <a:t>…</a:t>
            </a:r>
            <a:endParaRPr lang="en-US" dirty="0"/>
          </a:p>
        </p:txBody>
      </p:sp>
      <p:sp>
        <p:nvSpPr>
          <p:cNvPr id="4" name="Text Placeholder 3"/>
          <p:cNvSpPr>
            <a:spLocks noGrp="1"/>
          </p:cNvSpPr>
          <p:nvPr>
            <p:ph type="body" sz="quarter" idx="11"/>
          </p:nvPr>
        </p:nvSpPr>
        <p:spPr/>
        <p:txBody>
          <a:bodyPr>
            <a:normAutofit/>
          </a:bodyPr>
          <a:lstStyle/>
          <a:p>
            <a:r>
              <a:rPr lang="en-US" dirty="0"/>
              <a:t>Power BI </a:t>
            </a:r>
            <a:r>
              <a:rPr lang="zh-TW" altLang="en-US" dirty="0"/>
              <a:t>是一個以雲端為基礎的商業分析服務，它讓用戶能夠</a:t>
            </a:r>
            <a:r>
              <a:rPr lang="en-US" dirty="0"/>
              <a:t>:</a:t>
            </a:r>
          </a:p>
          <a:p>
            <a:pPr lvl="1"/>
            <a:r>
              <a:rPr lang="zh-TW" altLang="en-US" dirty="0"/>
              <a:t>快速且容易存取到資料</a:t>
            </a:r>
            <a:endParaRPr lang="en-US" dirty="0"/>
          </a:p>
          <a:p>
            <a:pPr lvl="1"/>
            <a:r>
              <a:rPr lang="zh-TW" altLang="en-US" dirty="0"/>
              <a:t>即時檢視</a:t>
            </a:r>
            <a:r>
              <a:rPr lang="en-US" dirty="0"/>
              <a:t> 360º </a:t>
            </a:r>
            <a:r>
              <a:rPr lang="zh-TW" altLang="en-US" dirty="0"/>
              <a:t>的商業面貌</a:t>
            </a:r>
            <a:endParaRPr lang="en-US" dirty="0"/>
          </a:p>
          <a:p>
            <a:pPr lvl="1"/>
            <a:r>
              <a:rPr lang="zh-TW" altLang="en-US" dirty="0"/>
              <a:t>發現及探索資料的內涵</a:t>
            </a:r>
            <a:endParaRPr lang="en-US" dirty="0"/>
          </a:p>
          <a:p>
            <a:pPr lvl="1"/>
            <a:r>
              <a:rPr lang="zh-TW" altLang="en-US" dirty="0"/>
              <a:t>從任何裝置中讀取洞察結果</a:t>
            </a:r>
            <a:endParaRPr lang="en-US" dirty="0"/>
          </a:p>
          <a:p>
            <a:pPr lvl="1"/>
            <a:r>
              <a:rPr lang="zh-TW" altLang="en-US" dirty="0"/>
              <a:t>在組織間共享文件</a:t>
            </a:r>
            <a:endParaRPr lang="en-US" dirty="0"/>
          </a:p>
          <a:p>
            <a:pPr lvl="1"/>
            <a:r>
              <a:rPr lang="zh-TW" altLang="en-US" dirty="0"/>
              <a:t>任何人都能輕易視覺化或分析資料</a:t>
            </a:r>
            <a:endParaRPr lang="en-US" dirty="0"/>
          </a:p>
          <a:p>
            <a:endParaRPr lang="en-US" dirty="0"/>
          </a:p>
        </p:txBody>
      </p:sp>
      <p:pic>
        <p:nvPicPr>
          <p:cNvPr id="5" name="Picture 4"/>
          <p:cNvPicPr>
            <a:picLocks noChangeAspect="1"/>
          </p:cNvPicPr>
          <p:nvPr/>
        </p:nvPicPr>
        <p:blipFill>
          <a:blip r:embed="rId3"/>
          <a:stretch>
            <a:fillRect/>
          </a:stretch>
        </p:blipFill>
        <p:spPr>
          <a:xfrm>
            <a:off x="6361123" y="3436652"/>
            <a:ext cx="5335819" cy="3109921"/>
          </a:xfrm>
          <a:prstGeom prst="rect">
            <a:avLst/>
          </a:prstGeom>
          <a:ln w="3175">
            <a:solidFill>
              <a:schemeClr val="tx1"/>
            </a:solidFill>
          </a:ln>
          <a:effectLst/>
        </p:spPr>
      </p:pic>
      <p:grpSp>
        <p:nvGrpSpPr>
          <p:cNvPr id="6" name="Group 5"/>
          <p:cNvGrpSpPr/>
          <p:nvPr/>
        </p:nvGrpSpPr>
        <p:grpSpPr>
          <a:xfrm>
            <a:off x="6361123" y="2767227"/>
            <a:ext cx="1875360" cy="572464"/>
            <a:chOff x="10316641" y="149435"/>
            <a:chExt cx="1875360" cy="572464"/>
          </a:xfrm>
        </p:grpSpPr>
        <p:pic>
          <p:nvPicPr>
            <p:cNvPr id="7" name="Picture 6"/>
            <p:cNvPicPr>
              <a:picLocks noChangeAspect="1"/>
            </p:cNvPicPr>
            <p:nvPr/>
          </p:nvPicPr>
          <p:blipFill>
            <a:blip r:embed="rId4"/>
            <a:stretch>
              <a:fillRect/>
            </a:stretch>
          </p:blipFill>
          <p:spPr>
            <a:xfrm>
              <a:off x="10316641" y="213005"/>
              <a:ext cx="484908" cy="445325"/>
            </a:xfrm>
            <a:prstGeom prst="rect">
              <a:avLst/>
            </a:prstGeom>
          </p:spPr>
        </p:pic>
        <p:sp>
          <p:nvSpPr>
            <p:cNvPr id="8" name="TextBox 7"/>
            <p:cNvSpPr txBox="1"/>
            <p:nvPr/>
          </p:nvSpPr>
          <p:spPr>
            <a:xfrm>
              <a:off x="10716157" y="149435"/>
              <a:ext cx="1475844" cy="572464"/>
            </a:xfrm>
            <a:prstGeom prst="rect">
              <a:avLst/>
            </a:prstGeom>
            <a:noFill/>
          </p:spPr>
          <p:txBody>
            <a:bodyPr wrap="square" lIns="182880" tIns="146304" rIns="182880" bIns="146304" rtlCol="0">
              <a:spAutoFit/>
            </a:bodyPr>
            <a:lstStyle/>
            <a:p>
              <a:pPr>
                <a:lnSpc>
                  <a:spcPct val="90000"/>
                </a:lnSpc>
                <a:spcAft>
                  <a:spcPts val="600"/>
                </a:spcAft>
              </a:pPr>
              <a:r>
                <a:rPr lang="en-US" sz="2000" b="1" dirty="0">
                  <a:solidFill>
                    <a:sysClr val="windowText" lastClr="000000"/>
                  </a:solidFill>
                  <a:latin typeface="Segoe UI Light"/>
                </a:rPr>
                <a:t>Power BI</a:t>
              </a:r>
            </a:p>
          </p:txBody>
        </p:sp>
      </p:grpSp>
    </p:spTree>
    <p:extLst>
      <p:ext uri="{BB962C8B-B14F-4D97-AF65-F5344CB8AC3E}">
        <p14:creationId xmlns:p14="http://schemas.microsoft.com/office/powerpoint/2010/main" val="2320142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Designing reports</a:t>
            </a:r>
          </a:p>
        </p:txBody>
      </p:sp>
      <p:sp>
        <p:nvSpPr>
          <p:cNvPr id="4" name="Text Placeholder 3"/>
          <p:cNvSpPr>
            <a:spLocks noGrp="1"/>
          </p:cNvSpPr>
          <p:nvPr>
            <p:ph type="body" sz="quarter" idx="11"/>
          </p:nvPr>
        </p:nvSpPr>
        <p:spPr>
          <a:xfrm>
            <a:off x="269875" y="2332800"/>
            <a:ext cx="11655425" cy="4525200"/>
          </a:xfrm>
        </p:spPr>
        <p:txBody>
          <a:bodyPr/>
          <a:lstStyle/>
          <a:p>
            <a:r>
              <a:rPr lang="en-AU" dirty="0"/>
              <a:t>Reports can be designed based on the visible model interface</a:t>
            </a:r>
          </a:p>
          <a:p>
            <a:r>
              <a:rPr lang="en-AU" dirty="0"/>
              <a:t>The design experience is almost the same as is available in the Power BI online service</a:t>
            </a:r>
          </a:p>
          <a:p>
            <a:pPr lvl="1"/>
            <a:r>
              <a:rPr lang="en-AU" dirty="0"/>
              <a:t>Text boxes, images and shapes can be added</a:t>
            </a:r>
          </a:p>
          <a:p>
            <a:pPr lvl="1"/>
            <a:r>
              <a:rPr lang="en-AU" dirty="0"/>
              <a:t>Text boxes can contain hyperlinks</a:t>
            </a:r>
            <a:endParaRPr lang="en-US" dirty="0"/>
          </a:p>
        </p:txBody>
      </p:sp>
      <p:graphicFrame>
        <p:nvGraphicFramePr>
          <p:cNvPr id="5" name="Diagram 4"/>
          <p:cNvGraphicFramePr/>
          <p:nvPr>
            <p:extLst/>
          </p:nvPr>
        </p:nvGraphicFramePr>
        <p:xfrm>
          <a:off x="441738" y="1332000"/>
          <a:ext cx="11206923" cy="9302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Content Placeholder 8"/>
          <p:cNvSpPr>
            <a:spLocks noGrp="1"/>
          </p:cNvSpPr>
          <p:nvPr>
            <p:ph sz="quarter" idx="10"/>
          </p:nvPr>
        </p:nvSpPr>
        <p:spPr/>
        <p:txBody>
          <a:bodyPr/>
          <a:lstStyle/>
          <a:p>
            <a:endParaRPr lang="en-AU"/>
          </a:p>
        </p:txBody>
      </p:sp>
      <p:pic>
        <p:nvPicPr>
          <p:cNvPr id="11" name="Picture 1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333862" y="4307557"/>
            <a:ext cx="2020775" cy="2357571"/>
          </a:xfrm>
          <a:prstGeom prst="rect">
            <a:avLst/>
          </a:prstGeom>
        </p:spPr>
      </p:pic>
    </p:spTree>
    <p:extLst>
      <p:ext uri="{BB962C8B-B14F-4D97-AF65-F5344CB8AC3E}">
        <p14:creationId xmlns:p14="http://schemas.microsoft.com/office/powerpoint/2010/main" val="1293926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Designing reports</a:t>
            </a:r>
          </a:p>
        </p:txBody>
      </p:sp>
      <p:sp>
        <p:nvSpPr>
          <p:cNvPr id="3" name="Content Placeholder 2"/>
          <p:cNvSpPr>
            <a:spLocks noGrp="1"/>
          </p:cNvSpPr>
          <p:nvPr>
            <p:ph sz="quarter" idx="10"/>
          </p:nvPr>
        </p:nvSpPr>
        <p:spPr/>
        <p:txBody>
          <a:bodyPr/>
          <a:lstStyle/>
          <a:p>
            <a:r>
              <a:rPr lang="en-AU" dirty="0"/>
              <a:t>Custom visuals</a:t>
            </a:r>
          </a:p>
        </p:txBody>
      </p:sp>
      <p:sp>
        <p:nvSpPr>
          <p:cNvPr id="4" name="Text Placeholder 3"/>
          <p:cNvSpPr>
            <a:spLocks noGrp="1"/>
          </p:cNvSpPr>
          <p:nvPr>
            <p:ph type="body" sz="quarter" idx="11"/>
          </p:nvPr>
        </p:nvSpPr>
        <p:spPr/>
        <p:txBody>
          <a:bodyPr/>
          <a:lstStyle/>
          <a:p>
            <a:r>
              <a:rPr lang="en-AU" dirty="0"/>
              <a:t>Custom visuals can be imported to extend beyond the out-of-the-box visualizations</a:t>
            </a:r>
          </a:p>
          <a:p>
            <a:pPr lvl="1"/>
            <a:r>
              <a:rPr lang="en-AU" dirty="0"/>
              <a:t>A gallery of visuals created by the Power BI community is available at </a:t>
            </a:r>
            <a:r>
              <a:rPr lang="en-AU" dirty="0">
                <a:hlinkClick r:id="rId2"/>
              </a:rPr>
              <a:t>https://app.powerbi.com/visuals</a:t>
            </a:r>
            <a:endParaRPr lang="en-AU" dirty="0"/>
          </a:p>
          <a:p>
            <a:pPr lvl="1"/>
            <a:r>
              <a:rPr lang="en-AU" dirty="0"/>
              <a:t>Browse through the visuals or submit one of your </a:t>
            </a:r>
            <a:br>
              <a:rPr lang="en-AU" dirty="0"/>
            </a:br>
            <a:r>
              <a:rPr lang="en-AU" dirty="0"/>
              <a:t>own for others to use</a:t>
            </a:r>
          </a:p>
          <a:p>
            <a:pPr lvl="1"/>
            <a:r>
              <a:rPr lang="en-AU" dirty="0"/>
              <a:t>The list of available visuals is growing each month</a:t>
            </a:r>
          </a:p>
          <a:p>
            <a:pPr lvl="1"/>
            <a:r>
              <a:rPr lang="en-AU" dirty="0"/>
              <a:t>Custom visuals will render in the Power BI service</a:t>
            </a:r>
          </a:p>
        </p:txBody>
      </p:sp>
      <p:sp>
        <p:nvSpPr>
          <p:cNvPr id="6" name="TextBox 5"/>
          <p:cNvSpPr txBox="1"/>
          <p:nvPr/>
        </p:nvSpPr>
        <p:spPr>
          <a:xfrm>
            <a:off x="682853" y="5562287"/>
            <a:ext cx="5084901" cy="794064"/>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The topic of custom visual development is covered later in this training course</a:t>
            </a:r>
            <a:endParaRPr lang="en-US" dirty="0">
              <a:gradFill>
                <a:gsLst>
                  <a:gs pos="2917">
                    <a:schemeClr val="tx1"/>
                  </a:gs>
                  <a:gs pos="30000">
                    <a:schemeClr val="tx1"/>
                  </a:gs>
                </a:gsLst>
                <a:lin ang="5400000" scaled="0"/>
              </a:gradFill>
            </a:endParaRPr>
          </a:p>
        </p:txBody>
      </p:sp>
      <p:pic>
        <p:nvPicPr>
          <p:cNvPr id="7" name="Picture 6"/>
          <p:cNvPicPr>
            <a:picLocks noChangeAspect="1"/>
          </p:cNvPicPr>
          <p:nvPr/>
        </p:nvPicPr>
        <p:blipFill>
          <a:blip r:embed="rId3"/>
          <a:stretch>
            <a:fillRect/>
          </a:stretch>
        </p:blipFill>
        <p:spPr>
          <a:xfrm>
            <a:off x="8356387" y="3661540"/>
            <a:ext cx="3108783" cy="2958798"/>
          </a:xfrm>
          <a:prstGeom prst="rect">
            <a:avLst/>
          </a:prstGeom>
        </p:spPr>
      </p:pic>
    </p:spTree>
    <p:extLst>
      <p:ext uri="{BB962C8B-B14F-4D97-AF65-F5344CB8AC3E}">
        <p14:creationId xmlns:p14="http://schemas.microsoft.com/office/powerpoint/2010/main" val="756794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Designing reports</a:t>
            </a:r>
          </a:p>
        </p:txBody>
      </p:sp>
      <p:sp>
        <p:nvSpPr>
          <p:cNvPr id="3" name="Content Placeholder 2"/>
          <p:cNvSpPr>
            <a:spLocks noGrp="1"/>
          </p:cNvSpPr>
          <p:nvPr>
            <p:ph sz="quarter" idx="10"/>
          </p:nvPr>
        </p:nvSpPr>
        <p:spPr/>
        <p:txBody>
          <a:bodyPr/>
          <a:lstStyle/>
          <a:p>
            <a:r>
              <a:rPr lang="en-AU" dirty="0"/>
              <a:t>Custom visuals: Gallery (subset)</a:t>
            </a: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2176" y="1795296"/>
            <a:ext cx="7905914" cy="4624343"/>
          </a:xfrm>
          <a:prstGeom prst="rect">
            <a:avLst/>
          </a:prstGeom>
        </p:spPr>
      </p:pic>
      <p:sp>
        <p:nvSpPr>
          <p:cNvPr id="5" name="TextBox 4"/>
          <p:cNvSpPr txBox="1"/>
          <p:nvPr/>
        </p:nvSpPr>
        <p:spPr>
          <a:xfrm>
            <a:off x="10230034" y="5239107"/>
            <a:ext cx="1695046" cy="1406539"/>
          </a:xfrm>
          <a:prstGeom prst="rect">
            <a:avLst/>
          </a:prstGeom>
          <a:noFill/>
        </p:spPr>
        <p:txBody>
          <a:bodyPr wrap="square" lIns="182880" tIns="146304" rIns="182880" bIns="146304" rtlCol="0">
            <a:spAutoFit/>
          </a:bodyPr>
          <a:lstStyle/>
          <a:p>
            <a:pPr algn="r"/>
            <a:endParaRPr lang="en-AU" sz="2000" dirty="0"/>
          </a:p>
          <a:p>
            <a:pPr algn="r"/>
            <a:r>
              <a:rPr lang="en-AU" dirty="0"/>
              <a:t>* And the list is growing!</a:t>
            </a:r>
            <a:endParaRPr lang="en-US" dirty="0"/>
          </a:p>
          <a:p>
            <a:pPr>
              <a:lnSpc>
                <a:spcPct val="90000"/>
              </a:lnSpc>
              <a:spcAft>
                <a:spcPts val="600"/>
              </a:spcAft>
            </a:pPr>
            <a:endParaRPr lang="en-AU"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781546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a:t>發佈至</a:t>
            </a:r>
            <a:r>
              <a:rPr lang="en-AU" dirty="0"/>
              <a:t> Power BI</a:t>
            </a:r>
          </a:p>
        </p:txBody>
      </p:sp>
      <p:sp>
        <p:nvSpPr>
          <p:cNvPr id="9" name="Content Placeholder 8"/>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a:xfrm>
            <a:off x="1749287" y="2332383"/>
            <a:ext cx="10176013" cy="4525617"/>
          </a:xfrm>
        </p:spPr>
        <p:txBody>
          <a:bodyPr/>
          <a:lstStyle/>
          <a:p>
            <a:r>
              <a:rPr lang="en-AU" dirty="0"/>
              <a:t>The Power BI Desktop file can be uploaded to the Power BI service, or published directly</a:t>
            </a:r>
          </a:p>
          <a:p>
            <a:r>
              <a:rPr lang="en-AU" dirty="0"/>
              <a:t>Note, if overwriting an existing dataset:</a:t>
            </a:r>
          </a:p>
          <a:p>
            <a:pPr lvl="1"/>
            <a:r>
              <a:rPr lang="en-AU" dirty="0"/>
              <a:t>If there are two or more datasets with the same name, remove one, or rename the Power BI Desktop file</a:t>
            </a:r>
          </a:p>
          <a:p>
            <a:pPr lvl="1"/>
            <a:r>
              <a:rPr lang="en-AU" dirty="0"/>
              <a:t>Renaming columns or measures can break existing reports or dashboard tiles</a:t>
            </a:r>
          </a:p>
          <a:p>
            <a:endParaRPr lang="en-US" dirty="0"/>
          </a:p>
        </p:txBody>
      </p:sp>
      <p:graphicFrame>
        <p:nvGraphicFramePr>
          <p:cNvPr id="5" name="Diagram 4"/>
          <p:cNvGraphicFramePr/>
          <p:nvPr>
            <p:extLst/>
          </p:nvPr>
        </p:nvGraphicFramePr>
        <p:xfrm>
          <a:off x="441738" y="1332000"/>
          <a:ext cx="11206923" cy="9302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 name="Picture 5"/>
          <p:cNvPicPr>
            <a:picLocks noChangeAspect="1"/>
          </p:cNvPicPr>
          <p:nvPr/>
        </p:nvPicPr>
        <p:blipFill>
          <a:blip r:embed="rId7"/>
          <a:stretch>
            <a:fillRect/>
          </a:stretch>
        </p:blipFill>
        <p:spPr>
          <a:xfrm>
            <a:off x="479713" y="2556103"/>
            <a:ext cx="1042078" cy="1563118"/>
          </a:xfrm>
          <a:prstGeom prst="rect">
            <a:avLst/>
          </a:prstGeom>
          <a:ln>
            <a:solidFill>
              <a:schemeClr val="bg1">
                <a:lumMod val="50000"/>
              </a:schemeClr>
            </a:solidFill>
          </a:ln>
        </p:spPr>
      </p:pic>
    </p:spTree>
    <p:extLst>
      <p:ext uri="{BB962C8B-B14F-4D97-AF65-F5344CB8AC3E}">
        <p14:creationId xmlns:p14="http://schemas.microsoft.com/office/powerpoint/2010/main" val="2867712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Describing additional capabilities</a:t>
            </a:r>
          </a:p>
        </p:txBody>
      </p:sp>
      <p:sp>
        <p:nvSpPr>
          <p:cNvPr id="3" name="Content Placeholder 2"/>
          <p:cNvSpPr>
            <a:spLocks noGrp="1"/>
          </p:cNvSpPr>
          <p:nvPr>
            <p:ph sz="quarter" idx="10"/>
          </p:nvPr>
        </p:nvSpPr>
        <p:spPr/>
        <p:txBody>
          <a:bodyPr/>
          <a:lstStyle/>
          <a:p>
            <a:endParaRPr lang="en-AU"/>
          </a:p>
        </p:txBody>
      </p:sp>
      <p:sp>
        <p:nvSpPr>
          <p:cNvPr id="4" name="Text Placeholder 3"/>
          <p:cNvSpPr>
            <a:spLocks noGrp="1"/>
          </p:cNvSpPr>
          <p:nvPr>
            <p:ph type="body" sz="quarter" idx="11"/>
          </p:nvPr>
        </p:nvSpPr>
        <p:spPr/>
        <p:txBody>
          <a:bodyPr/>
          <a:lstStyle/>
          <a:p>
            <a:r>
              <a:rPr lang="en-AU" dirty="0"/>
              <a:t>Additional capabilities:</a:t>
            </a:r>
          </a:p>
          <a:p>
            <a:pPr lvl="1"/>
            <a:r>
              <a:rPr lang="en-AU" dirty="0"/>
              <a:t>Running R scripts (Preview)</a:t>
            </a:r>
          </a:p>
          <a:p>
            <a:pPr lvl="1"/>
            <a:r>
              <a:rPr lang="en-AU" dirty="0"/>
              <a:t>Generating R visuals (Preview)</a:t>
            </a:r>
          </a:p>
          <a:p>
            <a:pPr lvl="1"/>
            <a:endParaRPr lang="en-AU" dirty="0"/>
          </a:p>
        </p:txBody>
      </p:sp>
    </p:spTree>
    <p:extLst>
      <p:ext uri="{BB962C8B-B14F-4D97-AF65-F5344CB8AC3E}">
        <p14:creationId xmlns:p14="http://schemas.microsoft.com/office/powerpoint/2010/main" val="2388304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Describing additional capabilities</a:t>
            </a:r>
            <a:endParaRPr lang="en-AU" dirty="0"/>
          </a:p>
        </p:txBody>
      </p:sp>
      <p:sp>
        <p:nvSpPr>
          <p:cNvPr id="3" name="Content Placeholder 2"/>
          <p:cNvSpPr>
            <a:spLocks noGrp="1"/>
          </p:cNvSpPr>
          <p:nvPr>
            <p:ph sz="quarter" idx="10"/>
          </p:nvPr>
        </p:nvSpPr>
        <p:spPr/>
        <p:txBody>
          <a:bodyPr/>
          <a:lstStyle/>
          <a:p>
            <a:r>
              <a:rPr lang="en-AU" dirty="0"/>
              <a:t>Running R scripts (Preview)</a:t>
            </a:r>
          </a:p>
        </p:txBody>
      </p:sp>
      <p:sp>
        <p:nvSpPr>
          <p:cNvPr id="4" name="Text Placeholder 3"/>
          <p:cNvSpPr>
            <a:spLocks noGrp="1"/>
          </p:cNvSpPr>
          <p:nvPr>
            <p:ph type="body" sz="quarter" idx="11"/>
          </p:nvPr>
        </p:nvSpPr>
        <p:spPr>
          <a:xfrm>
            <a:off x="5034224" y="1749425"/>
            <a:ext cx="6891076" cy="5108575"/>
          </a:xfrm>
        </p:spPr>
        <p:txBody>
          <a:bodyPr/>
          <a:lstStyle/>
          <a:p>
            <a:r>
              <a:rPr lang="en-AU" dirty="0"/>
              <a:t>R scripts can be run directly in Power BI Desktop, and resulting datasets imported into a Power BI Desktop data model</a:t>
            </a:r>
          </a:p>
          <a:p>
            <a:pPr lvl="1" indent="-237600"/>
            <a:r>
              <a:rPr lang="en-AU" dirty="0"/>
              <a:t>R must be installed on the local machine</a:t>
            </a:r>
          </a:p>
          <a:p>
            <a:pPr lvl="1" indent="-237600"/>
            <a:r>
              <a:rPr lang="en-AU" dirty="0"/>
              <a:t>Only data frames are imported</a:t>
            </a:r>
          </a:p>
          <a:p>
            <a:pPr lvl="1" indent="-237600"/>
            <a:r>
              <a:rPr lang="en-AU" dirty="0"/>
              <a:t>Columns typed as Complex and Vector are not imported</a:t>
            </a:r>
          </a:p>
          <a:p>
            <a:pPr lvl="1" indent="-237600"/>
            <a:r>
              <a:rPr lang="en-AU" dirty="0"/>
              <a:t>Can be refreshed with the Gateway—Personal</a:t>
            </a:r>
          </a:p>
          <a:p>
            <a:pPr lvl="1" indent="-237600"/>
            <a:endParaRPr lang="en-AU" dirty="0"/>
          </a:p>
        </p:txBody>
      </p:sp>
      <p:grpSp>
        <p:nvGrpSpPr>
          <p:cNvPr id="16" name="Group 15"/>
          <p:cNvGrpSpPr/>
          <p:nvPr/>
        </p:nvGrpSpPr>
        <p:grpSpPr>
          <a:xfrm>
            <a:off x="481349" y="1749425"/>
            <a:ext cx="4365714" cy="4742857"/>
            <a:chOff x="481349" y="1749425"/>
            <a:chExt cx="4365714" cy="4742857"/>
          </a:xfrm>
        </p:grpSpPr>
        <p:pic>
          <p:nvPicPr>
            <p:cNvPr id="14" name="Picture 13"/>
            <p:cNvPicPr>
              <a:picLocks noChangeAspect="1"/>
            </p:cNvPicPr>
            <p:nvPr/>
          </p:nvPicPr>
          <p:blipFill>
            <a:blip r:embed="rId3"/>
            <a:stretch>
              <a:fillRect/>
            </a:stretch>
          </p:blipFill>
          <p:spPr>
            <a:xfrm>
              <a:off x="481349" y="1749425"/>
              <a:ext cx="4365714" cy="4742857"/>
            </a:xfrm>
            <a:prstGeom prst="rect">
              <a:avLst/>
            </a:prstGeom>
          </p:spPr>
        </p:pic>
        <p:sp>
          <p:nvSpPr>
            <p:cNvPr id="15" name="Rectangle 14"/>
            <p:cNvSpPr/>
            <p:nvPr/>
          </p:nvSpPr>
          <p:spPr bwMode="auto">
            <a:xfrm>
              <a:off x="2025199" y="4953837"/>
              <a:ext cx="913486" cy="301451"/>
            </a:xfrm>
            <a:prstGeom prst="rect">
              <a:avLst/>
            </a:prstGeom>
            <a:noFill/>
            <a:ln w="28575">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785023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Describing additional capabilities</a:t>
            </a:r>
            <a:endParaRPr lang="en-AU" dirty="0"/>
          </a:p>
        </p:txBody>
      </p:sp>
      <p:sp>
        <p:nvSpPr>
          <p:cNvPr id="3" name="Content Placeholder 2"/>
          <p:cNvSpPr>
            <a:spLocks noGrp="1"/>
          </p:cNvSpPr>
          <p:nvPr>
            <p:ph sz="quarter" idx="10"/>
          </p:nvPr>
        </p:nvSpPr>
        <p:spPr/>
        <p:txBody>
          <a:bodyPr/>
          <a:lstStyle/>
          <a:p>
            <a:r>
              <a:rPr lang="en-AU" dirty="0"/>
              <a:t>Generating R visuals (Preview)</a:t>
            </a:r>
          </a:p>
        </p:txBody>
      </p:sp>
      <p:sp>
        <p:nvSpPr>
          <p:cNvPr id="4" name="Text Placeholder 3"/>
          <p:cNvSpPr>
            <a:spLocks noGrp="1"/>
          </p:cNvSpPr>
          <p:nvPr>
            <p:ph type="body" sz="quarter" idx="11"/>
          </p:nvPr>
        </p:nvSpPr>
        <p:spPr>
          <a:xfrm>
            <a:off x="3436537" y="1749425"/>
            <a:ext cx="8488764" cy="5108575"/>
          </a:xfrm>
        </p:spPr>
        <p:txBody>
          <a:bodyPr>
            <a:normAutofit fontScale="92500" lnSpcReduction="10000"/>
          </a:bodyPr>
          <a:lstStyle/>
          <a:p>
            <a:r>
              <a:rPr lang="en-AU" dirty="0"/>
              <a:t>R visuals render from R script, accepting input fields</a:t>
            </a:r>
          </a:p>
          <a:p>
            <a:r>
              <a:rPr lang="en-AU" dirty="0"/>
              <a:t>Benefits:</a:t>
            </a:r>
          </a:p>
          <a:p>
            <a:pPr lvl="1"/>
            <a:r>
              <a:rPr lang="en-AU" dirty="0"/>
              <a:t>Leverage the voluminous and growing number of out-of-the-box plots available in R</a:t>
            </a:r>
          </a:p>
          <a:p>
            <a:pPr lvl="1"/>
            <a:r>
              <a:rPr lang="en-AU" dirty="0"/>
              <a:t>Easily customize R visuals by developing the script</a:t>
            </a:r>
          </a:p>
          <a:p>
            <a:pPr lvl="1"/>
            <a:r>
              <a:rPr lang="en-AU" dirty="0"/>
              <a:t>Combine advanced analytics in visuals</a:t>
            </a:r>
          </a:p>
          <a:p>
            <a:pPr lvl="1"/>
            <a:r>
              <a:rPr lang="en-AU" dirty="0"/>
              <a:t>Interact with R visuals in Power BI Desktop (filter, and cross-filter are supported)</a:t>
            </a:r>
          </a:p>
          <a:p>
            <a:r>
              <a:rPr lang="en-AU" dirty="0"/>
              <a:t>Presently, R visuals are published to the Power BI service as snapshots</a:t>
            </a:r>
          </a:p>
          <a:p>
            <a:pPr lvl="1"/>
            <a:r>
              <a:rPr lang="en-AU" dirty="0"/>
              <a:t>Live Power BI service rendering is planned</a:t>
            </a:r>
          </a:p>
          <a:p>
            <a:endParaRPr lang="en-AU" dirty="0"/>
          </a:p>
        </p:txBody>
      </p:sp>
      <p:pic>
        <p:nvPicPr>
          <p:cNvPr id="8" name="Picture 7"/>
          <p:cNvPicPr>
            <a:picLocks noChangeAspect="1"/>
          </p:cNvPicPr>
          <p:nvPr/>
        </p:nvPicPr>
        <p:blipFill>
          <a:blip r:embed="rId3"/>
          <a:stretch>
            <a:fillRect/>
          </a:stretch>
        </p:blipFill>
        <p:spPr>
          <a:xfrm>
            <a:off x="488527" y="1933442"/>
            <a:ext cx="2677291" cy="2548123"/>
          </a:xfrm>
          <a:prstGeom prst="rect">
            <a:avLst/>
          </a:prstGeom>
        </p:spPr>
      </p:pic>
      <p:sp>
        <p:nvSpPr>
          <p:cNvPr id="9" name="TextBox 8"/>
          <p:cNvSpPr txBox="1"/>
          <p:nvPr/>
        </p:nvSpPr>
        <p:spPr>
          <a:xfrm>
            <a:off x="481887" y="4910057"/>
            <a:ext cx="2683931" cy="1292662"/>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This is a preview feature that requires enabling in Power BI Desktop Settings</a:t>
            </a:r>
            <a:endParaRPr lang="en-US"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229923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Creating and exploring reports</a:t>
            </a:r>
            <a:endParaRPr lang="en-US" dirty="0"/>
          </a:p>
        </p:txBody>
      </p:sp>
      <p:sp>
        <p:nvSpPr>
          <p:cNvPr id="4" name="Text Placeholder 3"/>
          <p:cNvSpPr>
            <a:spLocks noGrp="1"/>
          </p:cNvSpPr>
          <p:nvPr>
            <p:ph type="body" sz="quarter" idx="11"/>
          </p:nvPr>
        </p:nvSpPr>
        <p:spPr>
          <a:xfrm>
            <a:off x="269875" y="1749425"/>
            <a:ext cx="7774195" cy="5108575"/>
          </a:xfrm>
        </p:spPr>
        <p:txBody>
          <a:bodyPr>
            <a:normAutofit/>
          </a:bodyPr>
          <a:lstStyle/>
          <a:p>
            <a:r>
              <a:rPr lang="en-AU" dirty="0"/>
              <a:t>Use reports to layout visualizations across one or more pages</a:t>
            </a:r>
          </a:p>
          <a:p>
            <a:r>
              <a:rPr lang="en-AU" dirty="0"/>
              <a:t>Rich, interactive reports can be created, updated and explored in the web browser experience</a:t>
            </a:r>
          </a:p>
          <a:p>
            <a:pPr lvl="1"/>
            <a:r>
              <a:rPr lang="en-AU" dirty="0"/>
              <a:t>A report is based on a single dataset</a:t>
            </a:r>
          </a:p>
          <a:p>
            <a:pPr lvl="1"/>
            <a:r>
              <a:rPr lang="en-AU" dirty="0"/>
              <a:t>Reports consist of one or more pages</a:t>
            </a:r>
          </a:p>
          <a:p>
            <a:pPr lvl="1"/>
            <a:r>
              <a:rPr lang="en-AU" dirty="0"/>
              <a:t>Each page can be named, and consists of visualizations and shapes</a:t>
            </a:r>
          </a:p>
        </p:txBody>
      </p:sp>
      <p:sp>
        <p:nvSpPr>
          <p:cNvPr id="6" name="Content Placeholder 5"/>
          <p:cNvSpPr>
            <a:spLocks noGrp="1"/>
          </p:cNvSpPr>
          <p:nvPr>
            <p:ph sz="quarter" idx="10"/>
          </p:nvPr>
        </p:nvSpPr>
        <p:spPr/>
        <p:txBody>
          <a:bodyPr/>
          <a:lstStyle/>
          <a:p>
            <a:r>
              <a:rPr lang="en-AU" dirty="0"/>
              <a:t>Creating reports</a:t>
            </a:r>
            <a:endParaRPr lang="en-US" dirty="0"/>
          </a:p>
        </p:txBody>
      </p:sp>
      <p:pic>
        <p:nvPicPr>
          <p:cNvPr id="8" name="Picture 7"/>
          <p:cNvPicPr>
            <a:picLocks noChangeAspect="1"/>
          </p:cNvPicPr>
          <p:nvPr/>
        </p:nvPicPr>
        <p:blipFill>
          <a:blip r:embed="rId3"/>
          <a:stretch>
            <a:fillRect/>
          </a:stretch>
        </p:blipFill>
        <p:spPr>
          <a:xfrm>
            <a:off x="8044070" y="2787945"/>
            <a:ext cx="3680779" cy="3375953"/>
          </a:xfrm>
          <a:prstGeom prst="rect">
            <a:avLst/>
          </a:prstGeom>
        </p:spPr>
      </p:pic>
    </p:spTree>
    <p:extLst>
      <p:ext uri="{BB962C8B-B14F-4D97-AF65-F5344CB8AC3E}">
        <p14:creationId xmlns:p14="http://schemas.microsoft.com/office/powerpoint/2010/main" val="2967160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Creating and exploring reports</a:t>
            </a:r>
            <a:endParaRPr lang="en-US" dirty="0"/>
          </a:p>
        </p:txBody>
      </p:sp>
      <p:sp>
        <p:nvSpPr>
          <p:cNvPr id="4" name="Text Placeholder 3"/>
          <p:cNvSpPr>
            <a:spLocks noGrp="1"/>
          </p:cNvSpPr>
          <p:nvPr>
            <p:ph type="body" sz="quarter" idx="11"/>
          </p:nvPr>
        </p:nvSpPr>
        <p:spPr>
          <a:xfrm>
            <a:off x="269875" y="1749425"/>
            <a:ext cx="7747032" cy="5108575"/>
          </a:xfrm>
        </p:spPr>
        <p:txBody>
          <a:bodyPr>
            <a:normAutofit/>
          </a:bodyPr>
          <a:lstStyle/>
          <a:p>
            <a:r>
              <a:rPr lang="en-AU" dirty="0"/>
              <a:t>Dataset fields are used to layout a visualization</a:t>
            </a:r>
          </a:p>
          <a:p>
            <a:pPr lvl="1"/>
            <a:r>
              <a:rPr lang="en-AU" dirty="0"/>
              <a:t>Visualization type and format can be adjusted to suit</a:t>
            </a:r>
          </a:p>
          <a:p>
            <a:r>
              <a:rPr lang="en-AU" dirty="0"/>
              <a:t>Filtering can be applied at report, page or visualization level</a:t>
            </a:r>
          </a:p>
          <a:p>
            <a:r>
              <a:rPr lang="en-AU" dirty="0"/>
              <a:t>Sorting can be set at visualization level</a:t>
            </a:r>
            <a:endParaRPr lang="en-US" dirty="0"/>
          </a:p>
        </p:txBody>
      </p:sp>
      <p:sp>
        <p:nvSpPr>
          <p:cNvPr id="6" name="Content Placeholder 5"/>
          <p:cNvSpPr>
            <a:spLocks noGrp="1"/>
          </p:cNvSpPr>
          <p:nvPr>
            <p:ph sz="quarter" idx="10"/>
          </p:nvPr>
        </p:nvSpPr>
        <p:spPr/>
        <p:txBody>
          <a:bodyPr/>
          <a:lstStyle/>
          <a:p>
            <a:r>
              <a:rPr lang="en-AU" dirty="0"/>
              <a:t>Creating reports</a:t>
            </a:r>
            <a:endParaRPr lang="en-US" dirty="0"/>
          </a:p>
        </p:txBody>
      </p:sp>
      <p:pic>
        <p:nvPicPr>
          <p:cNvPr id="3" name="Picture 2"/>
          <p:cNvPicPr>
            <a:picLocks noChangeAspect="1"/>
          </p:cNvPicPr>
          <p:nvPr/>
        </p:nvPicPr>
        <p:blipFill>
          <a:blip r:embed="rId3"/>
          <a:stretch>
            <a:fillRect/>
          </a:stretch>
        </p:blipFill>
        <p:spPr>
          <a:xfrm>
            <a:off x="8260902" y="1749425"/>
            <a:ext cx="3447619" cy="4619048"/>
          </a:xfrm>
          <a:prstGeom prst="rect">
            <a:avLst/>
          </a:prstGeom>
        </p:spPr>
      </p:pic>
    </p:spTree>
    <p:extLst>
      <p:ext uri="{BB962C8B-B14F-4D97-AF65-F5344CB8AC3E}">
        <p14:creationId xmlns:p14="http://schemas.microsoft.com/office/powerpoint/2010/main" val="3909013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Creating and exploring reports</a:t>
            </a:r>
            <a:endParaRPr lang="en-US" dirty="0"/>
          </a:p>
        </p:txBody>
      </p:sp>
      <p:sp>
        <p:nvSpPr>
          <p:cNvPr id="4" name="Text Placeholder 3"/>
          <p:cNvSpPr>
            <a:spLocks noGrp="1"/>
          </p:cNvSpPr>
          <p:nvPr>
            <p:ph type="body" sz="quarter" idx="11"/>
          </p:nvPr>
        </p:nvSpPr>
        <p:spPr>
          <a:xfrm>
            <a:off x="269876" y="1749425"/>
            <a:ext cx="6541742" cy="5108575"/>
          </a:xfrm>
        </p:spPr>
        <p:txBody>
          <a:bodyPr>
            <a:normAutofit/>
          </a:bodyPr>
          <a:lstStyle/>
          <a:p>
            <a:r>
              <a:rPr lang="en-AU" dirty="0"/>
              <a:t>Choose from numerous modern visualization types:</a:t>
            </a:r>
          </a:p>
          <a:p>
            <a:pPr lvl="1"/>
            <a:r>
              <a:rPr lang="en-AU" sz="1800" dirty="0"/>
              <a:t>Filter data:</a:t>
            </a:r>
          </a:p>
          <a:p>
            <a:pPr lvl="2"/>
            <a:r>
              <a:rPr lang="en-AU" sz="1600" dirty="0"/>
              <a:t>Slicer</a:t>
            </a:r>
          </a:p>
          <a:p>
            <a:pPr lvl="1"/>
            <a:r>
              <a:rPr lang="en-AU" sz="1800" dirty="0"/>
              <a:t>Display numeric values:</a:t>
            </a:r>
          </a:p>
          <a:p>
            <a:pPr lvl="2"/>
            <a:r>
              <a:rPr lang="en-AU" sz="1600" dirty="0"/>
              <a:t>Card, Multi Row Card, Table, Matrix</a:t>
            </a:r>
          </a:p>
          <a:p>
            <a:pPr lvl="1"/>
            <a:r>
              <a:rPr lang="en-AU" sz="1800" dirty="0"/>
              <a:t>Graphically visualize data:</a:t>
            </a:r>
          </a:p>
          <a:p>
            <a:pPr lvl="2"/>
            <a:r>
              <a:rPr lang="en-AU" sz="1600" dirty="0"/>
              <a:t>Bar, Column, Line, Combo, Scatter, Waterfall, Pie, Donut, Funnel, Treemap, Gauge</a:t>
            </a:r>
          </a:p>
          <a:p>
            <a:pPr lvl="1"/>
            <a:r>
              <a:rPr lang="en-AU" sz="1800" dirty="0"/>
              <a:t>Spatially visualize data:</a:t>
            </a:r>
          </a:p>
          <a:p>
            <a:pPr lvl="2"/>
            <a:r>
              <a:rPr lang="en-AU" sz="1600" dirty="0"/>
              <a:t>Map, Filled map</a:t>
            </a:r>
          </a:p>
          <a:p>
            <a:r>
              <a:rPr lang="en-AU" dirty="0"/>
              <a:t>Import custom visuals</a:t>
            </a:r>
            <a:endParaRPr lang="en-US" dirty="0"/>
          </a:p>
        </p:txBody>
      </p:sp>
      <p:sp>
        <p:nvSpPr>
          <p:cNvPr id="6" name="Content Placeholder 5"/>
          <p:cNvSpPr>
            <a:spLocks noGrp="1"/>
          </p:cNvSpPr>
          <p:nvPr>
            <p:ph sz="quarter" idx="10"/>
          </p:nvPr>
        </p:nvSpPr>
        <p:spPr/>
        <p:txBody>
          <a:bodyPr/>
          <a:lstStyle/>
          <a:p>
            <a:r>
              <a:rPr lang="en-AU" dirty="0"/>
              <a:t>Creating reports: Visualization types</a:t>
            </a:r>
            <a:endParaRPr lang="en-US" dirty="0"/>
          </a:p>
        </p:txBody>
      </p:sp>
      <p:pic>
        <p:nvPicPr>
          <p:cNvPr id="3" name="Picture 2"/>
          <p:cNvPicPr>
            <a:picLocks noChangeAspect="1"/>
          </p:cNvPicPr>
          <p:nvPr/>
        </p:nvPicPr>
        <p:blipFill>
          <a:blip r:embed="rId2"/>
          <a:stretch>
            <a:fillRect/>
          </a:stretch>
        </p:blipFill>
        <p:spPr>
          <a:xfrm>
            <a:off x="7376364" y="1594938"/>
            <a:ext cx="3897795" cy="3340968"/>
          </a:xfrm>
          <a:prstGeom prst="rect">
            <a:avLst/>
          </a:prstGeom>
        </p:spPr>
      </p:pic>
      <p:sp>
        <p:nvSpPr>
          <p:cNvPr id="7" name="TextBox 6"/>
          <p:cNvSpPr txBox="1"/>
          <p:nvPr/>
        </p:nvSpPr>
        <p:spPr>
          <a:xfrm>
            <a:off x="7376364" y="5191784"/>
            <a:ext cx="3897795" cy="1043363"/>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Tip: Hover the cursor of each icon to reveal a tooltip description of the visualization type</a:t>
            </a:r>
            <a:endParaRPr lang="en-US" dirty="0">
              <a:gradFill>
                <a:gsLst>
                  <a:gs pos="2917">
                    <a:schemeClr val="tx1"/>
                  </a:gs>
                  <a:gs pos="30000">
                    <a:schemeClr val="tx1"/>
                  </a:gs>
                </a:gsLst>
                <a:lin ang="5400000" scaled="0"/>
              </a:gradFill>
            </a:endParaRPr>
          </a:p>
        </p:txBody>
      </p:sp>
      <p:sp>
        <p:nvSpPr>
          <p:cNvPr id="8" name="TextBox 7"/>
          <p:cNvSpPr txBox="1"/>
          <p:nvPr/>
        </p:nvSpPr>
        <p:spPr>
          <a:xfrm>
            <a:off x="269240" y="6235147"/>
            <a:ext cx="5988819" cy="544765"/>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Custom visuals are covered later in this training course</a:t>
            </a:r>
            <a:endParaRPr lang="en-US"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536633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a:t>認識</a:t>
            </a:r>
            <a:r>
              <a:rPr lang="en-AU" dirty="0"/>
              <a:t> Microsoft Power BI</a:t>
            </a:r>
            <a:endParaRPr lang="en-US" dirty="0"/>
          </a:p>
        </p:txBody>
      </p:sp>
      <p:sp>
        <p:nvSpPr>
          <p:cNvPr id="3" name="Content Placeholder 2"/>
          <p:cNvSpPr>
            <a:spLocks noGrp="1"/>
          </p:cNvSpPr>
          <p:nvPr>
            <p:ph sz="quarter" idx="10"/>
          </p:nvPr>
        </p:nvSpPr>
        <p:spPr/>
        <p:txBody>
          <a:bodyPr/>
          <a:lstStyle/>
          <a:p>
            <a:r>
              <a:rPr lang="zh-TW" altLang="en-US" dirty="0"/>
              <a:t>主要特色及差異化</a:t>
            </a:r>
            <a:endParaRPr lang="en-US" dirty="0"/>
          </a:p>
        </p:txBody>
      </p:sp>
      <p:grpSp>
        <p:nvGrpSpPr>
          <p:cNvPr id="5" name="Group 4"/>
          <p:cNvGrpSpPr/>
          <p:nvPr/>
        </p:nvGrpSpPr>
        <p:grpSpPr>
          <a:xfrm>
            <a:off x="426564" y="1859980"/>
            <a:ext cx="6320920" cy="709416"/>
            <a:chOff x="330771" y="2616822"/>
            <a:chExt cx="6320920" cy="709416"/>
          </a:xfrm>
        </p:grpSpPr>
        <p:sp>
          <p:nvSpPr>
            <p:cNvPr id="6" name="Rectangle 5"/>
            <p:cNvSpPr/>
            <p:nvPr/>
          </p:nvSpPr>
          <p:spPr bwMode="auto">
            <a:xfrm>
              <a:off x="330771" y="2616822"/>
              <a:ext cx="6320920" cy="709416"/>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6" tIns="143428" rIns="179285" bIns="143428" numCol="1" spcCol="0" rtlCol="0" fromWordArt="0" anchor="ctr" anchorCtr="0" forceAA="0" compatLnSpc="1">
              <a:prstTxWarp prst="textNoShape">
                <a:avLst/>
              </a:prstTxWarp>
              <a:noAutofit/>
            </a:bodyPr>
            <a:lstStyle/>
            <a:p>
              <a:pPr marL="685800" defTabSz="914367" fontAlgn="base">
                <a:lnSpc>
                  <a:spcPct val="90000"/>
                </a:lnSpc>
                <a:spcBef>
                  <a:spcPct val="20000"/>
                </a:spcBef>
                <a:spcAft>
                  <a:spcPct val="0"/>
                </a:spcAft>
                <a:buSzPct val="90000"/>
              </a:pPr>
              <a:r>
                <a:rPr lang="zh-TW" altLang="en-US" sz="2000" dirty="0">
                  <a:ln w="3175">
                    <a:noFill/>
                  </a:ln>
                  <a:solidFill>
                    <a:srgbClr val="000000"/>
                  </a:solidFill>
                  <a:latin typeface="Calibri Light" panose="020F0302020204030204"/>
                </a:rPr>
                <a:t>內建由知名 </a:t>
              </a:r>
              <a:r>
                <a:rPr lang="en-US" altLang="zh-TW" sz="2000" dirty="0">
                  <a:ln w="3175">
                    <a:noFill/>
                  </a:ln>
                  <a:solidFill>
                    <a:srgbClr val="000000"/>
                  </a:solidFill>
                  <a:latin typeface="Calibri Light" panose="020F0302020204030204"/>
                </a:rPr>
                <a:t>SaaS </a:t>
              </a:r>
              <a:r>
                <a:rPr lang="zh-TW" altLang="en-US" sz="2000" dirty="0">
                  <a:ln w="3175">
                    <a:noFill/>
                  </a:ln>
                  <a:solidFill>
                    <a:srgbClr val="000000"/>
                  </a:solidFill>
                  <a:latin typeface="Calibri Light" panose="020F0302020204030204"/>
                </a:rPr>
                <a:t>服務所組成儀表板、報表的內容套件</a:t>
              </a:r>
              <a:endParaRPr lang="en-US" sz="2000" dirty="0">
                <a:ln w="3175">
                  <a:noFill/>
                </a:ln>
                <a:solidFill>
                  <a:srgbClr val="000000"/>
                </a:solidFill>
                <a:latin typeface="Calibri Light" panose="020F0302020204030204"/>
              </a:endParaRPr>
            </a:p>
          </p:txBody>
        </p:sp>
        <p:sp>
          <p:nvSpPr>
            <p:cNvPr id="7" name="Rectangle 6"/>
            <p:cNvSpPr/>
            <p:nvPr/>
          </p:nvSpPr>
          <p:spPr bwMode="auto">
            <a:xfrm>
              <a:off x="332292" y="2616822"/>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8" name="Freeform 24"/>
            <p:cNvSpPr>
              <a:spLocks noEditPoints="1"/>
            </p:cNvSpPr>
            <p:nvPr/>
          </p:nvSpPr>
          <p:spPr bwMode="black">
            <a:xfrm>
              <a:off x="429207" y="2675334"/>
              <a:ext cx="490621" cy="569164"/>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rgbClr val="F2C812"/>
            </a:solidFill>
            <a:ln>
              <a:noFill/>
            </a:ln>
          </p:spPr>
          <p:txBody>
            <a:bodyPr vert="horz" wrap="square" lIns="80687" tIns="40344" rIns="80687" bIns="40344" numCol="1" anchor="t" anchorCtr="0" compatLnSpc="1">
              <a:prstTxWarp prst="textNoShape">
                <a:avLst/>
              </a:prstTxWarp>
            </a:bodyPr>
            <a:lstStyle/>
            <a:p>
              <a:pPr defTabSz="914367"/>
              <a:endParaRPr lang="en-US" sz="1568" dirty="0">
                <a:solidFill>
                  <a:srgbClr val="000000"/>
                </a:solidFill>
              </a:endParaRPr>
            </a:p>
          </p:txBody>
        </p:sp>
      </p:grpSp>
      <p:grpSp>
        <p:nvGrpSpPr>
          <p:cNvPr id="9" name="Group 8"/>
          <p:cNvGrpSpPr/>
          <p:nvPr/>
        </p:nvGrpSpPr>
        <p:grpSpPr>
          <a:xfrm>
            <a:off x="426564" y="5049680"/>
            <a:ext cx="6320920" cy="709416"/>
            <a:chOff x="330771" y="5800102"/>
            <a:chExt cx="6320920" cy="709416"/>
          </a:xfrm>
        </p:grpSpPr>
        <p:sp>
          <p:nvSpPr>
            <p:cNvPr id="10" name="Rectangle 9"/>
            <p:cNvSpPr/>
            <p:nvPr/>
          </p:nvSpPr>
          <p:spPr bwMode="auto">
            <a:xfrm>
              <a:off x="330771" y="5800102"/>
              <a:ext cx="6320920" cy="709416"/>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6" tIns="143428" rIns="179285" bIns="143428" numCol="1" spcCol="0" rtlCol="0" fromWordArt="0" anchor="ctr" anchorCtr="0" forceAA="0" compatLnSpc="1">
              <a:prstTxWarp prst="textNoShape">
                <a:avLst/>
              </a:prstTxWarp>
              <a:noAutofit/>
            </a:bodyPr>
            <a:lstStyle/>
            <a:p>
              <a:pPr marL="685800" defTabSz="914367" fontAlgn="base">
                <a:lnSpc>
                  <a:spcPct val="90000"/>
                </a:lnSpc>
                <a:spcBef>
                  <a:spcPct val="20000"/>
                </a:spcBef>
                <a:spcAft>
                  <a:spcPct val="0"/>
                </a:spcAft>
                <a:buSzPct val="90000"/>
              </a:pPr>
              <a:r>
                <a:rPr lang="zh-TW" altLang="en-US" sz="2000" dirty="0">
                  <a:ln w="3175">
                    <a:noFill/>
                  </a:ln>
                  <a:solidFill>
                    <a:srgbClr val="000000"/>
                  </a:solidFill>
                  <a:latin typeface="Calibri Light" panose="020F0302020204030204"/>
                </a:rPr>
                <a:t>與熟悉的微軟產品整合，並且透過 </a:t>
              </a:r>
              <a:r>
                <a:rPr lang="en-US" altLang="zh-TW" sz="2000" dirty="0">
                  <a:ln w="3175">
                    <a:noFill/>
                  </a:ln>
                  <a:solidFill>
                    <a:srgbClr val="000000"/>
                  </a:solidFill>
                  <a:latin typeface="Calibri Light" panose="020F0302020204030204"/>
                </a:rPr>
                <a:t>Azure </a:t>
              </a:r>
              <a:r>
                <a:rPr lang="zh-TW" altLang="en-US" sz="2000" dirty="0">
                  <a:ln w="3175">
                    <a:noFill/>
                  </a:ln>
                  <a:solidFill>
                    <a:srgbClr val="000000"/>
                  </a:solidFill>
                  <a:latin typeface="Calibri Light" panose="020F0302020204030204"/>
                </a:rPr>
                <a:t>得到延展性及可得性</a:t>
              </a:r>
              <a:endParaRPr lang="en-US" sz="2000" dirty="0">
                <a:ln w="3175">
                  <a:noFill/>
                </a:ln>
                <a:solidFill>
                  <a:srgbClr val="000000"/>
                </a:solidFill>
                <a:latin typeface="Calibri Light" panose="020F0302020204030204"/>
              </a:endParaRPr>
            </a:p>
          </p:txBody>
        </p:sp>
        <p:sp>
          <p:nvSpPr>
            <p:cNvPr id="11" name="Rectangle 10"/>
            <p:cNvSpPr/>
            <p:nvPr/>
          </p:nvSpPr>
          <p:spPr bwMode="auto">
            <a:xfrm>
              <a:off x="330772" y="5800102"/>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nvGrpSpPr>
            <p:cNvPr id="12" name="Group 11"/>
            <p:cNvGrpSpPr/>
            <p:nvPr/>
          </p:nvGrpSpPr>
          <p:grpSpPr>
            <a:xfrm>
              <a:off x="456880" y="5924930"/>
              <a:ext cx="457200" cy="459760"/>
              <a:chOff x="4862621" y="5295900"/>
              <a:chExt cx="575101" cy="592606"/>
            </a:xfrm>
            <a:solidFill>
              <a:srgbClr val="F2C812"/>
            </a:solidFill>
          </p:grpSpPr>
          <p:sp>
            <p:nvSpPr>
              <p:cNvPr id="13" name="Rectangle 12"/>
              <p:cNvSpPr/>
              <p:nvPr/>
            </p:nvSpPr>
            <p:spPr bwMode="auto">
              <a:xfrm>
                <a:off x="4862621" y="5295900"/>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p:nvSpPr>
            <p:spPr bwMode="auto">
              <a:xfrm>
                <a:off x="5163402" y="5295900"/>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5163402" y="5614186"/>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p:nvSpPr>
            <p:spPr bwMode="auto">
              <a:xfrm>
                <a:off x="4862621" y="5614186"/>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7" name="Group 16"/>
          <p:cNvGrpSpPr/>
          <p:nvPr/>
        </p:nvGrpSpPr>
        <p:grpSpPr>
          <a:xfrm>
            <a:off x="426564" y="4249522"/>
            <a:ext cx="6320920" cy="709416"/>
            <a:chOff x="330771" y="5005120"/>
            <a:chExt cx="6320920" cy="709416"/>
          </a:xfrm>
        </p:grpSpPr>
        <p:sp>
          <p:nvSpPr>
            <p:cNvPr id="18" name="Rectangle 17"/>
            <p:cNvSpPr/>
            <p:nvPr/>
          </p:nvSpPr>
          <p:spPr bwMode="auto">
            <a:xfrm>
              <a:off x="330771" y="5005120"/>
              <a:ext cx="6320920" cy="709416"/>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6" tIns="143428" rIns="179285" bIns="143428" numCol="1" spcCol="0" rtlCol="0" fromWordArt="0" anchor="ctr" anchorCtr="0" forceAA="0" compatLnSpc="1">
              <a:prstTxWarp prst="textNoShape">
                <a:avLst/>
              </a:prstTxWarp>
              <a:noAutofit/>
            </a:bodyPr>
            <a:lstStyle/>
            <a:p>
              <a:pPr marL="685800" defTabSz="914367" fontAlgn="base">
                <a:lnSpc>
                  <a:spcPct val="90000"/>
                </a:lnSpc>
                <a:spcBef>
                  <a:spcPct val="20000"/>
                </a:spcBef>
                <a:spcAft>
                  <a:spcPct val="0"/>
                </a:spcAft>
                <a:buSzPct val="90000"/>
              </a:pPr>
              <a:r>
                <a:rPr lang="zh-TW" altLang="en-US" sz="2000" dirty="0">
                  <a:ln w="3175">
                    <a:noFill/>
                  </a:ln>
                  <a:solidFill>
                    <a:srgbClr val="000000"/>
                  </a:solidFill>
                  <a:latin typeface="Calibri Light" panose="020F0302020204030204"/>
                </a:rPr>
                <a:t>使用自然語言查詢直觀的資料探索</a:t>
              </a:r>
              <a:endParaRPr lang="en-US" sz="2000" dirty="0">
                <a:ln w="3175">
                  <a:noFill/>
                </a:ln>
                <a:solidFill>
                  <a:srgbClr val="000000"/>
                </a:solidFill>
                <a:latin typeface="Calibri Light" panose="020F0302020204030204"/>
              </a:endParaRPr>
            </a:p>
          </p:txBody>
        </p:sp>
        <p:sp>
          <p:nvSpPr>
            <p:cNvPr id="19" name="Rectangle 18"/>
            <p:cNvSpPr/>
            <p:nvPr/>
          </p:nvSpPr>
          <p:spPr bwMode="auto">
            <a:xfrm>
              <a:off x="332292" y="5005120"/>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pic>
          <p:nvPicPr>
            <p:cNvPr id="20" name="Picture 19"/>
            <p:cNvPicPr>
              <a:picLocks noChangeAspect="1"/>
            </p:cNvPicPr>
            <p:nvPr/>
          </p:nvPicPr>
          <p:blipFill>
            <a:blip r:embed="rId3"/>
            <a:stretch>
              <a:fillRect/>
            </a:stretch>
          </p:blipFill>
          <p:spPr>
            <a:xfrm>
              <a:off x="394947" y="5088350"/>
              <a:ext cx="562315" cy="537598"/>
            </a:xfrm>
            <a:prstGeom prst="rect">
              <a:avLst/>
            </a:prstGeom>
          </p:spPr>
        </p:pic>
      </p:grpSp>
      <p:grpSp>
        <p:nvGrpSpPr>
          <p:cNvPr id="21" name="Group 20"/>
          <p:cNvGrpSpPr/>
          <p:nvPr/>
        </p:nvGrpSpPr>
        <p:grpSpPr>
          <a:xfrm>
            <a:off x="426564" y="2659924"/>
            <a:ext cx="6320920" cy="709417"/>
            <a:chOff x="330771" y="3412641"/>
            <a:chExt cx="6320920" cy="709417"/>
          </a:xfrm>
        </p:grpSpPr>
        <p:sp>
          <p:nvSpPr>
            <p:cNvPr id="22" name="Rectangle 21"/>
            <p:cNvSpPr/>
            <p:nvPr/>
          </p:nvSpPr>
          <p:spPr bwMode="auto">
            <a:xfrm>
              <a:off x="330772" y="3412641"/>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3" name="Rectangle 22"/>
            <p:cNvSpPr/>
            <p:nvPr/>
          </p:nvSpPr>
          <p:spPr bwMode="auto">
            <a:xfrm>
              <a:off x="330771" y="3412642"/>
              <a:ext cx="6320920" cy="709416"/>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6" tIns="143428" rIns="179285" bIns="143428" numCol="1" spcCol="0" rtlCol="0" fromWordArt="0" anchor="ctr" anchorCtr="0" forceAA="0" compatLnSpc="1">
              <a:prstTxWarp prst="textNoShape">
                <a:avLst/>
              </a:prstTxWarp>
              <a:noAutofit/>
            </a:bodyPr>
            <a:lstStyle/>
            <a:p>
              <a:pPr marL="685800" defTabSz="914367" fontAlgn="base">
                <a:lnSpc>
                  <a:spcPct val="90000"/>
                </a:lnSpc>
                <a:spcBef>
                  <a:spcPct val="20000"/>
                </a:spcBef>
                <a:spcAft>
                  <a:spcPct val="0"/>
                </a:spcAft>
                <a:buSzPct val="90000"/>
              </a:pPr>
              <a:r>
                <a:rPr lang="zh-TW" altLang="en-US" sz="2000" dirty="0">
                  <a:ln w="3175">
                    <a:noFill/>
                  </a:ln>
                  <a:solidFill>
                    <a:srgbClr val="000000"/>
                  </a:solidFill>
                  <a:latin typeface="Calibri Light" panose="020F0302020204030204"/>
                </a:rPr>
                <a:t>即時儀表板更新</a:t>
              </a:r>
              <a:endParaRPr lang="en-US" sz="2000" dirty="0">
                <a:ln w="3175">
                  <a:noFill/>
                </a:ln>
                <a:solidFill>
                  <a:srgbClr val="000000"/>
                </a:solidFill>
                <a:latin typeface="Calibri Light" panose="020F0302020204030204"/>
              </a:endParaRPr>
            </a:p>
          </p:txBody>
        </p:sp>
        <p:sp>
          <p:nvSpPr>
            <p:cNvPr id="24" name="Rectangle 23"/>
            <p:cNvSpPr/>
            <p:nvPr/>
          </p:nvSpPr>
          <p:spPr bwMode="auto">
            <a:xfrm>
              <a:off x="330772" y="3412641"/>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pic>
          <p:nvPicPr>
            <p:cNvPr id="25" name="Picture 24"/>
            <p:cNvPicPr>
              <a:picLocks noChangeAspect="1"/>
            </p:cNvPicPr>
            <p:nvPr/>
          </p:nvPicPr>
          <p:blipFill>
            <a:blip r:embed="rId4"/>
            <a:stretch>
              <a:fillRect/>
            </a:stretch>
          </p:blipFill>
          <p:spPr>
            <a:xfrm>
              <a:off x="429207" y="3488827"/>
              <a:ext cx="447093" cy="554887"/>
            </a:xfrm>
            <a:prstGeom prst="rect">
              <a:avLst/>
            </a:prstGeom>
          </p:spPr>
        </p:pic>
      </p:grpSp>
      <p:grpSp>
        <p:nvGrpSpPr>
          <p:cNvPr id="26" name="Group 25"/>
          <p:cNvGrpSpPr/>
          <p:nvPr/>
        </p:nvGrpSpPr>
        <p:grpSpPr>
          <a:xfrm>
            <a:off x="420065" y="5853747"/>
            <a:ext cx="6320920" cy="711328"/>
            <a:chOff x="2739892" y="6384690"/>
            <a:chExt cx="6320920" cy="711328"/>
          </a:xfrm>
        </p:grpSpPr>
        <p:sp>
          <p:nvSpPr>
            <p:cNvPr id="27" name="Rectangle 26"/>
            <p:cNvSpPr/>
            <p:nvPr/>
          </p:nvSpPr>
          <p:spPr bwMode="auto">
            <a:xfrm>
              <a:off x="2746237" y="6386602"/>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8" name="Rectangle 27"/>
            <p:cNvSpPr/>
            <p:nvPr/>
          </p:nvSpPr>
          <p:spPr bwMode="auto">
            <a:xfrm>
              <a:off x="2739892" y="6384690"/>
              <a:ext cx="6320920" cy="709416"/>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6" tIns="143428" rIns="179285" bIns="143428" numCol="1" spcCol="0" rtlCol="0" fromWordArt="0" anchor="ctr" anchorCtr="0" forceAA="0" compatLnSpc="1">
              <a:prstTxWarp prst="textNoShape">
                <a:avLst/>
              </a:prstTxWarp>
              <a:noAutofit/>
            </a:bodyPr>
            <a:lstStyle/>
            <a:p>
              <a:pPr marL="685800" defTabSz="914367" fontAlgn="base">
                <a:lnSpc>
                  <a:spcPct val="90000"/>
                </a:lnSpc>
                <a:spcBef>
                  <a:spcPct val="20000"/>
                </a:spcBef>
                <a:spcAft>
                  <a:spcPct val="0"/>
                </a:spcAft>
                <a:buSzPct val="90000"/>
              </a:pPr>
              <a:r>
                <a:rPr lang="zh-TW" altLang="en-US" sz="2000" dirty="0">
                  <a:ln w="3175">
                    <a:noFill/>
                  </a:ln>
                  <a:solidFill>
                    <a:srgbClr val="000000"/>
                  </a:solidFill>
                  <a:latin typeface="Calibri Light" panose="020F0302020204030204"/>
                </a:rPr>
                <a:t>快速部署、混合式設定、安全並且與既有的 </a:t>
              </a:r>
              <a:r>
                <a:rPr lang="en-US" altLang="zh-TW" sz="2000" dirty="0">
                  <a:ln w="3175">
                    <a:noFill/>
                  </a:ln>
                  <a:solidFill>
                    <a:srgbClr val="000000"/>
                  </a:solidFill>
                  <a:latin typeface="Calibri Light" panose="020F0302020204030204"/>
                </a:rPr>
                <a:t>IT </a:t>
              </a:r>
              <a:r>
                <a:rPr lang="zh-TW" altLang="en-US" sz="2000" dirty="0">
                  <a:ln w="3175">
                    <a:noFill/>
                  </a:ln>
                  <a:solidFill>
                    <a:srgbClr val="000000"/>
                  </a:solidFill>
                  <a:latin typeface="Calibri Light" panose="020F0302020204030204"/>
                </a:rPr>
                <a:t>系統整合</a:t>
              </a:r>
              <a:endParaRPr lang="en-US" sz="2000" dirty="0">
                <a:ln w="3175">
                  <a:noFill/>
                </a:ln>
                <a:solidFill>
                  <a:srgbClr val="000000"/>
                </a:solidFill>
                <a:latin typeface="Calibri Light" panose="020F0302020204030204"/>
              </a:endParaRPr>
            </a:p>
          </p:txBody>
        </p:sp>
        <p:grpSp>
          <p:nvGrpSpPr>
            <p:cNvPr id="29" name="Group 28"/>
            <p:cNvGrpSpPr/>
            <p:nvPr/>
          </p:nvGrpSpPr>
          <p:grpSpPr bwMode="black">
            <a:xfrm>
              <a:off x="2839643" y="6497482"/>
              <a:ext cx="515779" cy="489217"/>
              <a:chOff x="2462213" y="1598613"/>
              <a:chExt cx="4222750" cy="3667125"/>
            </a:xfrm>
            <a:solidFill>
              <a:srgbClr val="FFCC00"/>
            </a:solidFill>
          </p:grpSpPr>
          <p:sp>
            <p:nvSpPr>
              <p:cNvPr id="30" name="Rectangle 6"/>
              <p:cNvSpPr>
                <a:spLocks noChangeArrowheads="1"/>
              </p:cNvSpPr>
              <p:nvPr/>
            </p:nvSpPr>
            <p:spPr bwMode="black">
              <a:xfrm>
                <a:off x="5564188" y="3346451"/>
                <a:ext cx="115888"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31" name="Rectangle 7"/>
              <p:cNvSpPr>
                <a:spLocks noChangeArrowheads="1"/>
              </p:cNvSpPr>
              <p:nvPr/>
            </p:nvSpPr>
            <p:spPr bwMode="black">
              <a:xfrm>
                <a:off x="5795963" y="3346451"/>
                <a:ext cx="11271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32" name="Rectangle 8"/>
              <p:cNvSpPr>
                <a:spLocks noChangeArrowheads="1"/>
              </p:cNvSpPr>
              <p:nvPr/>
            </p:nvSpPr>
            <p:spPr bwMode="black">
              <a:xfrm>
                <a:off x="3092451" y="3346451"/>
                <a:ext cx="115888"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33" name="Rectangle 9"/>
              <p:cNvSpPr>
                <a:spLocks noChangeArrowheads="1"/>
              </p:cNvSpPr>
              <p:nvPr/>
            </p:nvSpPr>
            <p:spPr bwMode="black">
              <a:xfrm>
                <a:off x="3324226" y="3346451"/>
                <a:ext cx="117475"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34" name="Freeform 10"/>
              <p:cNvSpPr>
                <a:spLocks/>
              </p:cNvSpPr>
              <p:nvPr/>
            </p:nvSpPr>
            <p:spPr bwMode="black">
              <a:xfrm>
                <a:off x="3902076" y="2506663"/>
                <a:ext cx="101600" cy="123825"/>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35" name="Freeform 11"/>
              <p:cNvSpPr>
                <a:spLocks/>
              </p:cNvSpPr>
              <p:nvPr/>
            </p:nvSpPr>
            <p:spPr bwMode="black">
              <a:xfrm>
                <a:off x="4017963" y="2709863"/>
                <a:ext cx="98425" cy="123825"/>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36" name="Freeform 12"/>
              <p:cNvSpPr>
                <a:spLocks/>
              </p:cNvSpPr>
              <p:nvPr/>
            </p:nvSpPr>
            <p:spPr bwMode="black">
              <a:xfrm>
                <a:off x="4873626" y="2709863"/>
                <a:ext cx="98425" cy="123825"/>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37" name="Freeform 13"/>
              <p:cNvSpPr>
                <a:spLocks/>
              </p:cNvSpPr>
              <p:nvPr/>
            </p:nvSpPr>
            <p:spPr bwMode="black">
              <a:xfrm>
                <a:off x="4989513" y="2506663"/>
                <a:ext cx="98425" cy="123825"/>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38" name="Freeform 14"/>
              <p:cNvSpPr>
                <a:spLocks/>
              </p:cNvSpPr>
              <p:nvPr/>
            </p:nvSpPr>
            <p:spPr bwMode="black">
              <a:xfrm>
                <a:off x="4017963" y="3990976"/>
                <a:ext cx="98425" cy="123825"/>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39" name="Freeform 15"/>
              <p:cNvSpPr>
                <a:spLocks/>
              </p:cNvSpPr>
              <p:nvPr/>
            </p:nvSpPr>
            <p:spPr bwMode="black">
              <a:xfrm>
                <a:off x="3902076" y="4189413"/>
                <a:ext cx="101600" cy="128588"/>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40" name="Freeform 16"/>
              <p:cNvSpPr>
                <a:spLocks/>
              </p:cNvSpPr>
              <p:nvPr/>
            </p:nvSpPr>
            <p:spPr bwMode="black">
              <a:xfrm>
                <a:off x="4989513" y="4189413"/>
                <a:ext cx="98425" cy="128588"/>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41" name="Freeform 17"/>
              <p:cNvSpPr>
                <a:spLocks/>
              </p:cNvSpPr>
              <p:nvPr/>
            </p:nvSpPr>
            <p:spPr bwMode="black">
              <a:xfrm>
                <a:off x="4873626" y="3990976"/>
                <a:ext cx="98425" cy="123825"/>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42" name="Freeform 18"/>
              <p:cNvSpPr>
                <a:spLocks/>
              </p:cNvSpPr>
              <p:nvPr/>
            </p:nvSpPr>
            <p:spPr bwMode="black">
              <a:xfrm>
                <a:off x="3579813" y="2892426"/>
                <a:ext cx="1833563" cy="1068388"/>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43" name="Freeform 19"/>
              <p:cNvSpPr>
                <a:spLocks noEditPoints="1"/>
              </p:cNvSpPr>
              <p:nvPr/>
            </p:nvSpPr>
            <p:spPr bwMode="black">
              <a:xfrm>
                <a:off x="3321051" y="1598613"/>
                <a:ext cx="750888" cy="522288"/>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44" name="Freeform 20"/>
              <p:cNvSpPr>
                <a:spLocks/>
              </p:cNvSpPr>
              <p:nvPr/>
            </p:nvSpPr>
            <p:spPr bwMode="black">
              <a:xfrm>
                <a:off x="3178176" y="2154238"/>
                <a:ext cx="1035050" cy="239713"/>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45" name="Freeform 21"/>
              <p:cNvSpPr>
                <a:spLocks noEditPoints="1"/>
              </p:cNvSpPr>
              <p:nvPr/>
            </p:nvSpPr>
            <p:spPr bwMode="black">
              <a:xfrm>
                <a:off x="4730751" y="1639888"/>
                <a:ext cx="781050" cy="608013"/>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46" name="Freeform 22"/>
              <p:cNvSpPr>
                <a:spLocks/>
              </p:cNvSpPr>
              <p:nvPr/>
            </p:nvSpPr>
            <p:spPr bwMode="black">
              <a:xfrm>
                <a:off x="4911726" y="2289176"/>
                <a:ext cx="419100" cy="104775"/>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47" name="Freeform 23"/>
              <p:cNvSpPr>
                <a:spLocks noEditPoints="1"/>
              </p:cNvSpPr>
              <p:nvPr/>
            </p:nvSpPr>
            <p:spPr bwMode="black">
              <a:xfrm>
                <a:off x="5586413" y="1639888"/>
                <a:ext cx="385763" cy="754063"/>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48" name="Freeform 24"/>
              <p:cNvSpPr>
                <a:spLocks noEditPoints="1"/>
              </p:cNvSpPr>
              <p:nvPr/>
            </p:nvSpPr>
            <p:spPr bwMode="black">
              <a:xfrm>
                <a:off x="2462213" y="3032126"/>
                <a:ext cx="525463" cy="804863"/>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49" name="Freeform 25"/>
              <p:cNvSpPr>
                <a:spLocks noEditPoints="1"/>
              </p:cNvSpPr>
              <p:nvPr/>
            </p:nvSpPr>
            <p:spPr bwMode="black">
              <a:xfrm>
                <a:off x="5049838" y="4411663"/>
                <a:ext cx="739775" cy="854075"/>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50" name="Freeform 26"/>
              <p:cNvSpPr>
                <a:spLocks noEditPoints="1"/>
              </p:cNvSpPr>
              <p:nvPr/>
            </p:nvSpPr>
            <p:spPr bwMode="black">
              <a:xfrm>
                <a:off x="6043613" y="2960688"/>
                <a:ext cx="641350" cy="876300"/>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51" name="Oval 27"/>
              <p:cNvSpPr>
                <a:spLocks noChangeArrowheads="1"/>
              </p:cNvSpPr>
              <p:nvPr/>
            </p:nvSpPr>
            <p:spPr bwMode="black">
              <a:xfrm>
                <a:off x="6224588" y="3725863"/>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52" name="Oval 28"/>
              <p:cNvSpPr>
                <a:spLocks noChangeArrowheads="1"/>
              </p:cNvSpPr>
              <p:nvPr/>
            </p:nvSpPr>
            <p:spPr bwMode="black">
              <a:xfrm>
                <a:off x="6453188" y="3725863"/>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53" name="Oval 29"/>
              <p:cNvSpPr>
                <a:spLocks noChangeArrowheads="1"/>
              </p:cNvSpPr>
              <p:nvPr/>
            </p:nvSpPr>
            <p:spPr bwMode="black">
              <a:xfrm>
                <a:off x="6340476" y="3725863"/>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54" name="Freeform 30"/>
              <p:cNvSpPr>
                <a:spLocks/>
              </p:cNvSpPr>
              <p:nvPr/>
            </p:nvSpPr>
            <p:spPr bwMode="black">
              <a:xfrm>
                <a:off x="3425826" y="4279901"/>
                <a:ext cx="442913" cy="16192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55" name="Freeform 31"/>
              <p:cNvSpPr>
                <a:spLocks noEditPoints="1"/>
              </p:cNvSpPr>
              <p:nvPr/>
            </p:nvSpPr>
            <p:spPr bwMode="black">
              <a:xfrm>
                <a:off x="3414713" y="4456113"/>
                <a:ext cx="476250" cy="80962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grpSp>
      </p:grpSp>
      <p:grpSp>
        <p:nvGrpSpPr>
          <p:cNvPr id="56" name="Group 55"/>
          <p:cNvGrpSpPr/>
          <p:nvPr/>
        </p:nvGrpSpPr>
        <p:grpSpPr>
          <a:xfrm>
            <a:off x="426564" y="3447686"/>
            <a:ext cx="6320920" cy="709416"/>
            <a:chOff x="473011" y="3222620"/>
            <a:chExt cx="6320920" cy="709416"/>
          </a:xfrm>
        </p:grpSpPr>
        <p:grpSp>
          <p:nvGrpSpPr>
            <p:cNvPr id="57" name="Group 56"/>
            <p:cNvGrpSpPr/>
            <p:nvPr/>
          </p:nvGrpSpPr>
          <p:grpSpPr>
            <a:xfrm>
              <a:off x="473011" y="3222620"/>
              <a:ext cx="6320920" cy="709416"/>
              <a:chOff x="330771" y="4208462"/>
              <a:chExt cx="6320920" cy="709416"/>
            </a:xfrm>
          </p:grpSpPr>
          <p:sp>
            <p:nvSpPr>
              <p:cNvPr id="60" name="Rectangle 59"/>
              <p:cNvSpPr/>
              <p:nvPr/>
            </p:nvSpPr>
            <p:spPr bwMode="auto">
              <a:xfrm>
                <a:off x="330771" y="4208462"/>
                <a:ext cx="6320920" cy="709416"/>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6" tIns="143428" rIns="179285" bIns="143428" numCol="1" spcCol="0" rtlCol="0" fromWordArt="0" anchor="ctr" anchorCtr="0" forceAA="0" compatLnSpc="1">
                <a:prstTxWarp prst="textNoShape">
                  <a:avLst/>
                </a:prstTxWarp>
                <a:noAutofit/>
              </a:bodyPr>
              <a:lstStyle/>
              <a:p>
                <a:pPr marL="685800" defTabSz="914367" fontAlgn="base">
                  <a:lnSpc>
                    <a:spcPct val="90000"/>
                  </a:lnSpc>
                  <a:spcBef>
                    <a:spcPct val="20000"/>
                  </a:spcBef>
                  <a:spcAft>
                    <a:spcPct val="0"/>
                  </a:spcAft>
                  <a:buSzPct val="90000"/>
                </a:pPr>
                <a:r>
                  <a:rPr lang="zh-TW" altLang="en-US" sz="2000" dirty="0">
                    <a:ln w="3175">
                      <a:noFill/>
                    </a:ln>
                    <a:solidFill>
                      <a:srgbClr val="000000"/>
                    </a:solidFill>
                    <a:latin typeface="Calibri Light" panose="020F0302020204030204"/>
                  </a:rPr>
                  <a:t>安全、即時連結您的資料來源，不論是在自家機房還是在雲端平台</a:t>
                </a:r>
                <a:endParaRPr lang="en-US" sz="2000" dirty="0">
                  <a:ln w="3175">
                    <a:noFill/>
                  </a:ln>
                  <a:solidFill>
                    <a:srgbClr val="000000"/>
                  </a:solidFill>
                  <a:latin typeface="Calibri Light" panose="020F0302020204030204"/>
                </a:endParaRPr>
              </a:p>
            </p:txBody>
          </p:sp>
          <p:sp>
            <p:nvSpPr>
              <p:cNvPr id="61" name="Rectangle 60"/>
              <p:cNvSpPr/>
              <p:nvPr/>
            </p:nvSpPr>
            <p:spPr bwMode="auto">
              <a:xfrm>
                <a:off x="330772" y="4208462"/>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sp>
          <p:nvSpPr>
            <p:cNvPr id="58" name="Freeform 57"/>
            <p:cNvSpPr>
              <a:spLocks noChangeAspect="1" noEditPoints="1"/>
            </p:cNvSpPr>
            <p:nvPr/>
          </p:nvSpPr>
          <p:spPr bwMode="auto">
            <a:xfrm>
              <a:off x="838238" y="3382840"/>
              <a:ext cx="184378" cy="365760"/>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F2C812"/>
            </a:solidFill>
            <a:ln>
              <a:noFill/>
            </a:ln>
            <a:extLst/>
          </p:spPr>
          <p:txBody>
            <a:bodyPr vert="horz" wrap="square" lIns="87855" tIns="43927" rIns="87855" bIns="43927"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2307" dirty="0">
                <a:solidFill>
                  <a:srgbClr val="000000"/>
                </a:solidFill>
              </a:endParaRPr>
            </a:p>
          </p:txBody>
        </p:sp>
        <p:sp>
          <p:nvSpPr>
            <p:cNvPr id="59" name="Freeform 58"/>
            <p:cNvSpPr>
              <a:spLocks noChangeAspect="1" noEditPoints="1"/>
            </p:cNvSpPr>
            <p:nvPr/>
          </p:nvSpPr>
          <p:spPr bwMode="black">
            <a:xfrm>
              <a:off x="559446" y="3562769"/>
              <a:ext cx="293634" cy="182880"/>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rgbClr val="F2C812"/>
            </a:solidFill>
            <a:ln w="19050">
              <a:solidFill>
                <a:srgbClr val="F2C812"/>
              </a:solid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ln w="19050">
                  <a:solidFill>
                    <a:schemeClr val="tx1"/>
                  </a:solidFill>
                </a:ln>
              </a:endParaRPr>
            </a:p>
          </p:txBody>
        </p:sp>
      </p:grpSp>
      <p:grpSp>
        <p:nvGrpSpPr>
          <p:cNvPr id="62" name="Group 61"/>
          <p:cNvGrpSpPr/>
          <p:nvPr/>
        </p:nvGrpSpPr>
        <p:grpSpPr>
          <a:xfrm>
            <a:off x="6986269" y="2741845"/>
            <a:ext cx="5059237" cy="2459479"/>
            <a:chOff x="7018864" y="2257415"/>
            <a:chExt cx="5059237" cy="2459479"/>
          </a:xfrm>
        </p:grpSpPr>
        <p:grpSp>
          <p:nvGrpSpPr>
            <p:cNvPr id="63" name="Group 62"/>
            <p:cNvGrpSpPr/>
            <p:nvPr/>
          </p:nvGrpSpPr>
          <p:grpSpPr>
            <a:xfrm>
              <a:off x="7018864" y="2257415"/>
              <a:ext cx="5059237" cy="2459479"/>
              <a:chOff x="7018864" y="2257415"/>
              <a:chExt cx="5059237" cy="2459479"/>
            </a:xfrm>
          </p:grpSpPr>
          <p:grpSp>
            <p:nvGrpSpPr>
              <p:cNvPr id="65" name="Group 64"/>
              <p:cNvGrpSpPr>
                <a:grpSpLocks noChangeAspect="1"/>
              </p:cNvGrpSpPr>
              <p:nvPr/>
            </p:nvGrpSpPr>
            <p:grpSpPr>
              <a:xfrm>
                <a:off x="10432181" y="2257415"/>
                <a:ext cx="548640" cy="1042085"/>
                <a:chOff x="10286449" y="1529656"/>
                <a:chExt cx="917410" cy="1742525"/>
              </a:xfrm>
            </p:grpSpPr>
            <p:sp>
              <p:nvSpPr>
                <p:cNvPr id="76" name="Rounded Rectangle 75"/>
                <p:cNvSpPr/>
                <p:nvPr/>
              </p:nvSpPr>
              <p:spPr bwMode="auto">
                <a:xfrm>
                  <a:off x="10493458" y="1529656"/>
                  <a:ext cx="489183" cy="1739862"/>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77" name="Picture 76"/>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10372236" y="1690687"/>
                  <a:ext cx="745838" cy="1344992"/>
                </a:xfrm>
                <a:prstGeom prst="rect">
                  <a:avLst/>
                </a:prstGeom>
                <a:noFill/>
                <a:ln>
                  <a:noFill/>
                </a:ln>
              </p:spPr>
            </p:pic>
            <p:pic>
              <p:nvPicPr>
                <p:cNvPr id="78" name="Picture 77"/>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10372230" y="1818052"/>
                  <a:ext cx="745838" cy="1112933"/>
                </a:xfrm>
                <a:prstGeom prst="rect">
                  <a:avLst/>
                </a:prstGeom>
              </p:spPr>
            </p:pic>
            <p:sp>
              <p:nvSpPr>
                <p:cNvPr id="79" name="Rounded Rectangle 223"/>
                <p:cNvSpPr/>
                <p:nvPr/>
              </p:nvSpPr>
              <p:spPr bwMode="auto">
                <a:xfrm>
                  <a:off x="10286449" y="1529656"/>
                  <a:ext cx="917410" cy="1742525"/>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800" spc="-49" dirty="0">
                    <a:solidFill>
                      <a:srgbClr val="68217A"/>
                    </a:solidFill>
                    <a:ea typeface="Segoe UI" pitchFamily="34" charset="0"/>
                    <a:cs typeface="Segoe UI" pitchFamily="34" charset="0"/>
                  </a:endParaRPr>
                </a:p>
              </p:txBody>
            </p:sp>
          </p:grpSp>
          <p:sp>
            <p:nvSpPr>
              <p:cNvPr id="66" name="Freeform 1383"/>
              <p:cNvSpPr>
                <a:spLocks noChangeAspect="1" noEditPoints="1"/>
              </p:cNvSpPr>
              <p:nvPr/>
            </p:nvSpPr>
            <p:spPr bwMode="auto">
              <a:xfrm>
                <a:off x="7018864" y="2534980"/>
                <a:ext cx="3840480" cy="2181914"/>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chemeClr val="accent3">
                  <a:lumMod val="50000"/>
                </a:schemeClr>
              </a:solidFill>
              <a:ln w="9525">
                <a:solidFill>
                  <a:schemeClr val="bg1"/>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600" dirty="0">
                  <a:solidFill>
                    <a:srgbClr val="000000"/>
                  </a:solidFill>
                </a:endParaRPr>
              </a:p>
            </p:txBody>
          </p:sp>
          <p:grpSp>
            <p:nvGrpSpPr>
              <p:cNvPr id="67" name="Group 66"/>
              <p:cNvGrpSpPr>
                <a:grpSpLocks noChangeAspect="1"/>
              </p:cNvGrpSpPr>
              <p:nvPr/>
            </p:nvGrpSpPr>
            <p:grpSpPr>
              <a:xfrm>
                <a:off x="10432181" y="3352369"/>
                <a:ext cx="1645920" cy="1132186"/>
                <a:chOff x="1117586" y="1978512"/>
                <a:chExt cx="2372574" cy="1629558"/>
              </a:xfrm>
            </p:grpSpPr>
            <p:pic>
              <p:nvPicPr>
                <p:cNvPr id="68" name="Picture 67"/>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1309718" y="2130700"/>
                  <a:ext cx="1845671" cy="1326874"/>
                </a:xfrm>
                <a:prstGeom prst="rect">
                  <a:avLst/>
                </a:prstGeom>
                <a:noFill/>
                <a:ln>
                  <a:noFill/>
                </a:ln>
              </p:spPr>
            </p:pic>
            <p:grpSp>
              <p:nvGrpSpPr>
                <p:cNvPr id="69" name="Group 68"/>
                <p:cNvGrpSpPr/>
                <p:nvPr/>
              </p:nvGrpSpPr>
              <p:grpSpPr>
                <a:xfrm>
                  <a:off x="1307936" y="2212479"/>
                  <a:ext cx="1844519" cy="1136088"/>
                  <a:chOff x="1276066" y="3677905"/>
                  <a:chExt cx="2524835" cy="1555113"/>
                </a:xfrm>
              </p:grpSpPr>
              <p:pic>
                <p:nvPicPr>
                  <p:cNvPr id="74" name="Picture 73"/>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1276066" y="3677905"/>
                    <a:ext cx="2524835" cy="1555113"/>
                  </a:xfrm>
                  <a:prstGeom prst="rect">
                    <a:avLst/>
                  </a:prstGeom>
                </p:spPr>
              </p:pic>
              <p:pic>
                <p:nvPicPr>
                  <p:cNvPr id="75" name="Picture 74"/>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524585" y="4449793"/>
                    <a:ext cx="1269242" cy="783225"/>
                  </a:xfrm>
                  <a:prstGeom prst="rect">
                    <a:avLst/>
                  </a:prstGeom>
                </p:spPr>
              </p:pic>
            </p:grpSp>
            <p:grpSp>
              <p:nvGrpSpPr>
                <p:cNvPr id="70" name="Group 69"/>
                <p:cNvGrpSpPr/>
                <p:nvPr/>
              </p:nvGrpSpPr>
              <p:grpSpPr>
                <a:xfrm>
                  <a:off x="1117586" y="1978512"/>
                  <a:ext cx="2372574" cy="1629558"/>
                  <a:chOff x="1117586" y="1978512"/>
                  <a:chExt cx="2372574" cy="1629558"/>
                </a:xfrm>
              </p:grpSpPr>
              <p:sp>
                <p:nvSpPr>
                  <p:cNvPr id="71" name="Rounded Rectangle 89"/>
                  <p:cNvSpPr>
                    <a:spLocks noChangeAspect="1"/>
                  </p:cNvSpPr>
                  <p:nvPr/>
                </p:nvSpPr>
                <p:spPr bwMode="auto">
                  <a:xfrm rot="16200000">
                    <a:off x="1489094" y="1607004"/>
                    <a:ext cx="1629558" cy="2372574"/>
                  </a:xfrm>
                  <a:custGeom>
                    <a:avLst/>
                    <a:gdLst/>
                    <a:ahLst/>
                    <a:cxnLst/>
                    <a:rect l="l" t="t" r="r" b="b"/>
                    <a:pathLst>
                      <a:path w="3265981" h="3654426">
                        <a:moveTo>
                          <a:pt x="2686301" y="3311991"/>
                        </a:moveTo>
                        <a:cubicBezTo>
                          <a:pt x="2647724" y="3311991"/>
                          <a:pt x="2616451" y="3343264"/>
                          <a:pt x="2616451" y="3381841"/>
                        </a:cubicBezTo>
                        <a:cubicBezTo>
                          <a:pt x="2616451" y="3420417"/>
                          <a:pt x="2647724" y="3451690"/>
                          <a:pt x="2686301" y="3451690"/>
                        </a:cubicBezTo>
                        <a:lnTo>
                          <a:pt x="2698749" y="3451691"/>
                        </a:lnTo>
                        <a:cubicBezTo>
                          <a:pt x="2737326" y="3451691"/>
                          <a:pt x="2768599" y="3420418"/>
                          <a:pt x="2768599" y="3381841"/>
                        </a:cubicBezTo>
                        <a:lnTo>
                          <a:pt x="2768600" y="3381841"/>
                        </a:lnTo>
                        <a:cubicBezTo>
                          <a:pt x="2768600" y="3343264"/>
                          <a:pt x="2737327" y="3311991"/>
                          <a:pt x="2698750" y="3311991"/>
                        </a:cubicBezTo>
                        <a:close/>
                        <a:moveTo>
                          <a:pt x="2477370" y="3311991"/>
                        </a:moveTo>
                        <a:cubicBezTo>
                          <a:pt x="2438793" y="3311991"/>
                          <a:pt x="2407520" y="3343264"/>
                          <a:pt x="2407520" y="3381841"/>
                        </a:cubicBezTo>
                        <a:cubicBezTo>
                          <a:pt x="2407520" y="3420417"/>
                          <a:pt x="2438793" y="3451690"/>
                          <a:pt x="2477370" y="3451690"/>
                        </a:cubicBezTo>
                        <a:lnTo>
                          <a:pt x="2490960" y="3451691"/>
                        </a:lnTo>
                        <a:cubicBezTo>
                          <a:pt x="2529537" y="3451691"/>
                          <a:pt x="2560810" y="3420418"/>
                          <a:pt x="2560810" y="3381841"/>
                        </a:cubicBezTo>
                        <a:lnTo>
                          <a:pt x="2560811" y="3381841"/>
                        </a:lnTo>
                        <a:cubicBezTo>
                          <a:pt x="2560811" y="3343264"/>
                          <a:pt x="2529538" y="3311991"/>
                          <a:pt x="2490961" y="3311991"/>
                        </a:cubicBezTo>
                        <a:close/>
                        <a:moveTo>
                          <a:pt x="1951037" y="3311991"/>
                        </a:moveTo>
                        <a:cubicBezTo>
                          <a:pt x="1912460" y="3311991"/>
                          <a:pt x="1881187" y="3343264"/>
                          <a:pt x="1881187" y="3381841"/>
                        </a:cubicBezTo>
                        <a:cubicBezTo>
                          <a:pt x="1881187" y="3420417"/>
                          <a:pt x="1912460" y="3451690"/>
                          <a:pt x="1951037" y="3451690"/>
                        </a:cubicBezTo>
                        <a:lnTo>
                          <a:pt x="2282030" y="3451691"/>
                        </a:lnTo>
                        <a:cubicBezTo>
                          <a:pt x="2320607" y="3451691"/>
                          <a:pt x="2351880" y="3420418"/>
                          <a:pt x="2351880" y="3381841"/>
                        </a:cubicBezTo>
                        <a:lnTo>
                          <a:pt x="2351881" y="3381841"/>
                        </a:lnTo>
                        <a:cubicBezTo>
                          <a:pt x="2351881" y="3343264"/>
                          <a:pt x="2320608" y="3311991"/>
                          <a:pt x="2282031" y="3311991"/>
                        </a:cubicBezTo>
                        <a:close/>
                        <a:moveTo>
                          <a:pt x="299489" y="299430"/>
                        </a:moveTo>
                        <a:lnTo>
                          <a:pt x="299489" y="3141056"/>
                        </a:lnTo>
                        <a:lnTo>
                          <a:pt x="2966489" y="3141056"/>
                        </a:lnTo>
                        <a:lnTo>
                          <a:pt x="2966489" y="299430"/>
                        </a:lnTo>
                        <a:close/>
                        <a:moveTo>
                          <a:pt x="134787" y="0"/>
                        </a:moveTo>
                        <a:lnTo>
                          <a:pt x="3131194" y="0"/>
                        </a:lnTo>
                        <a:cubicBezTo>
                          <a:pt x="3205635" y="0"/>
                          <a:pt x="3265981" y="60346"/>
                          <a:pt x="3265981" y="134787"/>
                        </a:cubicBezTo>
                        <a:lnTo>
                          <a:pt x="3265981" y="3519639"/>
                        </a:lnTo>
                        <a:cubicBezTo>
                          <a:pt x="3265981" y="3594080"/>
                          <a:pt x="3205635" y="3654426"/>
                          <a:pt x="3131194" y="3654426"/>
                        </a:cubicBezTo>
                        <a:lnTo>
                          <a:pt x="134787" y="3654426"/>
                        </a:lnTo>
                        <a:cubicBezTo>
                          <a:pt x="60346" y="3654426"/>
                          <a:pt x="0" y="3594080"/>
                          <a:pt x="0" y="3519639"/>
                        </a:cubicBezTo>
                        <a:lnTo>
                          <a:pt x="0" y="134787"/>
                        </a:lnTo>
                        <a:cubicBezTo>
                          <a:pt x="0" y="60346"/>
                          <a:pt x="60346" y="0"/>
                          <a:pt x="134787"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800" spc="-49" dirty="0">
                      <a:solidFill>
                        <a:srgbClr val="68217A"/>
                      </a:solidFill>
                      <a:ea typeface="Segoe UI" pitchFamily="34" charset="0"/>
                      <a:cs typeface="Segoe UI" pitchFamily="34" charset="0"/>
                    </a:endParaRPr>
                  </a:p>
                </p:txBody>
              </p:sp>
              <p:sp>
                <p:nvSpPr>
                  <p:cNvPr id="72" name="Rectangle 71"/>
                  <p:cNvSpPr/>
                  <p:nvPr/>
                </p:nvSpPr>
                <p:spPr bwMode="auto">
                  <a:xfrm>
                    <a:off x="3172854" y="2198842"/>
                    <a:ext cx="307998" cy="808750"/>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73" name="Picture 72"/>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3229523" y="2739186"/>
                    <a:ext cx="195334" cy="108208"/>
                  </a:xfrm>
                  <a:prstGeom prst="rect">
                    <a:avLst/>
                  </a:prstGeom>
                </p:spPr>
              </p:pic>
            </p:grpSp>
          </p:grpSp>
        </p:grpSp>
        <p:pic>
          <p:nvPicPr>
            <p:cNvPr id="64" name="Picture 63"/>
            <p:cNvPicPr>
              <a:picLocks noChangeAspect="1"/>
            </p:cNvPicPr>
            <p:nvPr/>
          </p:nvPicPr>
          <p:blipFill>
            <a:blip r:embed="rId11"/>
            <a:stretch>
              <a:fillRect/>
            </a:stretch>
          </p:blipFill>
          <p:spPr>
            <a:xfrm>
              <a:off x="7626151" y="2638675"/>
              <a:ext cx="2647950" cy="1733550"/>
            </a:xfrm>
            <a:prstGeom prst="rect">
              <a:avLst/>
            </a:prstGeom>
          </p:spPr>
        </p:pic>
      </p:grpSp>
    </p:spTree>
    <p:extLst>
      <p:ext uri="{BB962C8B-B14F-4D97-AF65-F5344CB8AC3E}">
        <p14:creationId xmlns:p14="http://schemas.microsoft.com/office/powerpoint/2010/main" val="1205268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6"/>
                                        </p:tgtEl>
                                        <p:attrNameLst>
                                          <p:attrName>style.visibility</p:attrName>
                                        </p:attrNameLst>
                                      </p:cBhvr>
                                      <p:to>
                                        <p:strVal val="visible"/>
                                      </p:to>
                                    </p:set>
                                    <p:animEffect transition="in" filter="fade">
                                      <p:cBhvr>
                                        <p:cTn id="17" dur="500"/>
                                        <p:tgtEl>
                                          <p:spTgt spid="5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6"/>
                                        </p:tgtEl>
                                        <p:attrNameLst>
                                          <p:attrName>style.visibility</p:attrName>
                                        </p:attrNameLst>
                                      </p:cBhvr>
                                      <p:to>
                                        <p:strVal val="visible"/>
                                      </p:to>
                                    </p:set>
                                    <p:animEffect transition="in" filter="fade">
                                      <p:cBhvr>
                                        <p:cTn id="32"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Creating and exploring reports</a:t>
            </a:r>
            <a:endParaRPr lang="en-US" dirty="0"/>
          </a:p>
        </p:txBody>
      </p:sp>
      <p:sp>
        <p:nvSpPr>
          <p:cNvPr id="3" name="Content Placeholder 2"/>
          <p:cNvSpPr>
            <a:spLocks noGrp="1"/>
          </p:cNvSpPr>
          <p:nvPr>
            <p:ph sz="quarter" idx="10"/>
          </p:nvPr>
        </p:nvSpPr>
        <p:spPr/>
        <p:txBody>
          <a:bodyPr/>
          <a:lstStyle/>
          <a:p>
            <a:r>
              <a:rPr lang="en-AU" dirty="0"/>
              <a:t>Exploring reports</a:t>
            </a:r>
            <a:endParaRPr lang="en-US" dirty="0"/>
          </a:p>
        </p:txBody>
      </p:sp>
      <p:sp>
        <p:nvSpPr>
          <p:cNvPr id="4" name="Text Placeholder 3"/>
          <p:cNvSpPr>
            <a:spLocks noGrp="1"/>
          </p:cNvSpPr>
          <p:nvPr>
            <p:ph type="body" sz="quarter" idx="11"/>
          </p:nvPr>
        </p:nvSpPr>
        <p:spPr/>
        <p:txBody>
          <a:bodyPr>
            <a:normAutofit lnSpcReduction="10000"/>
          </a:bodyPr>
          <a:lstStyle/>
          <a:p>
            <a:r>
              <a:rPr lang="en-AU" dirty="0"/>
              <a:t>Reports are either in </a:t>
            </a:r>
            <a:r>
              <a:rPr lang="en-AU" b="1" dirty="0"/>
              <a:t>Reading View </a:t>
            </a:r>
            <a:r>
              <a:rPr lang="en-AU" dirty="0"/>
              <a:t>or </a:t>
            </a:r>
            <a:r>
              <a:rPr lang="en-AU" b="1" dirty="0"/>
              <a:t>Editing View</a:t>
            </a:r>
          </a:p>
          <a:p>
            <a:pPr lvl="1"/>
            <a:r>
              <a:rPr lang="en-AU" dirty="0"/>
              <a:t>In both views, report pages can be opened in </a:t>
            </a:r>
            <a:r>
              <a:rPr lang="en-AU" b="1" dirty="0"/>
              <a:t>Full Screen Mode</a:t>
            </a:r>
            <a:r>
              <a:rPr lang="en-AU" dirty="0"/>
              <a:t>, or individual visualizations can be popped out/in to see them zoomed in/out</a:t>
            </a:r>
          </a:p>
          <a:p>
            <a:r>
              <a:rPr lang="en-AU" dirty="0"/>
              <a:t>In Reading View:</a:t>
            </a:r>
          </a:p>
          <a:p>
            <a:pPr lvl="1"/>
            <a:r>
              <a:rPr lang="en-AU" dirty="0"/>
              <a:t>Users cannot change the report definition</a:t>
            </a:r>
          </a:p>
          <a:p>
            <a:pPr lvl="1"/>
            <a:r>
              <a:rPr lang="en-AU" dirty="0"/>
              <a:t>Users can interact by changing filters or sorting</a:t>
            </a:r>
          </a:p>
          <a:p>
            <a:pPr lvl="1"/>
            <a:r>
              <a:rPr lang="en-AU" dirty="0"/>
              <a:t>Users can highlight values in one visualization to filter other page visualizations</a:t>
            </a:r>
          </a:p>
          <a:p>
            <a:pPr lvl="1"/>
            <a:r>
              <a:rPr lang="en-AU" dirty="0"/>
              <a:t>Shared reports can only be opened in Reading View</a:t>
            </a:r>
          </a:p>
          <a:p>
            <a:r>
              <a:rPr lang="en-AU" dirty="0"/>
              <a:t>In Editing View:</a:t>
            </a:r>
          </a:p>
          <a:p>
            <a:pPr lvl="1"/>
            <a:r>
              <a:rPr lang="en-AU" dirty="0"/>
              <a:t>Users can interact, as in Reading View</a:t>
            </a:r>
          </a:p>
          <a:p>
            <a:pPr lvl="1"/>
            <a:r>
              <a:rPr lang="en-AU" dirty="0"/>
              <a:t>Users can also update the report (add/remove/reorder pages or visualizations)</a:t>
            </a:r>
          </a:p>
          <a:p>
            <a:pPr lvl="1"/>
            <a:endParaRPr lang="en-US" dirty="0"/>
          </a:p>
        </p:txBody>
      </p:sp>
    </p:spTree>
    <p:extLst>
      <p:ext uri="{BB962C8B-B14F-4D97-AF65-F5344CB8AC3E}">
        <p14:creationId xmlns:p14="http://schemas.microsoft.com/office/powerpoint/2010/main" val="3862765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Assembling dashboards</a:t>
            </a:r>
            <a:endParaRPr lang="en-US" dirty="0"/>
          </a:p>
        </p:txBody>
      </p:sp>
      <p:sp>
        <p:nvSpPr>
          <p:cNvPr id="4" name="Text Placeholder 3"/>
          <p:cNvSpPr>
            <a:spLocks noGrp="1"/>
          </p:cNvSpPr>
          <p:nvPr>
            <p:ph type="body" sz="quarter" idx="11"/>
          </p:nvPr>
        </p:nvSpPr>
        <p:spPr>
          <a:xfrm>
            <a:off x="269875" y="1749425"/>
            <a:ext cx="5598361" cy="5108575"/>
          </a:xfrm>
        </p:spPr>
        <p:txBody>
          <a:bodyPr>
            <a:normAutofit/>
          </a:bodyPr>
          <a:lstStyle/>
          <a:p>
            <a:r>
              <a:rPr lang="en-AU" dirty="0"/>
              <a:t>Dashboards display tiles in a single canvas</a:t>
            </a:r>
          </a:p>
          <a:p>
            <a:pPr lvl="1"/>
            <a:r>
              <a:rPr lang="en-AU" dirty="0"/>
              <a:t>A tile is sourced by “pinning” either a report, report visualization, or a Q&amp;A response</a:t>
            </a:r>
          </a:p>
          <a:p>
            <a:pPr lvl="1"/>
            <a:r>
              <a:rPr lang="en-AU" dirty="0"/>
              <a:t>A dashboard can be based on one or more datasets</a:t>
            </a:r>
          </a:p>
          <a:p>
            <a:pPr lvl="1"/>
            <a:r>
              <a:rPr lang="en-AU" dirty="0"/>
              <a:t>Tiles can be resized and repositioned, and their titles/subtitles can be updated</a:t>
            </a:r>
          </a:p>
          <a:p>
            <a:pPr lvl="2"/>
            <a:r>
              <a:rPr lang="en-AU" dirty="0"/>
              <a:t>Tiles can be sized to 1-5 units wide/high</a:t>
            </a:r>
          </a:p>
        </p:txBody>
      </p:sp>
      <p:sp>
        <p:nvSpPr>
          <p:cNvPr id="11" name="Content Placeholder 10"/>
          <p:cNvSpPr>
            <a:spLocks noGrp="1"/>
          </p:cNvSpPr>
          <p:nvPr>
            <p:ph sz="quarter" idx="10"/>
          </p:nvPr>
        </p:nvSpPr>
        <p:spPr/>
        <p:txBody>
          <a:bodyPr/>
          <a:lstStyle/>
          <a:p>
            <a:endParaRPr lang="en-AU"/>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36700" y="1749425"/>
            <a:ext cx="5167695" cy="4723273"/>
          </a:xfrm>
          <a:prstGeom prst="rect">
            <a:avLst/>
          </a:prstGeom>
        </p:spPr>
      </p:pic>
    </p:spTree>
    <p:extLst>
      <p:ext uri="{BB962C8B-B14F-4D97-AF65-F5344CB8AC3E}">
        <p14:creationId xmlns:p14="http://schemas.microsoft.com/office/powerpoint/2010/main" val="807210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Assembling dashboards</a:t>
            </a:r>
            <a:endParaRPr lang="en-US" dirty="0"/>
          </a:p>
        </p:txBody>
      </p:sp>
      <p:sp>
        <p:nvSpPr>
          <p:cNvPr id="4" name="Text Placeholder 3"/>
          <p:cNvSpPr>
            <a:spLocks noGrp="1"/>
          </p:cNvSpPr>
          <p:nvPr>
            <p:ph type="body" sz="quarter" idx="11"/>
          </p:nvPr>
        </p:nvSpPr>
        <p:spPr>
          <a:xfrm>
            <a:off x="269876" y="1749425"/>
            <a:ext cx="5266766" cy="5108575"/>
          </a:xfrm>
        </p:spPr>
        <p:txBody>
          <a:bodyPr>
            <a:normAutofit/>
          </a:bodyPr>
          <a:lstStyle/>
          <a:p>
            <a:r>
              <a:rPr lang="en-AU" dirty="0"/>
              <a:t>Tiles can be opened in </a:t>
            </a:r>
            <a:r>
              <a:rPr lang="en-AU" b="1" dirty="0"/>
              <a:t>In-Focus Mode</a:t>
            </a:r>
            <a:r>
              <a:rPr lang="en-AU" dirty="0"/>
              <a:t>, filling the dashboard space</a:t>
            </a:r>
          </a:p>
          <a:p>
            <a:pPr lvl="1"/>
            <a:r>
              <a:rPr lang="en-AU" dirty="0"/>
              <a:t>The data last updated date is displayed</a:t>
            </a:r>
          </a:p>
          <a:p>
            <a:pPr lvl="1"/>
            <a:r>
              <a:rPr lang="en-AU" dirty="0"/>
              <a:t>Not available for tiles sourced from Q&amp;A questions</a:t>
            </a:r>
          </a:p>
          <a:p>
            <a:r>
              <a:rPr lang="en-AU" dirty="0"/>
              <a:t>Data can also be exported</a:t>
            </a:r>
          </a:p>
        </p:txBody>
      </p:sp>
      <p:sp>
        <p:nvSpPr>
          <p:cNvPr id="11" name="Content Placeholder 10"/>
          <p:cNvSpPr>
            <a:spLocks noGrp="1"/>
          </p:cNvSpPr>
          <p:nvPr>
            <p:ph sz="quarter" idx="10"/>
          </p:nvPr>
        </p:nvSpPr>
        <p:spPr/>
        <p:txBody>
          <a:bodyPr/>
          <a:lstStyle/>
          <a:p>
            <a:r>
              <a:rPr lang="en-AU" dirty="0"/>
              <a:t>Continued</a:t>
            </a:r>
          </a:p>
        </p:txBody>
      </p:sp>
      <p:pic>
        <p:nvPicPr>
          <p:cNvPr id="6" name="Picture 5"/>
          <p:cNvPicPr>
            <a:picLocks noChangeAspect="1"/>
          </p:cNvPicPr>
          <p:nvPr/>
        </p:nvPicPr>
        <p:blipFill>
          <a:blip r:embed="rId3"/>
          <a:stretch>
            <a:fillRect/>
          </a:stretch>
        </p:blipFill>
        <p:spPr>
          <a:xfrm>
            <a:off x="6755502" y="1432862"/>
            <a:ext cx="5000000" cy="3495238"/>
          </a:xfrm>
          <a:prstGeom prst="rect">
            <a:avLst/>
          </a:prstGeom>
        </p:spPr>
      </p:pic>
      <p:pic>
        <p:nvPicPr>
          <p:cNvPr id="59394" name="Picture 2" descr="C:\Users\PETERM~1\AppData\Local\Temp\SNAGHTML1254a504.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54925" y="5180926"/>
            <a:ext cx="5391150" cy="1000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7732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Assembling dashboards</a:t>
            </a:r>
            <a:endParaRPr lang="en-US" dirty="0"/>
          </a:p>
        </p:txBody>
      </p:sp>
      <p:sp>
        <p:nvSpPr>
          <p:cNvPr id="4" name="Text Placeholder 3"/>
          <p:cNvSpPr>
            <a:spLocks noGrp="1"/>
          </p:cNvSpPr>
          <p:nvPr>
            <p:ph type="body" sz="quarter" idx="11"/>
          </p:nvPr>
        </p:nvSpPr>
        <p:spPr>
          <a:xfrm>
            <a:off x="269875" y="1749425"/>
            <a:ext cx="5558169" cy="5108575"/>
          </a:xfrm>
        </p:spPr>
        <p:txBody>
          <a:bodyPr>
            <a:normAutofit/>
          </a:bodyPr>
          <a:lstStyle/>
          <a:p>
            <a:r>
              <a:rPr lang="en-AU" dirty="0"/>
              <a:t>Additionally, widgets can be added to a dashboard, using</a:t>
            </a:r>
          </a:p>
          <a:p>
            <a:pPr lvl="1"/>
            <a:r>
              <a:rPr lang="en-AU" dirty="0"/>
              <a:t>Images</a:t>
            </a:r>
          </a:p>
          <a:p>
            <a:pPr lvl="1"/>
            <a:r>
              <a:rPr lang="en-AU" dirty="0"/>
              <a:t>Text boxes</a:t>
            </a:r>
          </a:p>
          <a:p>
            <a:pPr lvl="1"/>
            <a:r>
              <a:rPr lang="en-AU" dirty="0"/>
              <a:t>Videos</a:t>
            </a:r>
          </a:p>
          <a:p>
            <a:pPr lvl="1"/>
            <a:r>
              <a:rPr lang="en-AU" dirty="0"/>
              <a:t>Web content</a:t>
            </a:r>
          </a:p>
        </p:txBody>
      </p:sp>
      <p:sp>
        <p:nvSpPr>
          <p:cNvPr id="11" name="Content Placeholder 10"/>
          <p:cNvSpPr>
            <a:spLocks noGrp="1"/>
          </p:cNvSpPr>
          <p:nvPr>
            <p:ph sz="quarter" idx="10"/>
          </p:nvPr>
        </p:nvSpPr>
        <p:spPr/>
        <p:txBody>
          <a:bodyPr/>
          <a:lstStyle/>
          <a:p>
            <a:r>
              <a:rPr lang="en-AU" dirty="0"/>
              <a:t>Continued</a:t>
            </a:r>
          </a:p>
        </p:txBody>
      </p:sp>
      <p:pic>
        <p:nvPicPr>
          <p:cNvPr id="59394" name="Picture 2" descr="Add widget dialo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7160" y="1953631"/>
            <a:ext cx="5453359" cy="43090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84229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Assembling dashboards</a:t>
            </a:r>
            <a:endParaRPr lang="en-US" dirty="0"/>
          </a:p>
        </p:txBody>
      </p:sp>
      <p:sp>
        <p:nvSpPr>
          <p:cNvPr id="3" name="Content Placeholder 2"/>
          <p:cNvSpPr>
            <a:spLocks noGrp="1"/>
          </p:cNvSpPr>
          <p:nvPr>
            <p:ph sz="quarter" idx="10"/>
          </p:nvPr>
        </p:nvSpPr>
        <p:spPr/>
        <p:txBody>
          <a:bodyPr/>
          <a:lstStyle/>
          <a:p>
            <a:r>
              <a:rPr lang="en-AU" dirty="0"/>
              <a:t>Continued</a:t>
            </a:r>
            <a:endParaRPr lang="en-US" dirty="0"/>
          </a:p>
        </p:txBody>
      </p:sp>
      <p:sp>
        <p:nvSpPr>
          <p:cNvPr id="4" name="Text Placeholder 3"/>
          <p:cNvSpPr>
            <a:spLocks noGrp="1"/>
          </p:cNvSpPr>
          <p:nvPr>
            <p:ph type="body" sz="quarter" idx="11"/>
          </p:nvPr>
        </p:nvSpPr>
        <p:spPr/>
        <p:txBody>
          <a:bodyPr>
            <a:normAutofit/>
          </a:bodyPr>
          <a:lstStyle/>
          <a:p>
            <a:r>
              <a:rPr lang="en-AU" dirty="0"/>
              <a:t>Dashboards enable interactivity</a:t>
            </a:r>
          </a:p>
          <a:p>
            <a:pPr lvl="1"/>
            <a:r>
              <a:rPr lang="en-AU" dirty="0"/>
              <a:t>By default, clicking on a tile will drill through to its source</a:t>
            </a:r>
          </a:p>
          <a:p>
            <a:pPr lvl="1"/>
            <a:r>
              <a:rPr lang="en-AU" dirty="0"/>
              <a:t>However, a custom link (URL) can be set to override this default behaviour</a:t>
            </a:r>
          </a:p>
          <a:p>
            <a:r>
              <a:rPr lang="en-AU" dirty="0"/>
              <a:t>Dashboard tiles can reflect live, real-time data</a:t>
            </a:r>
          </a:p>
          <a:p>
            <a:pPr lvl="1"/>
            <a:r>
              <a:rPr lang="en-AU" dirty="0"/>
              <a:t>For non real-time datasets, tile thumbnails are automatically cached every 15 minutes</a:t>
            </a:r>
          </a:p>
          <a:p>
            <a:r>
              <a:rPr lang="en-AU" dirty="0"/>
              <a:t>Dashboards can be displayed in </a:t>
            </a:r>
            <a:r>
              <a:rPr lang="en-AU" b="1" dirty="0"/>
              <a:t>Full Screen Mode</a:t>
            </a:r>
          </a:p>
          <a:p>
            <a:pPr lvl="1"/>
            <a:r>
              <a:rPr lang="en-AU" dirty="0"/>
              <a:t>Additionally, all tiles can be </a:t>
            </a:r>
            <a:br>
              <a:rPr lang="en-AU" dirty="0"/>
            </a:br>
            <a:r>
              <a:rPr lang="en-AU" dirty="0"/>
              <a:t>displayed by using Fit to Screen</a:t>
            </a:r>
          </a:p>
          <a:p>
            <a:endParaRPr lang="en-AU" dirty="0"/>
          </a:p>
        </p:txBody>
      </p:sp>
      <p:sp>
        <p:nvSpPr>
          <p:cNvPr id="5" name="TextBox 4"/>
          <p:cNvSpPr txBox="1"/>
          <p:nvPr/>
        </p:nvSpPr>
        <p:spPr>
          <a:xfrm>
            <a:off x="6189785" y="5531102"/>
            <a:ext cx="5417216" cy="1043363"/>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a:t>
            </a:r>
            <a:r>
              <a:rPr lang="en-US" dirty="0">
                <a:gradFill>
                  <a:gsLst>
                    <a:gs pos="2917">
                      <a:schemeClr val="tx1"/>
                    </a:gs>
                    <a:gs pos="30000">
                      <a:schemeClr val="tx1"/>
                    </a:gs>
                  </a:gsLst>
                  <a:lin ang="5400000" scaled="0"/>
                </a:gradFill>
              </a:rPr>
              <a:t>Live dashboards can be achieved with Azure Stream Analytics integration or the Power BI REST API. Both topics are covered later in this course.</a:t>
            </a:r>
          </a:p>
        </p:txBody>
      </p:sp>
    </p:spTree>
    <p:extLst>
      <p:ext uri="{BB962C8B-B14F-4D97-AF65-F5344CB8AC3E}">
        <p14:creationId xmlns:p14="http://schemas.microsoft.com/office/powerpoint/2010/main" val="3659772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04</a:t>
            </a:r>
            <a:br>
              <a:rPr lang="en-US" dirty="0"/>
            </a:br>
            <a:r>
              <a:rPr lang="zh-TW" altLang="en-US" dirty="0"/>
              <a:t>開發及擴充 </a:t>
            </a:r>
            <a:r>
              <a:rPr lang="en-US" altLang="zh-TW" dirty="0"/>
              <a:t>Power BI</a:t>
            </a:r>
            <a:endParaRPr lang="en-US" dirty="0"/>
          </a:p>
        </p:txBody>
      </p:sp>
      <p:sp>
        <p:nvSpPr>
          <p:cNvPr id="3" name="Text Placeholder 2"/>
          <p:cNvSpPr>
            <a:spLocks noGrp="1"/>
          </p:cNvSpPr>
          <p:nvPr>
            <p:ph type="body" sz="quarter" idx="10"/>
          </p:nvPr>
        </p:nvSpPr>
        <p:spPr/>
        <p:txBody>
          <a:bodyPr/>
          <a:lstStyle/>
          <a:p>
            <a:r>
              <a:rPr lang="en-AU" dirty="0"/>
              <a:t>Extending Power BI</a:t>
            </a:r>
          </a:p>
          <a:p>
            <a:r>
              <a:rPr lang="en-AU" dirty="0"/>
              <a:t>Power BI REST API</a:t>
            </a:r>
          </a:p>
          <a:p>
            <a:r>
              <a:rPr lang="en-AU" dirty="0"/>
              <a:t>Custom visuals</a:t>
            </a:r>
            <a:endParaRPr lang="en-US" dirty="0"/>
          </a:p>
          <a:p>
            <a:endParaRPr lang="en-US" dirty="0"/>
          </a:p>
        </p:txBody>
      </p:sp>
    </p:spTree>
    <p:extLst>
      <p:ext uri="{BB962C8B-B14F-4D97-AF65-F5344CB8AC3E}">
        <p14:creationId xmlns:p14="http://schemas.microsoft.com/office/powerpoint/2010/main" val="511753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a:t>擴充</a:t>
            </a:r>
            <a:r>
              <a:rPr lang="en-AU" dirty="0"/>
              <a:t> Power BI</a:t>
            </a:r>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p:txBody>
          <a:bodyPr/>
          <a:lstStyle/>
          <a:p>
            <a:r>
              <a:rPr lang="zh-TW" altLang="en-US" dirty="0"/>
              <a:t>開發人員有下列幾種方式可以加強或客製化</a:t>
            </a:r>
            <a:r>
              <a:rPr lang="en-AU" dirty="0"/>
              <a:t> Power BI </a:t>
            </a:r>
            <a:r>
              <a:rPr lang="zh-TW" altLang="en-US" dirty="0"/>
              <a:t>的功能及使用體驗</a:t>
            </a:r>
            <a:endParaRPr lang="en-AU" dirty="0"/>
          </a:p>
          <a:p>
            <a:pPr lvl="1"/>
            <a:r>
              <a:rPr lang="en-AU" dirty="0"/>
              <a:t>Power BI REST API</a:t>
            </a:r>
          </a:p>
          <a:p>
            <a:pPr lvl="1"/>
            <a:r>
              <a:rPr lang="zh-TW" altLang="en-US" dirty="0"/>
              <a:t>自訂視覺化元件</a:t>
            </a:r>
            <a:endParaRPr lang="en-AU" dirty="0"/>
          </a:p>
          <a:p>
            <a:pPr lvl="1"/>
            <a:r>
              <a:rPr lang="zh-TW" altLang="en-US" dirty="0"/>
              <a:t>將 </a:t>
            </a:r>
            <a:r>
              <a:rPr lang="en-US" altLang="zh-TW" dirty="0"/>
              <a:t>Power BI </a:t>
            </a:r>
            <a:r>
              <a:rPr lang="zh-TW" altLang="en-US" dirty="0"/>
              <a:t>整合進應用程式中</a:t>
            </a:r>
            <a:endParaRPr lang="en-AU" dirty="0"/>
          </a:p>
          <a:p>
            <a:endParaRPr lang="en-US" dirty="0"/>
          </a:p>
        </p:txBody>
      </p:sp>
    </p:spTree>
    <p:extLst>
      <p:ext uri="{BB962C8B-B14F-4D97-AF65-F5344CB8AC3E}">
        <p14:creationId xmlns:p14="http://schemas.microsoft.com/office/powerpoint/2010/main" val="1379382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Power BI REST API</a:t>
            </a:r>
            <a:endParaRPr lang="en-US" dirty="0"/>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p:txBody>
          <a:bodyPr>
            <a:normAutofit/>
          </a:bodyPr>
          <a:lstStyle/>
          <a:p>
            <a:r>
              <a:rPr lang="zh-TW" altLang="en-US" dirty="0"/>
              <a:t>在應用程式中使用</a:t>
            </a:r>
            <a:r>
              <a:rPr lang="en-AU" dirty="0"/>
              <a:t> Power BI REST API </a:t>
            </a:r>
            <a:r>
              <a:rPr lang="zh-TW" altLang="en-US" dirty="0"/>
              <a:t>直接把資料推送到</a:t>
            </a:r>
            <a:r>
              <a:rPr lang="en-AU" dirty="0"/>
              <a:t> Power BI </a:t>
            </a:r>
            <a:r>
              <a:rPr lang="zh-TW" altLang="en-US" dirty="0"/>
              <a:t>資料集</a:t>
            </a:r>
            <a:endParaRPr lang="en-AU" dirty="0"/>
          </a:p>
          <a:p>
            <a:pPr lvl="1"/>
            <a:r>
              <a:rPr lang="en-AU" dirty="0"/>
              <a:t>Client application</a:t>
            </a:r>
          </a:p>
          <a:p>
            <a:pPr lvl="1"/>
            <a:r>
              <a:rPr lang="en-AU" dirty="0"/>
              <a:t>Web application</a:t>
            </a:r>
          </a:p>
          <a:p>
            <a:r>
              <a:rPr lang="zh-TW" altLang="en-US" dirty="0"/>
              <a:t>透過程式管理資源</a:t>
            </a:r>
            <a:endParaRPr lang="en-AU" dirty="0"/>
          </a:p>
          <a:p>
            <a:pPr lvl="1"/>
            <a:r>
              <a:rPr lang="en-AU" dirty="0"/>
              <a:t>Datasets</a:t>
            </a:r>
          </a:p>
          <a:p>
            <a:pPr lvl="1"/>
            <a:r>
              <a:rPr lang="en-AU" dirty="0"/>
              <a:t>Tables</a:t>
            </a:r>
          </a:p>
          <a:p>
            <a:r>
              <a:rPr lang="zh-TW" altLang="en-US" dirty="0"/>
              <a:t>儀表板會在資料載入時即時更新</a:t>
            </a:r>
            <a:endParaRPr lang="en-AU" dirty="0"/>
          </a:p>
          <a:p>
            <a:pPr lvl="1"/>
            <a:r>
              <a:rPr lang="en-AU" dirty="0"/>
              <a:t>No more waiting, or needing to press the Refresh button! </a:t>
            </a:r>
            <a:r>
              <a:rPr lang="en-AU" dirty="0">
                <a:sym typeface="Wingdings" panose="05000000000000000000" pitchFamily="2" charset="2"/>
              </a:rPr>
              <a:t></a:t>
            </a:r>
            <a:endParaRPr lang="en-US" dirty="0"/>
          </a:p>
        </p:txBody>
      </p:sp>
    </p:spTree>
    <p:extLst>
      <p:ext uri="{BB962C8B-B14F-4D97-AF65-F5344CB8AC3E}">
        <p14:creationId xmlns:p14="http://schemas.microsoft.com/office/powerpoint/2010/main" val="2656072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Power BI REST API</a:t>
            </a:r>
            <a:endParaRPr lang="en-US" dirty="0"/>
          </a:p>
        </p:txBody>
      </p:sp>
      <p:sp>
        <p:nvSpPr>
          <p:cNvPr id="3" name="Content Placeholder 2"/>
          <p:cNvSpPr>
            <a:spLocks noGrp="1"/>
          </p:cNvSpPr>
          <p:nvPr>
            <p:ph sz="quarter" idx="10"/>
          </p:nvPr>
        </p:nvSpPr>
        <p:spPr/>
        <p:txBody>
          <a:bodyPr/>
          <a:lstStyle/>
          <a:p>
            <a:r>
              <a:rPr lang="en-AU" dirty="0"/>
              <a:t>Object model hierarchy</a:t>
            </a:r>
            <a:endParaRPr lang="en-US" dirty="0"/>
          </a:p>
        </p:txBody>
      </p:sp>
      <p:sp>
        <p:nvSpPr>
          <p:cNvPr id="5" name="Text Placeholder 4"/>
          <p:cNvSpPr>
            <a:spLocks noGrp="1"/>
          </p:cNvSpPr>
          <p:nvPr>
            <p:ph type="body" sz="quarter" idx="11"/>
          </p:nvPr>
        </p:nvSpPr>
        <p:spPr>
          <a:xfrm>
            <a:off x="269875" y="1749425"/>
            <a:ext cx="5499677" cy="4926013"/>
          </a:xfrm>
        </p:spPr>
        <p:txBody>
          <a:bodyPr>
            <a:normAutofit fontScale="92500"/>
          </a:bodyPr>
          <a:lstStyle/>
          <a:p>
            <a:r>
              <a:rPr lang="zh-TW" altLang="en-US" dirty="0"/>
              <a:t>一個 </a:t>
            </a:r>
            <a:r>
              <a:rPr lang="en-US" dirty="0"/>
              <a:t>Power BI </a:t>
            </a:r>
            <a:r>
              <a:rPr lang="zh-TW" altLang="en-US" dirty="0"/>
              <a:t>容器可以有多組資料集，每個資料集會有獨一無二的 </a:t>
            </a:r>
            <a:r>
              <a:rPr lang="en-US" altLang="zh-TW" dirty="0"/>
              <a:t>GUID </a:t>
            </a:r>
            <a:r>
              <a:rPr lang="zh-TW" altLang="en-US" dirty="0"/>
              <a:t>作識別</a:t>
            </a:r>
            <a:endParaRPr lang="en-US" dirty="0"/>
          </a:p>
          <a:p>
            <a:r>
              <a:rPr lang="en-AU" dirty="0"/>
              <a:t>A dataset can:</a:t>
            </a:r>
          </a:p>
          <a:p>
            <a:pPr lvl="1"/>
            <a:r>
              <a:rPr lang="en-AU" dirty="0"/>
              <a:t>Be owned by a user or a group</a:t>
            </a:r>
            <a:endParaRPr lang="en-US" dirty="0"/>
          </a:p>
          <a:p>
            <a:pPr lvl="1"/>
            <a:r>
              <a:rPr lang="en-US" dirty="0"/>
              <a:t>Have multiple tables, which are referenced by name</a:t>
            </a:r>
          </a:p>
          <a:p>
            <a:r>
              <a:rPr lang="en-US" dirty="0"/>
              <a:t>A table has multiple rows</a:t>
            </a:r>
          </a:p>
          <a:p>
            <a:endParaRPr lang="en-US" dirty="0"/>
          </a:p>
        </p:txBody>
      </p:sp>
      <p:grpSp>
        <p:nvGrpSpPr>
          <p:cNvPr id="24" name="Group 23"/>
          <p:cNvGrpSpPr/>
          <p:nvPr/>
        </p:nvGrpSpPr>
        <p:grpSpPr>
          <a:xfrm>
            <a:off x="5968181" y="1750040"/>
            <a:ext cx="5181600" cy="4621161"/>
            <a:chOff x="5978013" y="1504950"/>
            <a:chExt cx="5181600" cy="4621161"/>
          </a:xfrm>
        </p:grpSpPr>
        <p:sp>
          <p:nvSpPr>
            <p:cNvPr id="23" name="Rectangle 22"/>
            <p:cNvSpPr/>
            <p:nvPr/>
          </p:nvSpPr>
          <p:spPr bwMode="auto">
            <a:xfrm>
              <a:off x="5978013" y="1504950"/>
              <a:ext cx="5181600" cy="4621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6" name="Straight Connector 5"/>
            <p:cNvCxnSpPr/>
            <p:nvPr/>
          </p:nvCxnSpPr>
          <p:spPr>
            <a:xfrm>
              <a:off x="7531841" y="3047200"/>
              <a:ext cx="747021"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9312890" y="4095689"/>
              <a:ext cx="502936" cy="446010"/>
              <a:chOff x="7158708" y="1779250"/>
              <a:chExt cx="502936" cy="446010"/>
            </a:xfrm>
            <a:solidFill>
              <a:schemeClr val="accent3"/>
            </a:solidFill>
          </p:grpSpPr>
          <p:sp>
            <p:nvSpPr>
              <p:cNvPr id="8" name="Freeform 79"/>
              <p:cNvSpPr>
                <a:spLocks noEditPoints="1"/>
              </p:cNvSpPr>
              <p:nvPr/>
            </p:nvSpPr>
            <p:spPr bwMode="black">
              <a:xfrm>
                <a:off x="7382814" y="1893450"/>
                <a:ext cx="278830" cy="331810"/>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grpFill/>
              <a:ln>
                <a:noFill/>
              </a:ln>
              <a:extLst/>
            </p:spPr>
            <p:txBody>
              <a:bodyPr vert="horz" wrap="square" lIns="80687" tIns="40344" rIns="80687" bIns="40344" numCol="1" anchor="t" anchorCtr="0" compatLnSpc="1">
                <a:prstTxWarp prst="textNoShape">
                  <a:avLst/>
                </a:prstTxWarp>
              </a:bodyPr>
              <a:lstStyle/>
              <a:p>
                <a:pPr defTabSz="914367"/>
                <a:endParaRPr lang="en-US" sz="1568" dirty="0"/>
              </a:p>
            </p:txBody>
          </p:sp>
          <p:sp>
            <p:nvSpPr>
              <p:cNvPr id="9" name="Freeform 79"/>
              <p:cNvSpPr>
                <a:spLocks noEditPoints="1"/>
              </p:cNvSpPr>
              <p:nvPr/>
            </p:nvSpPr>
            <p:spPr bwMode="black">
              <a:xfrm>
                <a:off x="7158708" y="1779250"/>
                <a:ext cx="278830" cy="331810"/>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grpFill/>
              <a:ln>
                <a:noFill/>
              </a:ln>
              <a:extLst/>
            </p:spPr>
            <p:txBody>
              <a:bodyPr vert="horz" wrap="square" lIns="80687" tIns="40344" rIns="80687" bIns="40344" numCol="1" anchor="t" anchorCtr="0" compatLnSpc="1">
                <a:prstTxWarp prst="textNoShape">
                  <a:avLst/>
                </a:prstTxWarp>
              </a:bodyPr>
              <a:lstStyle/>
              <a:p>
                <a:pPr defTabSz="914367"/>
                <a:endParaRPr lang="en-US" sz="1568" dirty="0"/>
              </a:p>
            </p:txBody>
          </p:sp>
        </p:grpSp>
        <p:sp>
          <p:nvSpPr>
            <p:cNvPr id="10" name="TextBox 9"/>
            <p:cNvSpPr txBox="1"/>
            <p:nvPr/>
          </p:nvSpPr>
          <p:spPr>
            <a:xfrm>
              <a:off x="8133430" y="2162255"/>
              <a:ext cx="1230899" cy="457200"/>
            </a:xfrm>
            <a:prstGeom prst="rect">
              <a:avLst/>
            </a:prstGeom>
            <a:noFill/>
          </p:spPr>
          <p:txBody>
            <a:bodyPr wrap="none" lIns="179285" tIns="143428" rIns="179285" bIns="143428" rtlCol="0">
              <a:noAutofit/>
            </a:bodyPr>
            <a:lstStyle/>
            <a:p>
              <a:pPr algn="ctr" defTabSz="914367">
                <a:lnSpc>
                  <a:spcPct val="90000"/>
                </a:lnSpc>
                <a:spcAft>
                  <a:spcPts val="588"/>
                </a:spcAft>
              </a:pPr>
              <a:r>
                <a:rPr lang="en-US" dirty="0"/>
                <a:t>Datasets</a:t>
              </a:r>
            </a:p>
          </p:txBody>
        </p:sp>
        <p:sp>
          <p:nvSpPr>
            <p:cNvPr id="11" name="TextBox 10"/>
            <p:cNvSpPr txBox="1"/>
            <p:nvPr/>
          </p:nvSpPr>
          <p:spPr>
            <a:xfrm>
              <a:off x="9050053" y="3511618"/>
              <a:ext cx="985256" cy="457200"/>
            </a:xfrm>
            <a:prstGeom prst="rect">
              <a:avLst/>
            </a:prstGeom>
            <a:noFill/>
          </p:spPr>
          <p:txBody>
            <a:bodyPr wrap="none" lIns="179285" tIns="143428" rIns="179285" bIns="143428" rtlCol="0">
              <a:noAutofit/>
            </a:bodyPr>
            <a:lstStyle/>
            <a:p>
              <a:pPr algn="ctr" defTabSz="914367">
                <a:lnSpc>
                  <a:spcPct val="90000"/>
                </a:lnSpc>
                <a:spcAft>
                  <a:spcPts val="588"/>
                </a:spcAft>
              </a:pPr>
              <a:r>
                <a:rPr lang="en-US" dirty="0"/>
                <a:t>Tables</a:t>
              </a:r>
            </a:p>
          </p:txBody>
        </p:sp>
        <p:cxnSp>
          <p:nvCxnSpPr>
            <p:cNvPr id="12" name="Straight Connector 11"/>
            <p:cNvCxnSpPr/>
            <p:nvPr/>
          </p:nvCxnSpPr>
          <p:spPr>
            <a:xfrm>
              <a:off x="8805566" y="3578859"/>
              <a:ext cx="0" cy="721186"/>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8805566" y="4300045"/>
              <a:ext cx="258693"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6345678" y="2212408"/>
              <a:ext cx="1315805" cy="457200"/>
            </a:xfrm>
            <a:prstGeom prst="rect">
              <a:avLst/>
            </a:prstGeom>
            <a:noFill/>
          </p:spPr>
          <p:txBody>
            <a:bodyPr wrap="square" lIns="91422" tIns="45712" rIns="91422" bIns="45712" rtlCol="0">
              <a:noAutofit/>
            </a:bodyPr>
            <a:lstStyle/>
            <a:p>
              <a:pPr algn="ctr" defTabSz="913794"/>
              <a:r>
                <a:rPr lang="en-US" dirty="0">
                  <a:solidFill>
                    <a:schemeClr val="tx1">
                      <a:lumMod val="95000"/>
                      <a:lumOff val="5000"/>
                    </a:schemeClr>
                  </a:solidFill>
                </a:rPr>
                <a:t>Power BI</a:t>
              </a:r>
            </a:p>
          </p:txBody>
        </p:sp>
        <p:sp>
          <p:nvSpPr>
            <p:cNvPr id="15" name="TextBox 14"/>
            <p:cNvSpPr txBox="1"/>
            <p:nvPr/>
          </p:nvSpPr>
          <p:spPr>
            <a:xfrm>
              <a:off x="9808845" y="4587742"/>
              <a:ext cx="985256" cy="457200"/>
            </a:xfrm>
            <a:prstGeom prst="rect">
              <a:avLst/>
            </a:prstGeom>
            <a:noFill/>
          </p:spPr>
          <p:txBody>
            <a:bodyPr wrap="none" lIns="179285" tIns="143428" rIns="179285" bIns="143428" rtlCol="0">
              <a:noAutofit/>
            </a:bodyPr>
            <a:lstStyle/>
            <a:p>
              <a:pPr algn="ctr" defTabSz="914367">
                <a:lnSpc>
                  <a:spcPct val="90000"/>
                </a:lnSpc>
                <a:spcAft>
                  <a:spcPts val="588"/>
                </a:spcAft>
              </a:pPr>
              <a:r>
                <a:rPr lang="en-US" dirty="0"/>
                <a:t>Rows</a:t>
              </a:r>
            </a:p>
          </p:txBody>
        </p:sp>
        <p:pic>
          <p:nvPicPr>
            <p:cNvPr id="16" name="Picture 15"/>
            <p:cNvPicPr>
              <a:picLocks noChangeAspect="1"/>
            </p:cNvPicPr>
            <p:nvPr/>
          </p:nvPicPr>
          <p:blipFill>
            <a:blip r:embed="rId2"/>
            <a:stretch>
              <a:fillRect/>
            </a:stretch>
          </p:blipFill>
          <p:spPr>
            <a:xfrm>
              <a:off x="10126887" y="5176935"/>
              <a:ext cx="349173" cy="398467"/>
            </a:xfrm>
            <a:prstGeom prst="rect">
              <a:avLst/>
            </a:prstGeom>
          </p:spPr>
        </p:pic>
        <p:cxnSp>
          <p:nvCxnSpPr>
            <p:cNvPr id="17" name="Straight Connector 16"/>
            <p:cNvCxnSpPr/>
            <p:nvPr/>
          </p:nvCxnSpPr>
          <p:spPr>
            <a:xfrm>
              <a:off x="9564358" y="4654983"/>
              <a:ext cx="0" cy="721186"/>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9564358" y="5376169"/>
              <a:ext cx="258693"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19" name="Group 18"/>
            <p:cNvGrpSpPr/>
            <p:nvPr/>
          </p:nvGrpSpPr>
          <p:grpSpPr>
            <a:xfrm>
              <a:off x="8439336" y="2757543"/>
              <a:ext cx="594995" cy="635619"/>
              <a:chOff x="5568817" y="2895834"/>
              <a:chExt cx="594995" cy="635619"/>
            </a:xfrm>
          </p:grpSpPr>
          <p:sp>
            <p:nvSpPr>
              <p:cNvPr id="20" name="Freeform 5"/>
              <p:cNvSpPr>
                <a:spLocks noEditPoints="1"/>
              </p:cNvSpPr>
              <p:nvPr/>
            </p:nvSpPr>
            <p:spPr bwMode="auto">
              <a:xfrm>
                <a:off x="5789258" y="3057150"/>
                <a:ext cx="374554" cy="474303"/>
              </a:xfrm>
              <a:custGeom>
                <a:avLst/>
                <a:gdLst>
                  <a:gd name="T0" fmla="*/ 184 w 184"/>
                  <a:gd name="T1" fmla="*/ 38 h 244"/>
                  <a:gd name="T2" fmla="*/ 184 w 184"/>
                  <a:gd name="T3" fmla="*/ 36 h 244"/>
                  <a:gd name="T4" fmla="*/ 178 w 184"/>
                  <a:gd name="T5" fmla="*/ 24 h 244"/>
                  <a:gd name="T6" fmla="*/ 156 w 184"/>
                  <a:gd name="T7" fmla="*/ 11 h 244"/>
                  <a:gd name="T8" fmla="*/ 105 w 184"/>
                  <a:gd name="T9" fmla="*/ 0 h 244"/>
                  <a:gd name="T10" fmla="*/ 103 w 184"/>
                  <a:gd name="T11" fmla="*/ 0 h 244"/>
                  <a:gd name="T12" fmla="*/ 80 w 184"/>
                  <a:gd name="T13" fmla="*/ 0 h 244"/>
                  <a:gd name="T14" fmla="*/ 78 w 184"/>
                  <a:gd name="T15" fmla="*/ 0 h 244"/>
                  <a:gd name="T16" fmla="*/ 23 w 184"/>
                  <a:gd name="T17" fmla="*/ 13 h 244"/>
                  <a:gd name="T18" fmla="*/ 5 w 184"/>
                  <a:gd name="T19" fmla="*/ 24 h 244"/>
                  <a:gd name="T20" fmla="*/ 0 w 184"/>
                  <a:gd name="T21" fmla="*/ 37 h 244"/>
                  <a:gd name="T22" fmla="*/ 0 w 184"/>
                  <a:gd name="T23" fmla="*/ 205 h 244"/>
                  <a:gd name="T24" fmla="*/ 8 w 184"/>
                  <a:gd name="T25" fmla="*/ 222 h 244"/>
                  <a:gd name="T26" fmla="*/ 37 w 184"/>
                  <a:gd name="T27" fmla="*/ 237 h 244"/>
                  <a:gd name="T28" fmla="*/ 77 w 184"/>
                  <a:gd name="T29" fmla="*/ 244 h 244"/>
                  <a:gd name="T30" fmla="*/ 79 w 184"/>
                  <a:gd name="T31" fmla="*/ 244 h 244"/>
                  <a:gd name="T32" fmla="*/ 105 w 184"/>
                  <a:gd name="T33" fmla="*/ 244 h 244"/>
                  <a:gd name="T34" fmla="*/ 113 w 184"/>
                  <a:gd name="T35" fmla="*/ 243 h 244"/>
                  <a:gd name="T36" fmla="*/ 161 w 184"/>
                  <a:gd name="T37" fmla="*/ 231 h 244"/>
                  <a:gd name="T38" fmla="*/ 181 w 184"/>
                  <a:gd name="T39" fmla="*/ 217 h 244"/>
                  <a:gd name="T40" fmla="*/ 184 w 184"/>
                  <a:gd name="T41" fmla="*/ 209 h 244"/>
                  <a:gd name="T42" fmla="*/ 184 w 184"/>
                  <a:gd name="T43" fmla="*/ 207 h 244"/>
                  <a:gd name="T44" fmla="*/ 184 w 184"/>
                  <a:gd name="T45" fmla="*/ 38 h 244"/>
                  <a:gd name="T46" fmla="*/ 154 w 184"/>
                  <a:gd name="T47" fmla="*/ 39 h 244"/>
                  <a:gd name="T48" fmla="*/ 138 w 184"/>
                  <a:gd name="T49" fmla="*/ 47 h 244"/>
                  <a:gd name="T50" fmla="*/ 92 w 184"/>
                  <a:gd name="T51" fmla="*/ 53 h 244"/>
                  <a:gd name="T52" fmla="*/ 43 w 184"/>
                  <a:gd name="T53" fmla="*/ 46 h 244"/>
                  <a:gd name="T54" fmla="*/ 30 w 184"/>
                  <a:gd name="T55" fmla="*/ 39 h 244"/>
                  <a:gd name="T56" fmla="*/ 30 w 184"/>
                  <a:gd name="T57" fmla="*/ 26 h 244"/>
                  <a:gd name="T58" fmla="*/ 50 w 184"/>
                  <a:gd name="T59" fmla="*/ 17 h 244"/>
                  <a:gd name="T60" fmla="*/ 106 w 184"/>
                  <a:gd name="T61" fmla="*/ 13 h 244"/>
                  <a:gd name="T62" fmla="*/ 141 w 184"/>
                  <a:gd name="T63" fmla="*/ 20 h 244"/>
                  <a:gd name="T64" fmla="*/ 154 w 184"/>
                  <a:gd name="T65" fmla="*/ 26 h 244"/>
                  <a:gd name="T66" fmla="*/ 154 w 184"/>
                  <a:gd name="T67" fmla="*/ 39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4" h="244">
                    <a:moveTo>
                      <a:pt x="184" y="38"/>
                    </a:moveTo>
                    <a:cubicBezTo>
                      <a:pt x="184" y="38"/>
                      <a:pt x="184" y="37"/>
                      <a:pt x="184" y="36"/>
                    </a:cubicBezTo>
                    <a:cubicBezTo>
                      <a:pt x="183" y="31"/>
                      <a:pt x="181" y="27"/>
                      <a:pt x="178" y="24"/>
                    </a:cubicBezTo>
                    <a:cubicBezTo>
                      <a:pt x="171" y="18"/>
                      <a:pt x="164" y="14"/>
                      <a:pt x="156" y="11"/>
                    </a:cubicBezTo>
                    <a:cubicBezTo>
                      <a:pt x="139" y="4"/>
                      <a:pt x="122" y="1"/>
                      <a:pt x="105" y="0"/>
                    </a:cubicBezTo>
                    <a:cubicBezTo>
                      <a:pt x="104" y="0"/>
                      <a:pt x="104" y="0"/>
                      <a:pt x="103" y="0"/>
                    </a:cubicBezTo>
                    <a:cubicBezTo>
                      <a:pt x="95" y="0"/>
                      <a:pt x="88" y="0"/>
                      <a:pt x="80" y="0"/>
                    </a:cubicBezTo>
                    <a:cubicBezTo>
                      <a:pt x="80" y="0"/>
                      <a:pt x="79" y="0"/>
                      <a:pt x="78" y="0"/>
                    </a:cubicBezTo>
                    <a:cubicBezTo>
                      <a:pt x="59" y="1"/>
                      <a:pt x="40" y="5"/>
                      <a:pt x="23" y="13"/>
                    </a:cubicBezTo>
                    <a:cubicBezTo>
                      <a:pt x="16" y="15"/>
                      <a:pt x="10" y="19"/>
                      <a:pt x="5" y="24"/>
                    </a:cubicBezTo>
                    <a:cubicBezTo>
                      <a:pt x="2" y="28"/>
                      <a:pt x="0" y="32"/>
                      <a:pt x="0" y="37"/>
                    </a:cubicBezTo>
                    <a:cubicBezTo>
                      <a:pt x="0" y="93"/>
                      <a:pt x="0" y="149"/>
                      <a:pt x="0" y="205"/>
                    </a:cubicBezTo>
                    <a:cubicBezTo>
                      <a:pt x="0" y="212"/>
                      <a:pt x="3" y="217"/>
                      <a:pt x="8" y="222"/>
                    </a:cubicBezTo>
                    <a:cubicBezTo>
                      <a:pt x="16" y="229"/>
                      <a:pt x="27" y="233"/>
                      <a:pt x="37" y="237"/>
                    </a:cubicBezTo>
                    <a:cubicBezTo>
                      <a:pt x="50" y="241"/>
                      <a:pt x="63" y="243"/>
                      <a:pt x="77" y="244"/>
                    </a:cubicBezTo>
                    <a:cubicBezTo>
                      <a:pt x="77" y="244"/>
                      <a:pt x="78" y="244"/>
                      <a:pt x="79" y="244"/>
                    </a:cubicBezTo>
                    <a:cubicBezTo>
                      <a:pt x="87" y="244"/>
                      <a:pt x="96" y="244"/>
                      <a:pt x="105" y="244"/>
                    </a:cubicBezTo>
                    <a:cubicBezTo>
                      <a:pt x="107" y="243"/>
                      <a:pt x="110" y="244"/>
                      <a:pt x="113" y="243"/>
                    </a:cubicBezTo>
                    <a:cubicBezTo>
                      <a:pt x="129" y="242"/>
                      <a:pt x="146" y="239"/>
                      <a:pt x="161" y="231"/>
                    </a:cubicBezTo>
                    <a:cubicBezTo>
                      <a:pt x="169" y="228"/>
                      <a:pt x="176" y="224"/>
                      <a:pt x="181" y="217"/>
                    </a:cubicBezTo>
                    <a:cubicBezTo>
                      <a:pt x="182" y="215"/>
                      <a:pt x="183" y="212"/>
                      <a:pt x="184" y="209"/>
                    </a:cubicBezTo>
                    <a:cubicBezTo>
                      <a:pt x="184" y="209"/>
                      <a:pt x="184" y="208"/>
                      <a:pt x="184" y="207"/>
                    </a:cubicBezTo>
                    <a:cubicBezTo>
                      <a:pt x="184" y="151"/>
                      <a:pt x="184" y="95"/>
                      <a:pt x="184" y="38"/>
                    </a:cubicBezTo>
                    <a:close/>
                    <a:moveTo>
                      <a:pt x="154" y="39"/>
                    </a:moveTo>
                    <a:cubicBezTo>
                      <a:pt x="149" y="43"/>
                      <a:pt x="143" y="45"/>
                      <a:pt x="138" y="47"/>
                    </a:cubicBezTo>
                    <a:cubicBezTo>
                      <a:pt x="123" y="51"/>
                      <a:pt x="107" y="53"/>
                      <a:pt x="92" y="53"/>
                    </a:cubicBezTo>
                    <a:cubicBezTo>
                      <a:pt x="75" y="53"/>
                      <a:pt x="59" y="51"/>
                      <a:pt x="43" y="46"/>
                    </a:cubicBezTo>
                    <a:cubicBezTo>
                      <a:pt x="38" y="44"/>
                      <a:pt x="34" y="43"/>
                      <a:pt x="30" y="39"/>
                    </a:cubicBezTo>
                    <a:cubicBezTo>
                      <a:pt x="25" y="35"/>
                      <a:pt x="25" y="30"/>
                      <a:pt x="30" y="26"/>
                    </a:cubicBezTo>
                    <a:cubicBezTo>
                      <a:pt x="36" y="21"/>
                      <a:pt x="43" y="19"/>
                      <a:pt x="50" y="17"/>
                    </a:cubicBezTo>
                    <a:cubicBezTo>
                      <a:pt x="69" y="13"/>
                      <a:pt x="87" y="12"/>
                      <a:pt x="106" y="13"/>
                    </a:cubicBezTo>
                    <a:cubicBezTo>
                      <a:pt x="118" y="14"/>
                      <a:pt x="130" y="16"/>
                      <a:pt x="141" y="20"/>
                    </a:cubicBezTo>
                    <a:cubicBezTo>
                      <a:pt x="146" y="21"/>
                      <a:pt x="150" y="23"/>
                      <a:pt x="154" y="26"/>
                    </a:cubicBezTo>
                    <a:cubicBezTo>
                      <a:pt x="158" y="30"/>
                      <a:pt x="158" y="35"/>
                      <a:pt x="154" y="39"/>
                    </a:cubicBezTo>
                    <a:close/>
                  </a:path>
                </a:pathLst>
              </a:custGeom>
              <a:solidFill>
                <a:srgbClr val="0072C6"/>
              </a:solidFill>
              <a:ln>
                <a:noFill/>
              </a:ln>
            </p:spPr>
            <p:txBody>
              <a:bodyPr vert="horz" wrap="square" lIns="91440" tIns="182880" rIns="91440" bIns="45720" numCol="1" anchor="ctr" anchorCtr="0" compatLnSpc="1">
                <a:prstTxWarp prst="textNoShape">
                  <a:avLst/>
                </a:prstTxWarp>
              </a:bodyPr>
              <a:lstStyle/>
              <a:p>
                <a:pPr algn="ctr"/>
                <a:endParaRPr lang="en-US" sz="1600" dirty="0">
                  <a:solidFill>
                    <a:schemeClr val="bg1"/>
                  </a:solidFill>
                </a:endParaRPr>
              </a:p>
            </p:txBody>
          </p:sp>
          <p:sp>
            <p:nvSpPr>
              <p:cNvPr id="21" name="Freeform 5"/>
              <p:cNvSpPr>
                <a:spLocks noEditPoints="1"/>
              </p:cNvSpPr>
              <p:nvPr/>
            </p:nvSpPr>
            <p:spPr bwMode="auto">
              <a:xfrm>
                <a:off x="5568817" y="2895834"/>
                <a:ext cx="374554" cy="474303"/>
              </a:xfrm>
              <a:custGeom>
                <a:avLst/>
                <a:gdLst>
                  <a:gd name="T0" fmla="*/ 184 w 184"/>
                  <a:gd name="T1" fmla="*/ 38 h 244"/>
                  <a:gd name="T2" fmla="*/ 184 w 184"/>
                  <a:gd name="T3" fmla="*/ 36 h 244"/>
                  <a:gd name="T4" fmla="*/ 178 w 184"/>
                  <a:gd name="T5" fmla="*/ 24 h 244"/>
                  <a:gd name="T6" fmla="*/ 156 w 184"/>
                  <a:gd name="T7" fmla="*/ 11 h 244"/>
                  <a:gd name="T8" fmla="*/ 105 w 184"/>
                  <a:gd name="T9" fmla="*/ 0 h 244"/>
                  <a:gd name="T10" fmla="*/ 103 w 184"/>
                  <a:gd name="T11" fmla="*/ 0 h 244"/>
                  <a:gd name="T12" fmla="*/ 80 w 184"/>
                  <a:gd name="T13" fmla="*/ 0 h 244"/>
                  <a:gd name="T14" fmla="*/ 78 w 184"/>
                  <a:gd name="T15" fmla="*/ 0 h 244"/>
                  <a:gd name="T16" fmla="*/ 23 w 184"/>
                  <a:gd name="T17" fmla="*/ 13 h 244"/>
                  <a:gd name="T18" fmla="*/ 5 w 184"/>
                  <a:gd name="T19" fmla="*/ 24 h 244"/>
                  <a:gd name="T20" fmla="*/ 0 w 184"/>
                  <a:gd name="T21" fmla="*/ 37 h 244"/>
                  <a:gd name="T22" fmla="*/ 0 w 184"/>
                  <a:gd name="T23" fmla="*/ 205 h 244"/>
                  <a:gd name="T24" fmla="*/ 8 w 184"/>
                  <a:gd name="T25" fmla="*/ 222 h 244"/>
                  <a:gd name="T26" fmla="*/ 37 w 184"/>
                  <a:gd name="T27" fmla="*/ 237 h 244"/>
                  <a:gd name="T28" fmla="*/ 77 w 184"/>
                  <a:gd name="T29" fmla="*/ 244 h 244"/>
                  <a:gd name="T30" fmla="*/ 79 w 184"/>
                  <a:gd name="T31" fmla="*/ 244 h 244"/>
                  <a:gd name="T32" fmla="*/ 105 w 184"/>
                  <a:gd name="T33" fmla="*/ 244 h 244"/>
                  <a:gd name="T34" fmla="*/ 113 w 184"/>
                  <a:gd name="T35" fmla="*/ 243 h 244"/>
                  <a:gd name="T36" fmla="*/ 161 w 184"/>
                  <a:gd name="T37" fmla="*/ 231 h 244"/>
                  <a:gd name="T38" fmla="*/ 181 w 184"/>
                  <a:gd name="T39" fmla="*/ 217 h 244"/>
                  <a:gd name="T40" fmla="*/ 184 w 184"/>
                  <a:gd name="T41" fmla="*/ 209 h 244"/>
                  <a:gd name="T42" fmla="*/ 184 w 184"/>
                  <a:gd name="T43" fmla="*/ 207 h 244"/>
                  <a:gd name="T44" fmla="*/ 184 w 184"/>
                  <a:gd name="T45" fmla="*/ 38 h 244"/>
                  <a:gd name="T46" fmla="*/ 154 w 184"/>
                  <a:gd name="T47" fmla="*/ 39 h 244"/>
                  <a:gd name="T48" fmla="*/ 138 w 184"/>
                  <a:gd name="T49" fmla="*/ 47 h 244"/>
                  <a:gd name="T50" fmla="*/ 92 w 184"/>
                  <a:gd name="T51" fmla="*/ 53 h 244"/>
                  <a:gd name="T52" fmla="*/ 43 w 184"/>
                  <a:gd name="T53" fmla="*/ 46 h 244"/>
                  <a:gd name="T54" fmla="*/ 30 w 184"/>
                  <a:gd name="T55" fmla="*/ 39 h 244"/>
                  <a:gd name="T56" fmla="*/ 30 w 184"/>
                  <a:gd name="T57" fmla="*/ 26 h 244"/>
                  <a:gd name="T58" fmla="*/ 50 w 184"/>
                  <a:gd name="T59" fmla="*/ 17 h 244"/>
                  <a:gd name="T60" fmla="*/ 106 w 184"/>
                  <a:gd name="T61" fmla="*/ 13 h 244"/>
                  <a:gd name="T62" fmla="*/ 141 w 184"/>
                  <a:gd name="T63" fmla="*/ 20 h 244"/>
                  <a:gd name="T64" fmla="*/ 154 w 184"/>
                  <a:gd name="T65" fmla="*/ 26 h 244"/>
                  <a:gd name="T66" fmla="*/ 154 w 184"/>
                  <a:gd name="T67" fmla="*/ 39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4" h="244">
                    <a:moveTo>
                      <a:pt x="184" y="38"/>
                    </a:moveTo>
                    <a:cubicBezTo>
                      <a:pt x="184" y="38"/>
                      <a:pt x="184" y="37"/>
                      <a:pt x="184" y="36"/>
                    </a:cubicBezTo>
                    <a:cubicBezTo>
                      <a:pt x="183" y="31"/>
                      <a:pt x="181" y="27"/>
                      <a:pt x="178" y="24"/>
                    </a:cubicBezTo>
                    <a:cubicBezTo>
                      <a:pt x="171" y="18"/>
                      <a:pt x="164" y="14"/>
                      <a:pt x="156" y="11"/>
                    </a:cubicBezTo>
                    <a:cubicBezTo>
                      <a:pt x="139" y="4"/>
                      <a:pt x="122" y="1"/>
                      <a:pt x="105" y="0"/>
                    </a:cubicBezTo>
                    <a:cubicBezTo>
                      <a:pt x="104" y="0"/>
                      <a:pt x="104" y="0"/>
                      <a:pt x="103" y="0"/>
                    </a:cubicBezTo>
                    <a:cubicBezTo>
                      <a:pt x="95" y="0"/>
                      <a:pt x="88" y="0"/>
                      <a:pt x="80" y="0"/>
                    </a:cubicBezTo>
                    <a:cubicBezTo>
                      <a:pt x="80" y="0"/>
                      <a:pt x="79" y="0"/>
                      <a:pt x="78" y="0"/>
                    </a:cubicBezTo>
                    <a:cubicBezTo>
                      <a:pt x="59" y="1"/>
                      <a:pt x="40" y="5"/>
                      <a:pt x="23" y="13"/>
                    </a:cubicBezTo>
                    <a:cubicBezTo>
                      <a:pt x="16" y="15"/>
                      <a:pt x="10" y="19"/>
                      <a:pt x="5" y="24"/>
                    </a:cubicBezTo>
                    <a:cubicBezTo>
                      <a:pt x="2" y="28"/>
                      <a:pt x="0" y="32"/>
                      <a:pt x="0" y="37"/>
                    </a:cubicBezTo>
                    <a:cubicBezTo>
                      <a:pt x="0" y="93"/>
                      <a:pt x="0" y="149"/>
                      <a:pt x="0" y="205"/>
                    </a:cubicBezTo>
                    <a:cubicBezTo>
                      <a:pt x="0" y="212"/>
                      <a:pt x="3" y="217"/>
                      <a:pt x="8" y="222"/>
                    </a:cubicBezTo>
                    <a:cubicBezTo>
                      <a:pt x="16" y="229"/>
                      <a:pt x="27" y="233"/>
                      <a:pt x="37" y="237"/>
                    </a:cubicBezTo>
                    <a:cubicBezTo>
                      <a:pt x="50" y="241"/>
                      <a:pt x="63" y="243"/>
                      <a:pt x="77" y="244"/>
                    </a:cubicBezTo>
                    <a:cubicBezTo>
                      <a:pt x="77" y="244"/>
                      <a:pt x="78" y="244"/>
                      <a:pt x="79" y="244"/>
                    </a:cubicBezTo>
                    <a:cubicBezTo>
                      <a:pt x="87" y="244"/>
                      <a:pt x="96" y="244"/>
                      <a:pt x="105" y="244"/>
                    </a:cubicBezTo>
                    <a:cubicBezTo>
                      <a:pt x="107" y="243"/>
                      <a:pt x="110" y="244"/>
                      <a:pt x="113" y="243"/>
                    </a:cubicBezTo>
                    <a:cubicBezTo>
                      <a:pt x="129" y="242"/>
                      <a:pt x="146" y="239"/>
                      <a:pt x="161" y="231"/>
                    </a:cubicBezTo>
                    <a:cubicBezTo>
                      <a:pt x="169" y="228"/>
                      <a:pt x="176" y="224"/>
                      <a:pt x="181" y="217"/>
                    </a:cubicBezTo>
                    <a:cubicBezTo>
                      <a:pt x="182" y="215"/>
                      <a:pt x="183" y="212"/>
                      <a:pt x="184" y="209"/>
                    </a:cubicBezTo>
                    <a:cubicBezTo>
                      <a:pt x="184" y="209"/>
                      <a:pt x="184" y="208"/>
                      <a:pt x="184" y="207"/>
                    </a:cubicBezTo>
                    <a:cubicBezTo>
                      <a:pt x="184" y="151"/>
                      <a:pt x="184" y="95"/>
                      <a:pt x="184" y="38"/>
                    </a:cubicBezTo>
                    <a:close/>
                    <a:moveTo>
                      <a:pt x="154" y="39"/>
                    </a:moveTo>
                    <a:cubicBezTo>
                      <a:pt x="149" y="43"/>
                      <a:pt x="143" y="45"/>
                      <a:pt x="138" y="47"/>
                    </a:cubicBezTo>
                    <a:cubicBezTo>
                      <a:pt x="123" y="51"/>
                      <a:pt x="107" y="53"/>
                      <a:pt x="92" y="53"/>
                    </a:cubicBezTo>
                    <a:cubicBezTo>
                      <a:pt x="75" y="53"/>
                      <a:pt x="59" y="51"/>
                      <a:pt x="43" y="46"/>
                    </a:cubicBezTo>
                    <a:cubicBezTo>
                      <a:pt x="38" y="44"/>
                      <a:pt x="34" y="43"/>
                      <a:pt x="30" y="39"/>
                    </a:cubicBezTo>
                    <a:cubicBezTo>
                      <a:pt x="25" y="35"/>
                      <a:pt x="25" y="30"/>
                      <a:pt x="30" y="26"/>
                    </a:cubicBezTo>
                    <a:cubicBezTo>
                      <a:pt x="36" y="21"/>
                      <a:pt x="43" y="19"/>
                      <a:pt x="50" y="17"/>
                    </a:cubicBezTo>
                    <a:cubicBezTo>
                      <a:pt x="69" y="13"/>
                      <a:pt x="87" y="12"/>
                      <a:pt x="106" y="13"/>
                    </a:cubicBezTo>
                    <a:cubicBezTo>
                      <a:pt x="118" y="14"/>
                      <a:pt x="130" y="16"/>
                      <a:pt x="141" y="20"/>
                    </a:cubicBezTo>
                    <a:cubicBezTo>
                      <a:pt x="146" y="21"/>
                      <a:pt x="150" y="23"/>
                      <a:pt x="154" y="26"/>
                    </a:cubicBezTo>
                    <a:cubicBezTo>
                      <a:pt x="158" y="30"/>
                      <a:pt x="158" y="35"/>
                      <a:pt x="154" y="39"/>
                    </a:cubicBezTo>
                    <a:close/>
                  </a:path>
                </a:pathLst>
              </a:custGeom>
              <a:solidFill>
                <a:srgbClr val="0072C6"/>
              </a:solidFill>
              <a:ln>
                <a:noFill/>
              </a:ln>
            </p:spPr>
            <p:txBody>
              <a:bodyPr vert="horz" wrap="square" lIns="91440" tIns="182880" rIns="91440" bIns="45720" numCol="1" anchor="ctr" anchorCtr="0" compatLnSpc="1">
                <a:prstTxWarp prst="textNoShape">
                  <a:avLst/>
                </a:prstTxWarp>
              </a:bodyPr>
              <a:lstStyle/>
              <a:p>
                <a:pPr algn="ctr"/>
                <a:endParaRPr lang="en-US" sz="1600" dirty="0">
                  <a:solidFill>
                    <a:schemeClr val="bg1"/>
                  </a:solidFill>
                </a:endParaRPr>
              </a:p>
            </p:txBody>
          </p:sp>
        </p:grpSp>
        <p:pic>
          <p:nvPicPr>
            <p:cNvPr id="22" name="Picture 2" descr="PowerBI Designer icon"/>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6586465" y="2621662"/>
              <a:ext cx="835156" cy="8763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859913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Power BI REST API</a:t>
            </a:r>
            <a:endParaRPr lang="en-US" dirty="0"/>
          </a:p>
        </p:txBody>
      </p:sp>
      <p:sp>
        <p:nvSpPr>
          <p:cNvPr id="3" name="Content Placeholder 2"/>
          <p:cNvSpPr>
            <a:spLocks noGrp="1"/>
          </p:cNvSpPr>
          <p:nvPr>
            <p:ph sz="quarter" idx="10"/>
          </p:nvPr>
        </p:nvSpPr>
        <p:spPr/>
        <p:txBody>
          <a:bodyPr/>
          <a:lstStyle/>
          <a:p>
            <a:r>
              <a:rPr lang="en-AU" dirty="0"/>
              <a:t>Authentication</a:t>
            </a:r>
            <a:endParaRPr lang="en-US" dirty="0"/>
          </a:p>
        </p:txBody>
      </p:sp>
      <p:sp>
        <p:nvSpPr>
          <p:cNvPr id="4" name="Text Placeholder 3"/>
          <p:cNvSpPr>
            <a:spLocks noGrp="1"/>
          </p:cNvSpPr>
          <p:nvPr>
            <p:ph type="body" sz="quarter" idx="11"/>
          </p:nvPr>
        </p:nvSpPr>
        <p:spPr>
          <a:xfrm>
            <a:off x="269875" y="1749425"/>
            <a:ext cx="11655425" cy="5108575"/>
          </a:xfrm>
        </p:spPr>
        <p:txBody>
          <a:bodyPr>
            <a:normAutofit/>
          </a:bodyPr>
          <a:lstStyle/>
          <a:p>
            <a:r>
              <a:rPr lang="en-AU" dirty="0"/>
              <a:t>An application must be registered, and is required to </a:t>
            </a:r>
            <a:r>
              <a:rPr lang="en-US" dirty="0"/>
              <a:t>establish an identity for the application </a:t>
            </a:r>
            <a:endParaRPr lang="en-AU" dirty="0"/>
          </a:p>
          <a:p>
            <a:pPr lvl="1"/>
            <a:r>
              <a:rPr lang="en-AU" dirty="0"/>
              <a:t>Applications are identified by their </a:t>
            </a:r>
            <a:r>
              <a:rPr lang="en-AU" b="1" dirty="0"/>
              <a:t>Client ID</a:t>
            </a:r>
          </a:p>
          <a:p>
            <a:pPr lvl="1"/>
            <a:r>
              <a:rPr lang="en-AU" dirty="0"/>
              <a:t>Permissions are delegated to the Power BI service</a:t>
            </a:r>
          </a:p>
          <a:p>
            <a:r>
              <a:rPr lang="en-US" dirty="0"/>
              <a:t>REST API calls are made on </a:t>
            </a:r>
            <a:br>
              <a:rPr lang="en-US" dirty="0"/>
            </a:br>
            <a:r>
              <a:rPr lang="en-US" dirty="0"/>
              <a:t>behalf of an authenticated user </a:t>
            </a:r>
            <a:br>
              <a:rPr lang="en-US" dirty="0"/>
            </a:br>
            <a:r>
              <a:rPr lang="en-US" dirty="0"/>
              <a:t>by passing a token in the </a:t>
            </a:r>
            <a:br>
              <a:rPr lang="en-US" dirty="0"/>
            </a:br>
            <a:r>
              <a:rPr lang="en-US" dirty="0"/>
              <a:t>“Authorization” header</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71036" y="3500971"/>
            <a:ext cx="3558022" cy="2536035"/>
          </a:xfrm>
          <a:prstGeom prst="rect">
            <a:avLst/>
          </a:prstGeom>
        </p:spPr>
      </p:pic>
    </p:spTree>
    <p:extLst>
      <p:ext uri="{BB962C8B-B14F-4D97-AF65-F5344CB8AC3E}">
        <p14:creationId xmlns:p14="http://schemas.microsoft.com/office/powerpoint/2010/main" val="2324706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Power BI </a:t>
            </a:r>
            <a:r>
              <a:rPr lang="zh-TW" altLang="en-US" dirty="0"/>
              <a:t>概觀</a:t>
            </a:r>
            <a:endParaRPr lang="en-US" dirty="0"/>
          </a:p>
        </p:txBody>
      </p:sp>
      <p:sp>
        <p:nvSpPr>
          <p:cNvPr id="97" name="Content Placeholder 96"/>
          <p:cNvSpPr>
            <a:spLocks noGrp="1"/>
          </p:cNvSpPr>
          <p:nvPr>
            <p:ph sz="quarter" idx="10"/>
          </p:nvPr>
        </p:nvSpPr>
        <p:spPr/>
        <p:txBody>
          <a:bodyPr/>
          <a:lstStyle/>
          <a:p>
            <a:endParaRPr lang="en-US" dirty="0"/>
          </a:p>
        </p:txBody>
      </p:sp>
      <p:sp>
        <p:nvSpPr>
          <p:cNvPr id="5" name="Flowchart: Process 4"/>
          <p:cNvSpPr/>
          <p:nvPr/>
        </p:nvSpPr>
        <p:spPr bwMode="auto">
          <a:xfrm>
            <a:off x="391417" y="1800632"/>
            <a:ext cx="3457807" cy="4583909"/>
          </a:xfrm>
          <a:prstGeom prst="flowChartProcess">
            <a:avLst/>
          </a:pr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rgbClr val="000000"/>
              </a:solidFill>
              <a:ea typeface="Segoe UI" pitchFamily="34" charset="0"/>
              <a:cs typeface="Segoe UI" pitchFamily="34" charset="0"/>
            </a:endParaRPr>
          </a:p>
        </p:txBody>
      </p:sp>
      <p:sp>
        <p:nvSpPr>
          <p:cNvPr id="6" name="Rectangle 5"/>
          <p:cNvSpPr/>
          <p:nvPr/>
        </p:nvSpPr>
        <p:spPr bwMode="auto">
          <a:xfrm>
            <a:off x="391417" y="1789100"/>
            <a:ext cx="11411700" cy="4583909"/>
          </a:xfrm>
          <a:prstGeom prst="rect">
            <a:avLst/>
          </a:prstGeom>
          <a:noFill/>
          <a:ln w="31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a:xfrm>
            <a:off x="751805" y="1953120"/>
            <a:ext cx="1692204" cy="400110"/>
          </a:xfrm>
          <a:prstGeom prst="rect">
            <a:avLst/>
          </a:prstGeom>
        </p:spPr>
        <p:txBody>
          <a:bodyPr wrap="square">
            <a:spAutoFit/>
          </a:bodyPr>
          <a:lstStyle/>
          <a:p>
            <a:pPr defTabSz="914367">
              <a:spcAft>
                <a:spcPts val="588"/>
              </a:spcAft>
            </a:pPr>
            <a:r>
              <a:rPr lang="zh-TW" altLang="en-US" sz="2000" dirty="0">
                <a:solidFill>
                  <a:srgbClr val="000000"/>
                </a:solidFill>
              </a:rPr>
              <a:t>資料來源</a:t>
            </a:r>
            <a:endParaRPr lang="en-US" sz="2000" dirty="0">
              <a:solidFill>
                <a:srgbClr val="000000"/>
              </a:solidFill>
            </a:endParaRPr>
          </a:p>
        </p:txBody>
      </p:sp>
      <p:sp>
        <p:nvSpPr>
          <p:cNvPr id="8" name="Rectangle 7"/>
          <p:cNvSpPr/>
          <p:nvPr/>
        </p:nvSpPr>
        <p:spPr>
          <a:xfrm>
            <a:off x="4282288" y="1953225"/>
            <a:ext cx="3869886" cy="400110"/>
          </a:xfrm>
          <a:prstGeom prst="rect">
            <a:avLst/>
          </a:prstGeom>
        </p:spPr>
        <p:txBody>
          <a:bodyPr wrap="square">
            <a:spAutoFit/>
          </a:bodyPr>
          <a:lstStyle/>
          <a:p>
            <a:pPr defTabSz="914367">
              <a:spcAft>
                <a:spcPts val="588"/>
              </a:spcAft>
            </a:pPr>
            <a:r>
              <a:rPr lang="en-US" sz="2000" dirty="0">
                <a:solidFill>
                  <a:srgbClr val="505050"/>
                </a:solidFill>
              </a:rPr>
              <a:t>Power BI </a:t>
            </a:r>
            <a:r>
              <a:rPr lang="zh-TW" altLang="en-US" sz="2000" dirty="0">
                <a:solidFill>
                  <a:srgbClr val="505050"/>
                </a:solidFill>
              </a:rPr>
              <a:t>服務</a:t>
            </a:r>
            <a:endParaRPr lang="en-US" sz="2000" dirty="0">
              <a:solidFill>
                <a:srgbClr val="505050"/>
              </a:solidFill>
            </a:endParaRPr>
          </a:p>
        </p:txBody>
      </p:sp>
      <p:cxnSp>
        <p:nvCxnSpPr>
          <p:cNvPr id="9" name="Straight Connector 8"/>
          <p:cNvCxnSpPr/>
          <p:nvPr/>
        </p:nvCxnSpPr>
        <p:spPr>
          <a:xfrm>
            <a:off x="999799" y="3084918"/>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0" name="Rectangle 145"/>
          <p:cNvSpPr/>
          <p:nvPr/>
        </p:nvSpPr>
        <p:spPr bwMode="auto">
          <a:xfrm>
            <a:off x="1014873" y="2592894"/>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a:solidFill>
                  <a:srgbClr val="000000"/>
                </a:solidFill>
                <a:cs typeface="Segoe UI Light" panose="020B0502040204020203" pitchFamily="34" charset="0"/>
              </a:rPr>
              <a:t>SaaS </a:t>
            </a:r>
            <a:r>
              <a:rPr lang="zh-TW" altLang="en-US" sz="1200" dirty="0">
                <a:solidFill>
                  <a:srgbClr val="000000"/>
                </a:solidFill>
                <a:cs typeface="Segoe UI Light" panose="020B0502040204020203" pitchFamily="34" charset="0"/>
              </a:rPr>
              <a:t>解決方案</a:t>
            </a:r>
            <a:endParaRPr lang="en-US" sz="1200" dirty="0">
              <a:solidFill>
                <a:srgbClr val="000000"/>
              </a:solidFill>
              <a:cs typeface="Segoe UI Light" panose="020B0502040204020203" pitchFamily="34" charset="0"/>
            </a:endParaRPr>
          </a:p>
          <a:p>
            <a:pPr defTabSz="914367">
              <a:spcAft>
                <a:spcPts val="600"/>
              </a:spcAft>
            </a:pPr>
            <a:r>
              <a:rPr lang="en-US" sz="900" i="1" dirty="0">
                <a:solidFill>
                  <a:srgbClr val="000000"/>
                </a:solidFill>
                <a:cs typeface="Segoe UI Light" panose="020B0502040204020203" pitchFamily="34" charset="0"/>
              </a:rPr>
              <a:t>E.g. Marketo, Salesforce, GitHub, Google analytics</a:t>
            </a:r>
          </a:p>
        </p:txBody>
      </p:sp>
      <p:sp>
        <p:nvSpPr>
          <p:cNvPr id="11" name="Oval 147"/>
          <p:cNvSpPr/>
          <p:nvPr/>
        </p:nvSpPr>
        <p:spPr bwMode="auto">
          <a:xfrm>
            <a:off x="644325" y="2657671"/>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12" name="Group 332"/>
          <p:cNvGrpSpPr/>
          <p:nvPr/>
        </p:nvGrpSpPr>
        <p:grpSpPr>
          <a:xfrm>
            <a:off x="696368" y="2733600"/>
            <a:ext cx="261675" cy="213902"/>
            <a:chOff x="2123129" y="1797431"/>
            <a:chExt cx="2472585" cy="2021180"/>
          </a:xfrm>
        </p:grpSpPr>
        <p:sp>
          <p:nvSpPr>
            <p:cNvPr id="13" name="Freeform 13"/>
            <p:cNvSpPr>
              <a:spLocks/>
            </p:cNvSpPr>
            <p:nvPr/>
          </p:nvSpPr>
          <p:spPr bwMode="auto">
            <a:xfrm rot="20700000">
              <a:off x="3155851" y="2377161"/>
              <a:ext cx="1439863" cy="1441450"/>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cxnSp>
        <p:nvCxnSpPr>
          <p:cNvPr id="15" name="Straight Connector 14"/>
          <p:cNvCxnSpPr/>
          <p:nvPr/>
        </p:nvCxnSpPr>
        <p:spPr>
          <a:xfrm>
            <a:off x="999799" y="3627029"/>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6" name="Rectangle 152"/>
          <p:cNvSpPr/>
          <p:nvPr/>
        </p:nvSpPr>
        <p:spPr bwMode="auto">
          <a:xfrm>
            <a:off x="1009226" y="3186356"/>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zh-TW" altLang="en-US" sz="1200" dirty="0">
                <a:solidFill>
                  <a:srgbClr val="000000"/>
                </a:solidFill>
                <a:cs typeface="Segoe UI Light" panose="020B0502040204020203" pitchFamily="34" charset="0"/>
              </a:rPr>
              <a:t>傳統機房內的資料</a:t>
            </a:r>
            <a:endParaRPr lang="en-US" sz="1200" dirty="0">
              <a:solidFill>
                <a:srgbClr val="000000"/>
              </a:solidFill>
              <a:cs typeface="Segoe UI Light" panose="020B0502040204020203" pitchFamily="34" charset="0"/>
            </a:endParaRPr>
          </a:p>
          <a:p>
            <a:pPr defTabSz="914367"/>
            <a:r>
              <a:rPr lang="en-US" sz="900" i="1" dirty="0">
                <a:solidFill>
                  <a:srgbClr val="000000"/>
                </a:solidFill>
                <a:cs typeface="Segoe UI Light" panose="020B0502040204020203" pitchFamily="34" charset="0"/>
              </a:rPr>
              <a:t>E.g. Analysis Services</a:t>
            </a:r>
          </a:p>
        </p:txBody>
      </p:sp>
      <p:sp>
        <p:nvSpPr>
          <p:cNvPr id="17" name="Oval 154"/>
          <p:cNvSpPr/>
          <p:nvPr/>
        </p:nvSpPr>
        <p:spPr bwMode="auto">
          <a:xfrm>
            <a:off x="644325" y="3186356"/>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30"/>
          <p:cNvSpPr>
            <a:spLocks noEditPoints="1"/>
          </p:cNvSpPr>
          <p:nvPr/>
        </p:nvSpPr>
        <p:spPr bwMode="auto">
          <a:xfrm>
            <a:off x="726710" y="3280590"/>
            <a:ext cx="200989" cy="177291"/>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cxnSp>
        <p:nvCxnSpPr>
          <p:cNvPr id="19" name="Straight Connector 18"/>
          <p:cNvCxnSpPr/>
          <p:nvPr/>
        </p:nvCxnSpPr>
        <p:spPr>
          <a:xfrm>
            <a:off x="999799" y="4202816"/>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0" name="Rectangle 1074"/>
          <p:cNvSpPr/>
          <p:nvPr/>
        </p:nvSpPr>
        <p:spPr bwMode="auto">
          <a:xfrm>
            <a:off x="1009225" y="3728664"/>
            <a:ext cx="2143263"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zh-TW" altLang="en-US" sz="1200" dirty="0">
                <a:solidFill>
                  <a:srgbClr val="000000"/>
                </a:solidFill>
                <a:cs typeface="Segoe UI Light" panose="020B0502040204020203" pitchFamily="34" charset="0"/>
              </a:rPr>
              <a:t>組織的內容套件</a:t>
            </a:r>
            <a:br>
              <a:rPr lang="en-US" sz="1200" dirty="0">
                <a:solidFill>
                  <a:srgbClr val="000000"/>
                </a:solidFill>
                <a:cs typeface="Segoe UI Light" panose="020B0502040204020203" pitchFamily="34" charset="0"/>
              </a:rPr>
            </a:br>
            <a:r>
              <a:rPr lang="en-US" sz="900" i="1" dirty="0">
                <a:solidFill>
                  <a:srgbClr val="000000"/>
                </a:solidFill>
                <a:cs typeface="Segoe UI Light" panose="020B0502040204020203" pitchFamily="34" charset="0"/>
              </a:rPr>
              <a:t>Corporate data sources, or external data services</a:t>
            </a:r>
          </a:p>
        </p:txBody>
      </p:sp>
      <p:sp>
        <p:nvSpPr>
          <p:cNvPr id="21" name="Oval 1076"/>
          <p:cNvSpPr/>
          <p:nvPr/>
        </p:nvSpPr>
        <p:spPr bwMode="auto">
          <a:xfrm>
            <a:off x="644325" y="3728664"/>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2" name="Group 21"/>
          <p:cNvGrpSpPr/>
          <p:nvPr/>
        </p:nvGrpSpPr>
        <p:grpSpPr>
          <a:xfrm>
            <a:off x="719570" y="3816935"/>
            <a:ext cx="215270" cy="189218"/>
            <a:chOff x="681704" y="2920140"/>
            <a:chExt cx="321649" cy="282723"/>
          </a:xfrm>
          <a:solidFill>
            <a:schemeClr val="tx1"/>
          </a:solidFill>
        </p:grpSpPr>
        <p:sp>
          <p:nvSpPr>
            <p:cNvPr id="23" name="Freeform 34"/>
            <p:cNvSpPr>
              <a:spLocks/>
            </p:cNvSpPr>
            <p:nvPr/>
          </p:nvSpPr>
          <p:spPr bwMode="auto">
            <a:xfrm>
              <a:off x="681704" y="2920140"/>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4" name="Freeform 35"/>
            <p:cNvSpPr>
              <a:spLocks noEditPoints="1"/>
            </p:cNvSpPr>
            <p:nvPr/>
          </p:nvSpPr>
          <p:spPr bwMode="auto">
            <a:xfrm>
              <a:off x="760426" y="2959065"/>
              <a:ext cx="242927" cy="243798"/>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cxnSp>
        <p:nvCxnSpPr>
          <p:cNvPr id="25" name="Straight Connector 24"/>
          <p:cNvCxnSpPr/>
          <p:nvPr/>
        </p:nvCxnSpPr>
        <p:spPr>
          <a:xfrm>
            <a:off x="999799" y="4697494"/>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6" name="Rectangle 1081"/>
          <p:cNvSpPr/>
          <p:nvPr/>
        </p:nvSpPr>
        <p:spPr bwMode="auto">
          <a:xfrm>
            <a:off x="999799" y="4262048"/>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a:solidFill>
                  <a:srgbClr val="000000"/>
                </a:solidFill>
                <a:cs typeface="Segoe UI Light" panose="020B0502040204020203" pitchFamily="34" charset="0"/>
              </a:rPr>
              <a:t>Azure </a:t>
            </a:r>
            <a:r>
              <a:rPr lang="zh-TW" altLang="en-US" sz="1200" dirty="0">
                <a:solidFill>
                  <a:srgbClr val="000000"/>
                </a:solidFill>
                <a:cs typeface="Segoe UI Light" panose="020B0502040204020203" pitchFamily="34" charset="0"/>
              </a:rPr>
              <a:t>服務</a:t>
            </a:r>
            <a:endParaRPr lang="en-US" sz="1200" dirty="0">
              <a:solidFill>
                <a:srgbClr val="000000"/>
              </a:solidFill>
              <a:cs typeface="Segoe UI Light" panose="020B0502040204020203" pitchFamily="34" charset="0"/>
            </a:endParaRPr>
          </a:p>
          <a:p>
            <a:pPr defTabSz="914367">
              <a:spcAft>
                <a:spcPts val="600"/>
              </a:spcAft>
            </a:pPr>
            <a:r>
              <a:rPr lang="en-US" sz="900" i="1" dirty="0">
                <a:solidFill>
                  <a:srgbClr val="000000"/>
                </a:solidFill>
                <a:cs typeface="Segoe UI Light" panose="020B0502040204020203" pitchFamily="34" charset="0"/>
              </a:rPr>
              <a:t>E.g. Azure SQL, Stream Analytics</a:t>
            </a:r>
          </a:p>
        </p:txBody>
      </p:sp>
      <p:sp>
        <p:nvSpPr>
          <p:cNvPr id="27" name="Oval 1083"/>
          <p:cNvSpPr/>
          <p:nvPr/>
        </p:nvSpPr>
        <p:spPr bwMode="auto">
          <a:xfrm>
            <a:off x="644325" y="4242998"/>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8" name="Group 379"/>
          <p:cNvGrpSpPr/>
          <p:nvPr/>
        </p:nvGrpSpPr>
        <p:grpSpPr>
          <a:xfrm>
            <a:off x="710525" y="4363701"/>
            <a:ext cx="233359" cy="162454"/>
            <a:chOff x="3543365" y="7242811"/>
            <a:chExt cx="1238250" cy="862013"/>
          </a:xfrm>
          <a:solidFill>
            <a:schemeClr val="tx1"/>
          </a:solidFill>
        </p:grpSpPr>
        <p:sp>
          <p:nvSpPr>
            <p:cNvPr id="29" name="Freeform 127"/>
            <p:cNvSpPr>
              <a:spLocks/>
            </p:cNvSpPr>
            <p:nvPr/>
          </p:nvSpPr>
          <p:spPr bwMode="auto">
            <a:xfrm>
              <a:off x="3617978" y="7911149"/>
              <a:ext cx="231775" cy="193675"/>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0" name="Freeform 128"/>
            <p:cNvSpPr>
              <a:spLocks/>
            </p:cNvSpPr>
            <p:nvPr/>
          </p:nvSpPr>
          <p:spPr bwMode="auto">
            <a:xfrm>
              <a:off x="3617978" y="7688899"/>
              <a:ext cx="231775" cy="192088"/>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1" name="Rectangle 129"/>
            <p:cNvSpPr>
              <a:spLocks noChangeArrowheads="1"/>
            </p:cNvSpPr>
            <p:nvPr/>
          </p:nvSpPr>
          <p:spPr bwMode="auto">
            <a:xfrm>
              <a:off x="3617978" y="74666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 name="Rectangle 130"/>
            <p:cNvSpPr>
              <a:spLocks noChangeArrowheads="1"/>
            </p:cNvSpPr>
            <p:nvPr/>
          </p:nvSpPr>
          <p:spPr bwMode="auto">
            <a:xfrm>
              <a:off x="3617978" y="7242811"/>
              <a:ext cx="231775" cy="1952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 name="Freeform 131"/>
            <p:cNvSpPr>
              <a:spLocks/>
            </p:cNvSpPr>
            <p:nvPr/>
          </p:nvSpPr>
          <p:spPr bwMode="auto">
            <a:xfrm>
              <a:off x="3895790" y="7911149"/>
              <a:ext cx="230188" cy="193675"/>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 name="Freeform 132"/>
            <p:cNvSpPr>
              <a:spLocks/>
            </p:cNvSpPr>
            <p:nvPr/>
          </p:nvSpPr>
          <p:spPr bwMode="auto">
            <a:xfrm>
              <a:off x="4125978" y="7688899"/>
              <a:ext cx="0" cy="6350"/>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 name="Freeform 133"/>
            <p:cNvSpPr>
              <a:spLocks/>
            </p:cNvSpPr>
            <p:nvPr/>
          </p:nvSpPr>
          <p:spPr bwMode="auto">
            <a:xfrm>
              <a:off x="3895790" y="7812724"/>
              <a:ext cx="219075" cy="69850"/>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 name="Freeform 134"/>
            <p:cNvSpPr>
              <a:spLocks/>
            </p:cNvSpPr>
            <p:nvPr/>
          </p:nvSpPr>
          <p:spPr bwMode="auto">
            <a:xfrm>
              <a:off x="3895790" y="7466649"/>
              <a:ext cx="230188" cy="193675"/>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 name="Freeform 135"/>
            <p:cNvSpPr>
              <a:spLocks/>
            </p:cNvSpPr>
            <p:nvPr/>
          </p:nvSpPr>
          <p:spPr bwMode="auto">
            <a:xfrm>
              <a:off x="4173603" y="7911149"/>
              <a:ext cx="230188" cy="193675"/>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8" name="Freeform 136"/>
            <p:cNvSpPr>
              <a:spLocks/>
            </p:cNvSpPr>
            <p:nvPr/>
          </p:nvSpPr>
          <p:spPr bwMode="auto">
            <a:xfrm>
              <a:off x="4173603" y="7688899"/>
              <a:ext cx="168275" cy="63500"/>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9" name="Freeform 137"/>
            <p:cNvSpPr>
              <a:spLocks/>
            </p:cNvSpPr>
            <p:nvPr/>
          </p:nvSpPr>
          <p:spPr bwMode="auto">
            <a:xfrm>
              <a:off x="4338703" y="7809549"/>
              <a:ext cx="65088" cy="73025"/>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0" name="Rectangle 138"/>
            <p:cNvSpPr>
              <a:spLocks noChangeArrowheads="1"/>
            </p:cNvSpPr>
            <p:nvPr/>
          </p:nvSpPr>
          <p:spPr bwMode="auto">
            <a:xfrm>
              <a:off x="4449828" y="79111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1" name="Freeform 139"/>
            <p:cNvSpPr>
              <a:spLocks/>
            </p:cNvSpPr>
            <p:nvPr/>
          </p:nvSpPr>
          <p:spPr bwMode="auto">
            <a:xfrm>
              <a:off x="4449828" y="7688899"/>
              <a:ext cx="231775" cy="193675"/>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2" name="Freeform 140"/>
            <p:cNvSpPr>
              <a:spLocks/>
            </p:cNvSpPr>
            <p:nvPr/>
          </p:nvSpPr>
          <p:spPr bwMode="auto">
            <a:xfrm>
              <a:off x="4600640" y="7622224"/>
              <a:ext cx="80963" cy="38100"/>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3" name="Freeform 141"/>
            <p:cNvSpPr>
              <a:spLocks/>
            </p:cNvSpPr>
            <p:nvPr/>
          </p:nvSpPr>
          <p:spPr bwMode="auto">
            <a:xfrm>
              <a:off x="4449828" y="7466649"/>
              <a:ext cx="119063" cy="139700"/>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4" name="Freeform 142"/>
            <p:cNvSpPr>
              <a:spLocks noEditPoints="1"/>
            </p:cNvSpPr>
            <p:nvPr/>
          </p:nvSpPr>
          <p:spPr bwMode="auto">
            <a:xfrm>
              <a:off x="3543365" y="7438074"/>
              <a:ext cx="1238250" cy="590550"/>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45" name="Rectangle 160"/>
          <p:cNvSpPr/>
          <p:nvPr/>
        </p:nvSpPr>
        <p:spPr bwMode="auto">
          <a:xfrm>
            <a:off x="999799" y="4742383"/>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IN" sz="1200" dirty="0">
                <a:solidFill>
                  <a:srgbClr val="000000"/>
                </a:solidFill>
                <a:cs typeface="Segoe UI Light" panose="020B0502040204020203" pitchFamily="34" charset="0"/>
              </a:rPr>
              <a:t>Excel </a:t>
            </a:r>
            <a:r>
              <a:rPr lang="zh-TW" altLang="en-US" sz="1200" dirty="0">
                <a:solidFill>
                  <a:srgbClr val="000000"/>
                </a:solidFill>
                <a:cs typeface="Segoe UI Light" panose="020B0502040204020203" pitchFamily="34" charset="0"/>
              </a:rPr>
              <a:t>檔案</a:t>
            </a:r>
            <a:endParaRPr lang="en-IN" sz="1200" dirty="0">
              <a:solidFill>
                <a:srgbClr val="000000"/>
              </a:solidFill>
              <a:cs typeface="Segoe UI Light" panose="020B0502040204020203" pitchFamily="34" charset="0"/>
            </a:endParaRPr>
          </a:p>
          <a:p>
            <a:pPr defTabSz="914367"/>
            <a:r>
              <a:rPr lang="en-IN" sz="900" i="1" dirty="0">
                <a:solidFill>
                  <a:srgbClr val="000000"/>
                </a:solidFill>
                <a:cs typeface="Segoe UI Light" panose="020B0502040204020203" pitchFamily="34" charset="0"/>
              </a:rPr>
              <a:t>Workbook data or data models</a:t>
            </a:r>
          </a:p>
        </p:txBody>
      </p:sp>
      <p:sp>
        <p:nvSpPr>
          <p:cNvPr id="46" name="Oval 162"/>
          <p:cNvSpPr/>
          <p:nvPr/>
        </p:nvSpPr>
        <p:spPr bwMode="auto">
          <a:xfrm>
            <a:off x="644325" y="4742383"/>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47" name="Straight Connector 46"/>
          <p:cNvCxnSpPr/>
          <p:nvPr/>
        </p:nvCxnSpPr>
        <p:spPr>
          <a:xfrm>
            <a:off x="975189" y="5173911"/>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48" name="Oval 162"/>
          <p:cNvSpPr/>
          <p:nvPr/>
        </p:nvSpPr>
        <p:spPr bwMode="auto">
          <a:xfrm>
            <a:off x="644325" y="5250934"/>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sp>
        <p:nvSpPr>
          <p:cNvPr id="49" name="Rectangle 160"/>
          <p:cNvSpPr/>
          <p:nvPr/>
        </p:nvSpPr>
        <p:spPr bwMode="auto">
          <a:xfrm>
            <a:off x="999799" y="5250934"/>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IN" sz="1200" dirty="0">
                <a:solidFill>
                  <a:srgbClr val="000000"/>
                </a:solidFill>
                <a:cs typeface="Segoe UI Light" panose="020B0502040204020203" pitchFamily="34" charset="0"/>
              </a:rPr>
              <a:t>Power BI Desktop </a:t>
            </a:r>
            <a:r>
              <a:rPr lang="zh-TW" altLang="en-US" sz="1200" dirty="0">
                <a:solidFill>
                  <a:srgbClr val="000000"/>
                </a:solidFill>
                <a:cs typeface="Segoe UI Light" panose="020B0502040204020203" pitchFamily="34" charset="0"/>
              </a:rPr>
              <a:t>檔案</a:t>
            </a:r>
            <a:endParaRPr lang="en-IN" sz="1200" dirty="0">
              <a:solidFill>
                <a:srgbClr val="000000"/>
              </a:solidFill>
              <a:cs typeface="Segoe UI Light" panose="020B0502040204020203" pitchFamily="34" charset="0"/>
            </a:endParaRPr>
          </a:p>
          <a:p>
            <a:pPr defTabSz="914367"/>
            <a:r>
              <a:rPr lang="en-IN" sz="900" i="1" dirty="0">
                <a:solidFill>
                  <a:srgbClr val="000000"/>
                </a:solidFill>
                <a:cs typeface="Segoe UI Light" panose="020B0502040204020203" pitchFamily="34" charset="0"/>
              </a:rPr>
              <a:t>Related data from files, databases, Azure, and other sources</a:t>
            </a:r>
          </a:p>
        </p:txBody>
      </p:sp>
      <p:sp>
        <p:nvSpPr>
          <p:cNvPr id="50" name="Isosceles Triangle 153"/>
          <p:cNvSpPr/>
          <p:nvPr/>
        </p:nvSpPr>
        <p:spPr bwMode="auto">
          <a:xfrm rot="5400000">
            <a:off x="1882570" y="3967684"/>
            <a:ext cx="2964025" cy="33399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endParaRPr lang="en-US" sz="900" i="1" dirty="0">
              <a:solidFill>
                <a:srgbClr val="FFFFFF"/>
              </a:solidFill>
              <a:cs typeface="Segoe UI Light" panose="020B0502040204020203" pitchFamily="34" charset="0"/>
            </a:endParaRPr>
          </a:p>
        </p:txBody>
      </p:sp>
      <p:pic>
        <p:nvPicPr>
          <p:cNvPr id="51" name="Picture 50"/>
          <p:cNvPicPr>
            <a:picLocks noChangeAspect="1"/>
          </p:cNvPicPr>
          <p:nvPr/>
        </p:nvPicPr>
        <p:blipFill>
          <a:blip r:embed="rId2" cstate="print">
            <a:biLevel thresh="75000"/>
            <a:extLst>
              <a:ext uri="{BEBA8EAE-BF5A-486C-A8C5-ECC9F3942E4B}">
                <a14:imgProps xmlns:a14="http://schemas.microsoft.com/office/drawing/2010/main">
                  <a14:imgLayer r:embed="rId3">
                    <a14:imgEffect>
                      <a14:artisticPaintBrush/>
                    </a14:imgEffect>
                  </a14:imgLayer>
                </a14:imgProps>
              </a:ext>
              <a:ext uri="{28A0092B-C50C-407E-A947-70E740481C1C}">
                <a14:useLocalDpi xmlns:a14="http://schemas.microsoft.com/office/drawing/2010/main" val="0"/>
              </a:ext>
            </a:extLst>
          </a:blip>
          <a:stretch>
            <a:fillRect/>
          </a:stretch>
        </p:blipFill>
        <p:spPr>
          <a:xfrm>
            <a:off x="710525" y="4811633"/>
            <a:ext cx="240145" cy="240145"/>
          </a:xfrm>
          <a:prstGeom prst="rect">
            <a:avLst/>
          </a:prstGeom>
          <a:solidFill>
            <a:srgbClr val="EDC30D"/>
          </a:solidFill>
        </p:spPr>
      </p:pic>
      <p:pic>
        <p:nvPicPr>
          <p:cNvPr id="52" name="Picture 51"/>
          <p:cNvPicPr>
            <a:picLocks noChangeAspect="1"/>
          </p:cNvPicPr>
          <p:nvPr/>
        </p:nvPicPr>
        <p:blipFill rotWithShape="1">
          <a:blip r:embed="rId4"/>
          <a:srcRect l="6503" t="21287" r="74698" b="20220"/>
          <a:stretch/>
        </p:blipFill>
        <p:spPr>
          <a:xfrm>
            <a:off x="724230" y="5316584"/>
            <a:ext cx="228600" cy="231962"/>
          </a:xfrm>
          <a:prstGeom prst="rect">
            <a:avLst/>
          </a:prstGeom>
        </p:spPr>
      </p:pic>
      <p:grpSp>
        <p:nvGrpSpPr>
          <p:cNvPr id="53" name="Group 52"/>
          <p:cNvGrpSpPr/>
          <p:nvPr/>
        </p:nvGrpSpPr>
        <p:grpSpPr>
          <a:xfrm>
            <a:off x="4306193" y="5653954"/>
            <a:ext cx="1087784" cy="274320"/>
            <a:chOff x="4306193" y="5441922"/>
            <a:chExt cx="1087784" cy="274320"/>
          </a:xfrm>
        </p:grpSpPr>
        <p:sp>
          <p:nvSpPr>
            <p:cNvPr id="54" name="TextBox 293"/>
            <p:cNvSpPr txBox="1"/>
            <p:nvPr/>
          </p:nvSpPr>
          <p:spPr>
            <a:xfrm>
              <a:off x="4675832" y="5472564"/>
              <a:ext cx="718145"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zh-TW" altLang="en-US" sz="1400" dirty="0">
                  <a:solidFill>
                    <a:srgbClr val="000000"/>
                  </a:solidFill>
                  <a:ea typeface="Segoe UI" pitchFamily="34" charset="0"/>
                  <a:cs typeface="Segoe UI" pitchFamily="34" charset="0"/>
                </a:rPr>
                <a:t>資料更新</a:t>
              </a:r>
              <a:endParaRPr lang="en-US" sz="1400" dirty="0">
                <a:solidFill>
                  <a:srgbClr val="000000"/>
                </a:solidFill>
                <a:ea typeface="Segoe UI" pitchFamily="34" charset="0"/>
                <a:cs typeface="Segoe UI" pitchFamily="34" charset="0"/>
              </a:endParaRPr>
            </a:p>
          </p:txBody>
        </p:sp>
        <p:sp>
          <p:nvSpPr>
            <p:cNvPr id="55" name="Freeform 122"/>
            <p:cNvSpPr>
              <a:spLocks/>
            </p:cNvSpPr>
            <p:nvPr/>
          </p:nvSpPr>
          <p:spPr bwMode="black">
            <a:xfrm>
              <a:off x="4306193" y="5441922"/>
              <a:ext cx="274320" cy="27432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rgbClr val="EDC30D"/>
            </a:solidFill>
            <a:ln>
              <a:noFill/>
            </a:ln>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grpSp>
      <p:grpSp>
        <p:nvGrpSpPr>
          <p:cNvPr id="56" name="Group 55"/>
          <p:cNvGrpSpPr/>
          <p:nvPr/>
        </p:nvGrpSpPr>
        <p:grpSpPr>
          <a:xfrm>
            <a:off x="4306193" y="4000048"/>
            <a:ext cx="908248" cy="268606"/>
            <a:chOff x="4306193" y="3788016"/>
            <a:chExt cx="908248" cy="268606"/>
          </a:xfrm>
        </p:grpSpPr>
        <p:sp>
          <p:nvSpPr>
            <p:cNvPr id="57" name="TextBox 293"/>
            <p:cNvSpPr txBox="1"/>
            <p:nvPr/>
          </p:nvSpPr>
          <p:spPr>
            <a:xfrm>
              <a:off x="4675832" y="3818658"/>
              <a:ext cx="538609"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zh-TW" altLang="en-US" sz="1400" dirty="0">
                  <a:solidFill>
                    <a:srgbClr val="000000"/>
                  </a:solidFill>
                  <a:ea typeface="Segoe UI" pitchFamily="34" charset="0"/>
                  <a:cs typeface="Segoe UI" pitchFamily="34" charset="0"/>
                </a:rPr>
                <a:t>視覺化</a:t>
              </a:r>
              <a:endParaRPr lang="en-US" sz="1200" dirty="0">
                <a:solidFill>
                  <a:srgbClr val="000000"/>
                </a:solidFill>
                <a:ea typeface="Segoe UI" pitchFamily="34" charset="0"/>
                <a:cs typeface="Segoe UI" pitchFamily="34" charset="0"/>
              </a:endParaRPr>
            </a:p>
          </p:txBody>
        </p:sp>
        <p:sp>
          <p:nvSpPr>
            <p:cNvPr id="58" name="Freeform 57"/>
            <p:cNvSpPr>
              <a:spLocks noChangeAspect="1"/>
            </p:cNvSpPr>
            <p:nvPr/>
          </p:nvSpPr>
          <p:spPr bwMode="black">
            <a:xfrm>
              <a:off x="4306193" y="3788016"/>
              <a:ext cx="274320" cy="268606"/>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9" name="Group 58"/>
          <p:cNvGrpSpPr/>
          <p:nvPr/>
        </p:nvGrpSpPr>
        <p:grpSpPr>
          <a:xfrm>
            <a:off x="4305597" y="3448746"/>
            <a:ext cx="1267917" cy="274320"/>
            <a:chOff x="4305597" y="3236714"/>
            <a:chExt cx="1267917" cy="274320"/>
          </a:xfrm>
        </p:grpSpPr>
        <p:sp>
          <p:nvSpPr>
            <p:cNvPr id="60" name="TextBox 293"/>
            <p:cNvSpPr txBox="1"/>
            <p:nvPr/>
          </p:nvSpPr>
          <p:spPr>
            <a:xfrm>
              <a:off x="4675832" y="3268771"/>
              <a:ext cx="897682"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zh-TW" altLang="en-US" sz="1400" dirty="0">
                  <a:solidFill>
                    <a:srgbClr val="000000"/>
                  </a:solidFill>
                  <a:ea typeface="Segoe UI" pitchFamily="34" charset="0"/>
                  <a:cs typeface="Segoe UI" pitchFamily="34" charset="0"/>
                </a:rPr>
                <a:t>即時儀表板</a:t>
              </a:r>
              <a:endParaRPr lang="en-US" sz="1400" dirty="0">
                <a:solidFill>
                  <a:srgbClr val="000000"/>
                </a:solidFill>
                <a:ea typeface="Segoe UI" pitchFamily="34" charset="0"/>
                <a:cs typeface="Segoe UI" pitchFamily="34" charset="0"/>
              </a:endParaRPr>
            </a:p>
          </p:txBody>
        </p:sp>
        <p:sp>
          <p:nvSpPr>
            <p:cNvPr id="61" name="Freeform 5"/>
            <p:cNvSpPr>
              <a:spLocks noChangeAspect="1" noEditPoints="1"/>
            </p:cNvSpPr>
            <p:nvPr/>
          </p:nvSpPr>
          <p:spPr bwMode="black">
            <a:xfrm>
              <a:off x="4305597" y="3236714"/>
              <a:ext cx="275513" cy="274320"/>
            </a:xfrm>
            <a:custGeom>
              <a:avLst/>
              <a:gdLst>
                <a:gd name="T0" fmla="*/ 402 w 1088"/>
                <a:gd name="T1" fmla="*/ 588 h 1090"/>
                <a:gd name="T2" fmla="*/ 502 w 1088"/>
                <a:gd name="T3" fmla="*/ 688 h 1090"/>
                <a:gd name="T4" fmla="*/ 502 w 1088"/>
                <a:gd name="T5" fmla="*/ 989 h 1090"/>
                <a:gd name="T6" fmla="*/ 402 w 1088"/>
                <a:gd name="T7" fmla="*/ 1090 h 1090"/>
                <a:gd name="T8" fmla="*/ 100 w 1088"/>
                <a:gd name="T9" fmla="*/ 1090 h 1090"/>
                <a:gd name="T10" fmla="*/ 0 w 1088"/>
                <a:gd name="T11" fmla="*/ 989 h 1090"/>
                <a:gd name="T12" fmla="*/ 0 w 1088"/>
                <a:gd name="T13" fmla="*/ 688 h 1090"/>
                <a:gd name="T14" fmla="*/ 100 w 1088"/>
                <a:gd name="T15" fmla="*/ 588 h 1090"/>
                <a:gd name="T16" fmla="*/ 402 w 1088"/>
                <a:gd name="T17" fmla="*/ 588 h 1090"/>
                <a:gd name="T18" fmla="*/ 402 w 1088"/>
                <a:gd name="T19" fmla="*/ 588 h 1090"/>
                <a:gd name="T20" fmla="*/ 402 w 1088"/>
                <a:gd name="T21" fmla="*/ 2 h 1090"/>
                <a:gd name="T22" fmla="*/ 402 w 1088"/>
                <a:gd name="T23" fmla="*/ 2 h 1090"/>
                <a:gd name="T24" fmla="*/ 100 w 1088"/>
                <a:gd name="T25" fmla="*/ 2 h 1090"/>
                <a:gd name="T26" fmla="*/ 0 w 1088"/>
                <a:gd name="T27" fmla="*/ 103 h 1090"/>
                <a:gd name="T28" fmla="*/ 0 w 1088"/>
                <a:gd name="T29" fmla="*/ 403 h 1090"/>
                <a:gd name="T30" fmla="*/ 100 w 1088"/>
                <a:gd name="T31" fmla="*/ 504 h 1090"/>
                <a:gd name="T32" fmla="*/ 402 w 1088"/>
                <a:gd name="T33" fmla="*/ 504 h 1090"/>
                <a:gd name="T34" fmla="*/ 502 w 1088"/>
                <a:gd name="T35" fmla="*/ 403 h 1090"/>
                <a:gd name="T36" fmla="*/ 502 w 1088"/>
                <a:gd name="T37" fmla="*/ 103 h 1090"/>
                <a:gd name="T38" fmla="*/ 402 w 1088"/>
                <a:gd name="T39" fmla="*/ 2 h 1090"/>
                <a:gd name="T40" fmla="*/ 966 w 1088"/>
                <a:gd name="T41" fmla="*/ 0 h 1090"/>
                <a:gd name="T42" fmla="*/ 1088 w 1088"/>
                <a:gd name="T43" fmla="*/ 121 h 1090"/>
                <a:gd name="T44" fmla="*/ 1088 w 1088"/>
                <a:gd name="T45" fmla="*/ 383 h 1090"/>
                <a:gd name="T46" fmla="*/ 966 w 1088"/>
                <a:gd name="T47" fmla="*/ 504 h 1090"/>
                <a:gd name="T48" fmla="*/ 704 w 1088"/>
                <a:gd name="T49" fmla="*/ 504 h 1090"/>
                <a:gd name="T50" fmla="*/ 583 w 1088"/>
                <a:gd name="T51" fmla="*/ 383 h 1090"/>
                <a:gd name="T52" fmla="*/ 583 w 1088"/>
                <a:gd name="T53" fmla="*/ 121 h 1090"/>
                <a:gd name="T54" fmla="*/ 704 w 1088"/>
                <a:gd name="T55" fmla="*/ 0 h 1090"/>
                <a:gd name="T56" fmla="*/ 966 w 1088"/>
                <a:gd name="T57" fmla="*/ 0 h 1090"/>
                <a:gd name="T58" fmla="*/ 1020 w 1088"/>
                <a:gd name="T59" fmla="*/ 383 h 1090"/>
                <a:gd name="T60" fmla="*/ 1020 w 1088"/>
                <a:gd name="T61" fmla="*/ 383 h 1090"/>
                <a:gd name="T62" fmla="*/ 1020 w 1088"/>
                <a:gd name="T63" fmla="*/ 121 h 1090"/>
                <a:gd name="T64" fmla="*/ 966 w 1088"/>
                <a:gd name="T65" fmla="*/ 67 h 1090"/>
                <a:gd name="T66" fmla="*/ 704 w 1088"/>
                <a:gd name="T67" fmla="*/ 67 h 1090"/>
                <a:gd name="T68" fmla="*/ 650 w 1088"/>
                <a:gd name="T69" fmla="*/ 121 h 1090"/>
                <a:gd name="T70" fmla="*/ 650 w 1088"/>
                <a:gd name="T71" fmla="*/ 383 h 1090"/>
                <a:gd name="T72" fmla="*/ 704 w 1088"/>
                <a:gd name="T73" fmla="*/ 437 h 1090"/>
                <a:gd name="T74" fmla="*/ 966 w 1088"/>
                <a:gd name="T75" fmla="*/ 437 h 1090"/>
                <a:gd name="T76" fmla="*/ 1020 w 1088"/>
                <a:gd name="T77" fmla="*/ 383 h 1090"/>
                <a:gd name="T78" fmla="*/ 584 w 1088"/>
                <a:gd name="T79" fmla="*/ 688 h 1090"/>
                <a:gd name="T80" fmla="*/ 584 w 1088"/>
                <a:gd name="T81" fmla="*/ 688 h 1090"/>
                <a:gd name="T82" fmla="*/ 584 w 1088"/>
                <a:gd name="T83" fmla="*/ 989 h 1090"/>
                <a:gd name="T84" fmla="*/ 686 w 1088"/>
                <a:gd name="T85" fmla="*/ 1090 h 1090"/>
                <a:gd name="T86" fmla="*/ 987 w 1088"/>
                <a:gd name="T87" fmla="*/ 1090 h 1090"/>
                <a:gd name="T88" fmla="*/ 1088 w 1088"/>
                <a:gd name="T89" fmla="*/ 989 h 1090"/>
                <a:gd name="T90" fmla="*/ 1088 w 1088"/>
                <a:gd name="T91" fmla="*/ 688 h 1090"/>
                <a:gd name="T92" fmla="*/ 987 w 1088"/>
                <a:gd name="T93" fmla="*/ 588 h 1090"/>
                <a:gd name="T94" fmla="*/ 686 w 1088"/>
                <a:gd name="T95" fmla="*/ 588 h 1090"/>
                <a:gd name="T96" fmla="*/ 584 w 1088"/>
                <a:gd name="T97" fmla="*/ 688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8" h="1090">
                  <a:moveTo>
                    <a:pt x="402" y="588"/>
                  </a:moveTo>
                  <a:cubicBezTo>
                    <a:pt x="469" y="588"/>
                    <a:pt x="502" y="621"/>
                    <a:pt x="502" y="688"/>
                  </a:cubicBezTo>
                  <a:cubicBezTo>
                    <a:pt x="502" y="989"/>
                    <a:pt x="502" y="989"/>
                    <a:pt x="502" y="989"/>
                  </a:cubicBezTo>
                  <a:cubicBezTo>
                    <a:pt x="502" y="1056"/>
                    <a:pt x="469" y="1090"/>
                    <a:pt x="402" y="1090"/>
                  </a:cubicBezTo>
                  <a:cubicBezTo>
                    <a:pt x="100" y="1090"/>
                    <a:pt x="100" y="1090"/>
                    <a:pt x="100" y="1090"/>
                  </a:cubicBezTo>
                  <a:cubicBezTo>
                    <a:pt x="33" y="1090"/>
                    <a:pt x="0" y="1056"/>
                    <a:pt x="0" y="989"/>
                  </a:cubicBezTo>
                  <a:cubicBezTo>
                    <a:pt x="0" y="688"/>
                    <a:pt x="0" y="688"/>
                    <a:pt x="0" y="688"/>
                  </a:cubicBezTo>
                  <a:cubicBezTo>
                    <a:pt x="0" y="621"/>
                    <a:pt x="33" y="588"/>
                    <a:pt x="100" y="588"/>
                  </a:cubicBezTo>
                  <a:cubicBezTo>
                    <a:pt x="402" y="588"/>
                    <a:pt x="402" y="588"/>
                    <a:pt x="402" y="588"/>
                  </a:cubicBezTo>
                  <a:cubicBezTo>
                    <a:pt x="402" y="588"/>
                    <a:pt x="402" y="588"/>
                    <a:pt x="402" y="588"/>
                  </a:cubicBezTo>
                  <a:close/>
                  <a:moveTo>
                    <a:pt x="402" y="2"/>
                  </a:moveTo>
                  <a:cubicBezTo>
                    <a:pt x="402" y="2"/>
                    <a:pt x="402" y="2"/>
                    <a:pt x="402" y="2"/>
                  </a:cubicBezTo>
                  <a:cubicBezTo>
                    <a:pt x="100" y="2"/>
                    <a:pt x="100" y="2"/>
                    <a:pt x="100" y="2"/>
                  </a:cubicBezTo>
                  <a:cubicBezTo>
                    <a:pt x="33" y="2"/>
                    <a:pt x="0" y="36"/>
                    <a:pt x="0" y="103"/>
                  </a:cubicBezTo>
                  <a:cubicBezTo>
                    <a:pt x="0" y="103"/>
                    <a:pt x="0" y="103"/>
                    <a:pt x="0" y="403"/>
                  </a:cubicBezTo>
                  <a:cubicBezTo>
                    <a:pt x="0" y="471"/>
                    <a:pt x="33" y="504"/>
                    <a:pt x="100" y="504"/>
                  </a:cubicBezTo>
                  <a:cubicBezTo>
                    <a:pt x="100" y="504"/>
                    <a:pt x="100" y="504"/>
                    <a:pt x="402" y="504"/>
                  </a:cubicBezTo>
                  <a:cubicBezTo>
                    <a:pt x="469" y="504"/>
                    <a:pt x="502" y="471"/>
                    <a:pt x="502" y="403"/>
                  </a:cubicBezTo>
                  <a:cubicBezTo>
                    <a:pt x="502" y="403"/>
                    <a:pt x="502" y="403"/>
                    <a:pt x="502" y="103"/>
                  </a:cubicBezTo>
                  <a:cubicBezTo>
                    <a:pt x="502" y="36"/>
                    <a:pt x="469" y="2"/>
                    <a:pt x="402" y="2"/>
                  </a:cubicBezTo>
                  <a:close/>
                  <a:moveTo>
                    <a:pt x="966" y="0"/>
                  </a:moveTo>
                  <a:cubicBezTo>
                    <a:pt x="1048" y="0"/>
                    <a:pt x="1088" y="40"/>
                    <a:pt x="1088" y="121"/>
                  </a:cubicBezTo>
                  <a:cubicBezTo>
                    <a:pt x="1088" y="121"/>
                    <a:pt x="1088" y="121"/>
                    <a:pt x="1088" y="383"/>
                  </a:cubicBezTo>
                  <a:cubicBezTo>
                    <a:pt x="1088" y="464"/>
                    <a:pt x="1048" y="504"/>
                    <a:pt x="966" y="504"/>
                  </a:cubicBezTo>
                  <a:cubicBezTo>
                    <a:pt x="966" y="504"/>
                    <a:pt x="966" y="504"/>
                    <a:pt x="704" y="504"/>
                  </a:cubicBezTo>
                  <a:cubicBezTo>
                    <a:pt x="623" y="504"/>
                    <a:pt x="583" y="464"/>
                    <a:pt x="583" y="383"/>
                  </a:cubicBezTo>
                  <a:cubicBezTo>
                    <a:pt x="583" y="383"/>
                    <a:pt x="583" y="383"/>
                    <a:pt x="583" y="121"/>
                  </a:cubicBezTo>
                  <a:cubicBezTo>
                    <a:pt x="583" y="40"/>
                    <a:pt x="623" y="0"/>
                    <a:pt x="704" y="0"/>
                  </a:cubicBezTo>
                  <a:cubicBezTo>
                    <a:pt x="704" y="0"/>
                    <a:pt x="704" y="0"/>
                    <a:pt x="966" y="0"/>
                  </a:cubicBezTo>
                  <a:close/>
                  <a:moveTo>
                    <a:pt x="1020" y="383"/>
                  </a:moveTo>
                  <a:cubicBezTo>
                    <a:pt x="1020" y="383"/>
                    <a:pt x="1020" y="383"/>
                    <a:pt x="1020" y="383"/>
                  </a:cubicBezTo>
                  <a:cubicBezTo>
                    <a:pt x="1020" y="121"/>
                    <a:pt x="1020" y="121"/>
                    <a:pt x="1020" y="121"/>
                  </a:cubicBezTo>
                  <a:cubicBezTo>
                    <a:pt x="1020" y="85"/>
                    <a:pt x="1002" y="67"/>
                    <a:pt x="966" y="67"/>
                  </a:cubicBezTo>
                  <a:cubicBezTo>
                    <a:pt x="966" y="67"/>
                    <a:pt x="966" y="67"/>
                    <a:pt x="704" y="67"/>
                  </a:cubicBezTo>
                  <a:cubicBezTo>
                    <a:pt x="668" y="67"/>
                    <a:pt x="650" y="85"/>
                    <a:pt x="650" y="121"/>
                  </a:cubicBezTo>
                  <a:cubicBezTo>
                    <a:pt x="650" y="121"/>
                    <a:pt x="650" y="121"/>
                    <a:pt x="650" y="383"/>
                  </a:cubicBezTo>
                  <a:cubicBezTo>
                    <a:pt x="650" y="419"/>
                    <a:pt x="668" y="437"/>
                    <a:pt x="704" y="437"/>
                  </a:cubicBezTo>
                  <a:cubicBezTo>
                    <a:pt x="704" y="437"/>
                    <a:pt x="704" y="437"/>
                    <a:pt x="966" y="437"/>
                  </a:cubicBezTo>
                  <a:cubicBezTo>
                    <a:pt x="1002" y="437"/>
                    <a:pt x="1020" y="419"/>
                    <a:pt x="1020" y="383"/>
                  </a:cubicBezTo>
                  <a:close/>
                  <a:moveTo>
                    <a:pt x="584" y="688"/>
                  </a:moveTo>
                  <a:cubicBezTo>
                    <a:pt x="584" y="688"/>
                    <a:pt x="584" y="688"/>
                    <a:pt x="584" y="688"/>
                  </a:cubicBezTo>
                  <a:cubicBezTo>
                    <a:pt x="584" y="989"/>
                    <a:pt x="584" y="989"/>
                    <a:pt x="584" y="989"/>
                  </a:cubicBezTo>
                  <a:cubicBezTo>
                    <a:pt x="584" y="1056"/>
                    <a:pt x="619" y="1090"/>
                    <a:pt x="686" y="1090"/>
                  </a:cubicBezTo>
                  <a:cubicBezTo>
                    <a:pt x="686" y="1090"/>
                    <a:pt x="686" y="1090"/>
                    <a:pt x="987" y="1090"/>
                  </a:cubicBezTo>
                  <a:cubicBezTo>
                    <a:pt x="1054" y="1090"/>
                    <a:pt x="1088" y="1056"/>
                    <a:pt x="1088" y="989"/>
                  </a:cubicBezTo>
                  <a:cubicBezTo>
                    <a:pt x="1088" y="989"/>
                    <a:pt x="1088" y="989"/>
                    <a:pt x="1088" y="688"/>
                  </a:cubicBezTo>
                  <a:cubicBezTo>
                    <a:pt x="1088" y="621"/>
                    <a:pt x="1054" y="588"/>
                    <a:pt x="987" y="588"/>
                  </a:cubicBezTo>
                  <a:cubicBezTo>
                    <a:pt x="987" y="588"/>
                    <a:pt x="987" y="588"/>
                    <a:pt x="686" y="588"/>
                  </a:cubicBezTo>
                  <a:cubicBezTo>
                    <a:pt x="619" y="588"/>
                    <a:pt x="584" y="621"/>
                    <a:pt x="584" y="688"/>
                  </a:cubicBezTo>
                  <a:close/>
                </a:path>
              </a:pathLst>
            </a:custGeom>
            <a:solidFill>
              <a:srgbClr val="EDC30D"/>
            </a:solidFill>
            <a:ln>
              <a:noFill/>
            </a:ln>
          </p:spPr>
          <p:txBody>
            <a:bodyPr vert="horz" wrap="square" lIns="68574" tIns="34287" rIns="68574" bIns="34287" numCol="1" anchor="t" anchorCtr="0" compatLnSpc="1">
              <a:prstTxWarp prst="textNoShape">
                <a:avLst/>
              </a:prstTxWarp>
            </a:bodyPr>
            <a:lstStyle/>
            <a:p>
              <a:endParaRPr lang="en-US" sz="1350" dirty="0">
                <a:solidFill>
                  <a:srgbClr val="000000"/>
                </a:solidFill>
              </a:endParaRPr>
            </a:p>
          </p:txBody>
        </p:sp>
      </p:grpSp>
      <p:grpSp>
        <p:nvGrpSpPr>
          <p:cNvPr id="62" name="Group 61"/>
          <p:cNvGrpSpPr/>
          <p:nvPr/>
        </p:nvGrpSpPr>
        <p:grpSpPr>
          <a:xfrm>
            <a:off x="4306193" y="2846414"/>
            <a:ext cx="1087784" cy="290409"/>
            <a:chOff x="4306193" y="2634382"/>
            <a:chExt cx="1087784" cy="290409"/>
          </a:xfrm>
        </p:grpSpPr>
        <p:sp>
          <p:nvSpPr>
            <p:cNvPr id="63" name="Freeform 62"/>
            <p:cNvSpPr>
              <a:spLocks noChangeAspect="1"/>
            </p:cNvSpPr>
            <p:nvPr/>
          </p:nvSpPr>
          <p:spPr bwMode="black">
            <a:xfrm>
              <a:off x="4306193" y="2634382"/>
              <a:ext cx="274320" cy="290409"/>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1177" tIns="56942" rIns="71177" bIns="56942"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362895" fontAlgn="base">
                <a:lnSpc>
                  <a:spcPct val="90000"/>
                </a:lnSpc>
                <a:spcBef>
                  <a:spcPct val="0"/>
                </a:spcBef>
                <a:spcAft>
                  <a:spcPct val="0"/>
                </a:spcAft>
              </a:pPr>
              <a:endParaRPr lang="en-US" sz="934" dirty="0">
                <a:gradFill>
                  <a:gsLst>
                    <a:gs pos="0">
                      <a:srgbClr val="FFFFFF"/>
                    </a:gs>
                    <a:gs pos="100000">
                      <a:srgbClr val="FFFFFF"/>
                    </a:gs>
                  </a:gsLst>
                  <a:lin ang="5400000" scaled="0"/>
                </a:gradFill>
                <a:ea typeface="Segoe UI" pitchFamily="34" charset="0"/>
                <a:cs typeface="Segoe UI" pitchFamily="34" charset="0"/>
              </a:endParaRPr>
            </a:p>
          </p:txBody>
        </p:sp>
        <p:sp>
          <p:nvSpPr>
            <p:cNvPr id="64" name="TextBox 293"/>
            <p:cNvSpPr txBox="1"/>
            <p:nvPr/>
          </p:nvSpPr>
          <p:spPr>
            <a:xfrm>
              <a:off x="4675832" y="2664610"/>
              <a:ext cx="718145"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zh-TW" altLang="en-US" sz="1400" dirty="0">
                  <a:solidFill>
                    <a:srgbClr val="000000"/>
                  </a:solidFill>
                  <a:ea typeface="Segoe UI" pitchFamily="34" charset="0"/>
                  <a:cs typeface="Segoe UI" pitchFamily="34" charset="0"/>
                </a:rPr>
                <a:t>內容套件</a:t>
              </a:r>
              <a:endParaRPr lang="en-US" sz="1400" dirty="0">
                <a:solidFill>
                  <a:srgbClr val="000000"/>
                </a:solidFill>
                <a:ea typeface="Segoe UI" pitchFamily="34" charset="0"/>
                <a:cs typeface="Segoe UI" pitchFamily="34" charset="0"/>
              </a:endParaRPr>
            </a:p>
          </p:txBody>
        </p:sp>
      </p:grpSp>
      <p:sp>
        <p:nvSpPr>
          <p:cNvPr id="65" name="Left Bracket 64"/>
          <p:cNvSpPr/>
          <p:nvPr/>
        </p:nvSpPr>
        <p:spPr>
          <a:xfrm>
            <a:off x="4133759" y="3023431"/>
            <a:ext cx="170037" cy="2994038"/>
          </a:xfrm>
          <a:prstGeom prst="leftBracket">
            <a:avLst/>
          </a:prstGeom>
          <a:noFill/>
          <a:ln w="28575">
            <a:solidFill>
              <a:srgbClr val="EDC30D"/>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000000"/>
              </a:solidFill>
            </a:endParaRPr>
          </a:p>
        </p:txBody>
      </p:sp>
      <p:grpSp>
        <p:nvGrpSpPr>
          <p:cNvPr id="66" name="Group 65"/>
          <p:cNvGrpSpPr/>
          <p:nvPr/>
        </p:nvGrpSpPr>
        <p:grpSpPr>
          <a:xfrm>
            <a:off x="9011801" y="2870751"/>
            <a:ext cx="1267574" cy="274320"/>
            <a:chOff x="9011801" y="2831439"/>
            <a:chExt cx="1267574" cy="274320"/>
          </a:xfrm>
        </p:grpSpPr>
        <p:sp>
          <p:nvSpPr>
            <p:cNvPr id="67" name="TextBox 293"/>
            <p:cNvSpPr txBox="1"/>
            <p:nvPr/>
          </p:nvSpPr>
          <p:spPr>
            <a:xfrm>
              <a:off x="9381693" y="2847432"/>
              <a:ext cx="897682"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zh-TW" altLang="en-US" sz="1400" dirty="0">
                  <a:solidFill>
                    <a:srgbClr val="000000"/>
                  </a:solidFill>
                  <a:ea typeface="Segoe UI" pitchFamily="34" charset="0"/>
                  <a:cs typeface="Segoe UI" pitchFamily="34" charset="0"/>
                </a:rPr>
                <a:t>分享與協作</a:t>
              </a:r>
              <a:endParaRPr lang="en-US" sz="1400" dirty="0">
                <a:solidFill>
                  <a:srgbClr val="000000"/>
                </a:solidFill>
                <a:ea typeface="Segoe UI" pitchFamily="34" charset="0"/>
                <a:cs typeface="Segoe UI" pitchFamily="34" charset="0"/>
              </a:endParaRPr>
            </a:p>
          </p:txBody>
        </p:sp>
        <p:sp>
          <p:nvSpPr>
            <p:cNvPr id="68" name="Freeform 67"/>
            <p:cNvSpPr>
              <a:spLocks noChangeAspect="1"/>
            </p:cNvSpPr>
            <p:nvPr/>
          </p:nvSpPr>
          <p:spPr bwMode="black">
            <a:xfrm>
              <a:off x="9011801" y="2831439"/>
              <a:ext cx="312642" cy="274320"/>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rgbClr val="EDC30D"/>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9" name="Group 68"/>
          <p:cNvGrpSpPr/>
          <p:nvPr/>
        </p:nvGrpSpPr>
        <p:grpSpPr>
          <a:xfrm>
            <a:off x="6395967" y="2874331"/>
            <a:ext cx="1425472" cy="232779"/>
            <a:chOff x="6395967" y="2662299"/>
            <a:chExt cx="1425472" cy="232779"/>
          </a:xfrm>
        </p:grpSpPr>
        <p:sp>
          <p:nvSpPr>
            <p:cNvPr id="70" name="TextBox 293"/>
            <p:cNvSpPr txBox="1"/>
            <p:nvPr/>
          </p:nvSpPr>
          <p:spPr>
            <a:xfrm>
              <a:off x="6744221" y="2679634"/>
              <a:ext cx="1077218"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zh-TW" altLang="en-US" sz="1400" dirty="0">
                  <a:solidFill>
                    <a:srgbClr val="000000"/>
                  </a:solidFill>
                  <a:ea typeface="Segoe UI" pitchFamily="34" charset="0"/>
                  <a:cs typeface="Segoe UI" pitchFamily="34" charset="0"/>
                </a:rPr>
                <a:t>自然語言查詢</a:t>
              </a:r>
              <a:endParaRPr lang="en-US" sz="1400" dirty="0">
                <a:solidFill>
                  <a:srgbClr val="000000"/>
                </a:solidFill>
                <a:ea typeface="Segoe UI" pitchFamily="34" charset="0"/>
                <a:cs typeface="Segoe UI" pitchFamily="34" charset="0"/>
              </a:endParaRPr>
            </a:p>
          </p:txBody>
        </p:sp>
        <p:sp>
          <p:nvSpPr>
            <p:cNvPr id="71" name="Oval Callout 70"/>
            <p:cNvSpPr/>
            <p:nvPr/>
          </p:nvSpPr>
          <p:spPr bwMode="auto">
            <a:xfrm>
              <a:off x="6395967" y="2662299"/>
              <a:ext cx="274320" cy="228600"/>
            </a:xfrm>
            <a:prstGeom prst="wedgeEllipseCallout">
              <a:avLst>
                <a:gd name="adj1" fmla="val -59325"/>
                <a:gd name="adj2" fmla="val 71225"/>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800" b="1" dirty="0">
                <a:solidFill>
                  <a:srgbClr val="000000"/>
                </a:solidFill>
                <a:ea typeface="Segoe UI" pitchFamily="34" charset="0"/>
                <a:cs typeface="Segoe UI" pitchFamily="34" charset="0"/>
              </a:endParaRPr>
            </a:p>
          </p:txBody>
        </p:sp>
      </p:grpSp>
      <p:grpSp>
        <p:nvGrpSpPr>
          <p:cNvPr id="72" name="Group 71"/>
          <p:cNvGrpSpPr/>
          <p:nvPr/>
        </p:nvGrpSpPr>
        <p:grpSpPr>
          <a:xfrm>
            <a:off x="4306193" y="4576706"/>
            <a:ext cx="728712" cy="311845"/>
            <a:chOff x="4306193" y="4364674"/>
            <a:chExt cx="728712" cy="311845"/>
          </a:xfrm>
        </p:grpSpPr>
        <p:sp>
          <p:nvSpPr>
            <p:cNvPr id="73" name="TextBox 293"/>
            <p:cNvSpPr txBox="1"/>
            <p:nvPr/>
          </p:nvSpPr>
          <p:spPr>
            <a:xfrm>
              <a:off x="4675832" y="4391568"/>
              <a:ext cx="359073"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zh-TW" altLang="en-US" sz="1400" dirty="0">
                  <a:solidFill>
                    <a:srgbClr val="000000"/>
                  </a:solidFill>
                  <a:ea typeface="Segoe UI" pitchFamily="34" charset="0"/>
                  <a:cs typeface="Segoe UI" pitchFamily="34" charset="0"/>
                </a:rPr>
                <a:t>報表</a:t>
              </a:r>
              <a:endParaRPr lang="en-US" sz="1200" dirty="0">
                <a:solidFill>
                  <a:srgbClr val="000000"/>
                </a:solidFill>
                <a:ea typeface="Segoe UI" pitchFamily="34" charset="0"/>
                <a:cs typeface="Segoe UI" pitchFamily="34" charset="0"/>
              </a:endParaRPr>
            </a:p>
          </p:txBody>
        </p:sp>
        <p:sp>
          <p:nvSpPr>
            <p:cNvPr id="74" name="Flowchart: Document 73"/>
            <p:cNvSpPr/>
            <p:nvPr/>
          </p:nvSpPr>
          <p:spPr bwMode="auto">
            <a:xfrm>
              <a:off x="4306193" y="4364674"/>
              <a:ext cx="274320" cy="311845"/>
            </a:xfrm>
            <a:prstGeom prst="flowChartDocument">
              <a:avLst/>
            </a:prstGeom>
            <a:noFill/>
            <a:ln w="28575">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75" name="Group 74"/>
          <p:cNvGrpSpPr/>
          <p:nvPr/>
        </p:nvGrpSpPr>
        <p:grpSpPr>
          <a:xfrm>
            <a:off x="3979430" y="4983550"/>
            <a:ext cx="1235011" cy="572464"/>
            <a:chOff x="3979430" y="4771518"/>
            <a:chExt cx="1235011" cy="572464"/>
          </a:xfrm>
        </p:grpSpPr>
        <p:sp>
          <p:nvSpPr>
            <p:cNvPr id="76" name="TextBox 293"/>
            <p:cNvSpPr txBox="1"/>
            <p:nvPr/>
          </p:nvSpPr>
          <p:spPr>
            <a:xfrm>
              <a:off x="4675832" y="4921262"/>
              <a:ext cx="538609"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zh-TW" altLang="en-US" sz="1400" dirty="0">
                  <a:solidFill>
                    <a:srgbClr val="000000"/>
                  </a:solidFill>
                  <a:ea typeface="Segoe UI" pitchFamily="34" charset="0"/>
                  <a:cs typeface="Segoe UI" pitchFamily="34" charset="0"/>
                </a:rPr>
                <a:t>資料集</a:t>
              </a:r>
              <a:endParaRPr lang="en-US" sz="1400" dirty="0">
                <a:solidFill>
                  <a:srgbClr val="000000"/>
                </a:solidFill>
                <a:ea typeface="Segoe UI" pitchFamily="34" charset="0"/>
                <a:cs typeface="Segoe UI" pitchFamily="34" charset="0"/>
              </a:endParaRPr>
            </a:p>
          </p:txBody>
        </p:sp>
        <p:sp>
          <p:nvSpPr>
            <p:cNvPr id="77" name="TextBox 76"/>
            <p:cNvSpPr txBox="1"/>
            <p:nvPr/>
          </p:nvSpPr>
          <p:spPr>
            <a:xfrm>
              <a:off x="3979430" y="4771518"/>
              <a:ext cx="927847" cy="572464"/>
            </a:xfrm>
            <a:prstGeom prst="rect">
              <a:avLst/>
            </a:prstGeom>
            <a:noFill/>
          </p:spPr>
          <p:txBody>
            <a:bodyPr wrap="square" lIns="182880" tIns="146304" rIns="182880" bIns="146304" rtlCol="0">
              <a:spAutoFit/>
            </a:bodyPr>
            <a:lstStyle/>
            <a:p>
              <a:pPr algn="ctr"/>
              <a:r>
                <a:rPr lang="en-US" sz="900" b="1" dirty="0">
                  <a:solidFill>
                    <a:srgbClr val="F2C812"/>
                  </a:solidFill>
                </a:rPr>
                <a:t>01001</a:t>
              </a:r>
            </a:p>
            <a:p>
              <a:pPr algn="ctr"/>
              <a:r>
                <a:rPr lang="en-US" sz="900" b="1" dirty="0">
                  <a:solidFill>
                    <a:srgbClr val="F2C812"/>
                  </a:solidFill>
                </a:rPr>
                <a:t>10101</a:t>
              </a:r>
            </a:p>
          </p:txBody>
        </p:sp>
      </p:grpSp>
      <p:grpSp>
        <p:nvGrpSpPr>
          <p:cNvPr id="78" name="Group 77"/>
          <p:cNvGrpSpPr/>
          <p:nvPr/>
        </p:nvGrpSpPr>
        <p:grpSpPr>
          <a:xfrm>
            <a:off x="6090885" y="3448746"/>
            <a:ext cx="5059237" cy="2459479"/>
            <a:chOff x="7018864" y="2257415"/>
            <a:chExt cx="5059237" cy="2459479"/>
          </a:xfrm>
        </p:grpSpPr>
        <p:grpSp>
          <p:nvGrpSpPr>
            <p:cNvPr id="79" name="Group 78"/>
            <p:cNvGrpSpPr/>
            <p:nvPr/>
          </p:nvGrpSpPr>
          <p:grpSpPr>
            <a:xfrm>
              <a:off x="7018864" y="2257415"/>
              <a:ext cx="5059237" cy="2459479"/>
              <a:chOff x="7018864" y="2257415"/>
              <a:chExt cx="5059237" cy="2459479"/>
            </a:xfrm>
          </p:grpSpPr>
          <p:grpSp>
            <p:nvGrpSpPr>
              <p:cNvPr id="81" name="Group 80"/>
              <p:cNvGrpSpPr>
                <a:grpSpLocks noChangeAspect="1"/>
              </p:cNvGrpSpPr>
              <p:nvPr/>
            </p:nvGrpSpPr>
            <p:grpSpPr>
              <a:xfrm>
                <a:off x="10432181" y="2257415"/>
                <a:ext cx="548640" cy="1042085"/>
                <a:chOff x="10286449" y="1529656"/>
                <a:chExt cx="917410" cy="1742525"/>
              </a:xfrm>
            </p:grpSpPr>
            <p:sp>
              <p:nvSpPr>
                <p:cNvPr id="92" name="Rounded Rectangle 91"/>
                <p:cNvSpPr/>
                <p:nvPr/>
              </p:nvSpPr>
              <p:spPr bwMode="auto">
                <a:xfrm>
                  <a:off x="10493458" y="1529656"/>
                  <a:ext cx="489183" cy="1739862"/>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93" name="Picture 92"/>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10372236" y="1690687"/>
                  <a:ext cx="745838" cy="1344992"/>
                </a:xfrm>
                <a:prstGeom prst="rect">
                  <a:avLst/>
                </a:prstGeom>
                <a:noFill/>
                <a:ln>
                  <a:noFill/>
                </a:ln>
              </p:spPr>
            </p:pic>
            <p:pic>
              <p:nvPicPr>
                <p:cNvPr id="94" name="Picture 93"/>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10372230" y="1818052"/>
                  <a:ext cx="745838" cy="1112933"/>
                </a:xfrm>
                <a:prstGeom prst="rect">
                  <a:avLst/>
                </a:prstGeom>
              </p:spPr>
            </p:pic>
            <p:sp>
              <p:nvSpPr>
                <p:cNvPr id="95" name="Rounded Rectangle 223"/>
                <p:cNvSpPr/>
                <p:nvPr/>
              </p:nvSpPr>
              <p:spPr bwMode="auto">
                <a:xfrm>
                  <a:off x="10286449" y="1529656"/>
                  <a:ext cx="917410" cy="1742525"/>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800" spc="-49" dirty="0">
                    <a:solidFill>
                      <a:srgbClr val="68217A"/>
                    </a:solidFill>
                    <a:ea typeface="Segoe UI" pitchFamily="34" charset="0"/>
                    <a:cs typeface="Segoe UI" pitchFamily="34" charset="0"/>
                  </a:endParaRPr>
                </a:p>
              </p:txBody>
            </p:sp>
          </p:grpSp>
          <p:sp>
            <p:nvSpPr>
              <p:cNvPr id="82" name="Freeform 1383"/>
              <p:cNvSpPr>
                <a:spLocks noChangeAspect="1" noEditPoints="1"/>
              </p:cNvSpPr>
              <p:nvPr/>
            </p:nvSpPr>
            <p:spPr bwMode="auto">
              <a:xfrm>
                <a:off x="7018864" y="2534980"/>
                <a:ext cx="3840480" cy="2181914"/>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chemeClr val="accent3">
                  <a:lumMod val="50000"/>
                </a:schemeClr>
              </a:solidFill>
              <a:ln w="9525">
                <a:solidFill>
                  <a:schemeClr val="bg1"/>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600" dirty="0">
                  <a:solidFill>
                    <a:srgbClr val="000000"/>
                  </a:solidFill>
                </a:endParaRPr>
              </a:p>
            </p:txBody>
          </p:sp>
          <p:grpSp>
            <p:nvGrpSpPr>
              <p:cNvPr id="83" name="Group 82"/>
              <p:cNvGrpSpPr>
                <a:grpSpLocks noChangeAspect="1"/>
              </p:cNvGrpSpPr>
              <p:nvPr/>
            </p:nvGrpSpPr>
            <p:grpSpPr>
              <a:xfrm>
                <a:off x="10432181" y="3352369"/>
                <a:ext cx="1645920" cy="1132186"/>
                <a:chOff x="1117586" y="1978512"/>
                <a:chExt cx="2372574" cy="1629558"/>
              </a:xfrm>
            </p:grpSpPr>
            <p:pic>
              <p:nvPicPr>
                <p:cNvPr id="84" name="Picture 83"/>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1309718" y="2130700"/>
                  <a:ext cx="1845671" cy="1326874"/>
                </a:xfrm>
                <a:prstGeom prst="rect">
                  <a:avLst/>
                </a:prstGeom>
                <a:noFill/>
                <a:ln>
                  <a:noFill/>
                </a:ln>
              </p:spPr>
            </p:pic>
            <p:grpSp>
              <p:nvGrpSpPr>
                <p:cNvPr id="85" name="Group 84"/>
                <p:cNvGrpSpPr/>
                <p:nvPr/>
              </p:nvGrpSpPr>
              <p:grpSpPr>
                <a:xfrm>
                  <a:off x="1307936" y="2212479"/>
                  <a:ext cx="1844519" cy="1136088"/>
                  <a:chOff x="1276066" y="3677905"/>
                  <a:chExt cx="2524835" cy="1555113"/>
                </a:xfrm>
              </p:grpSpPr>
              <p:pic>
                <p:nvPicPr>
                  <p:cNvPr id="90" name="Picture 89"/>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1276066" y="3677905"/>
                    <a:ext cx="2524835" cy="1555113"/>
                  </a:xfrm>
                  <a:prstGeom prst="rect">
                    <a:avLst/>
                  </a:prstGeom>
                </p:spPr>
              </p:pic>
              <p:pic>
                <p:nvPicPr>
                  <p:cNvPr id="91" name="Picture 90"/>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524585" y="4449793"/>
                    <a:ext cx="1269242" cy="783225"/>
                  </a:xfrm>
                  <a:prstGeom prst="rect">
                    <a:avLst/>
                  </a:prstGeom>
                </p:spPr>
              </p:pic>
            </p:grpSp>
            <p:grpSp>
              <p:nvGrpSpPr>
                <p:cNvPr id="86" name="Group 85"/>
                <p:cNvGrpSpPr/>
                <p:nvPr/>
              </p:nvGrpSpPr>
              <p:grpSpPr>
                <a:xfrm>
                  <a:off x="1117586" y="1978512"/>
                  <a:ext cx="2372574" cy="1629558"/>
                  <a:chOff x="1117586" y="1978512"/>
                  <a:chExt cx="2372574" cy="1629558"/>
                </a:xfrm>
              </p:grpSpPr>
              <p:sp>
                <p:nvSpPr>
                  <p:cNvPr id="87" name="Rounded Rectangle 89"/>
                  <p:cNvSpPr>
                    <a:spLocks noChangeAspect="1"/>
                  </p:cNvSpPr>
                  <p:nvPr/>
                </p:nvSpPr>
                <p:spPr bwMode="auto">
                  <a:xfrm rot="16200000">
                    <a:off x="1489094" y="1607004"/>
                    <a:ext cx="1629558" cy="2372574"/>
                  </a:xfrm>
                  <a:custGeom>
                    <a:avLst/>
                    <a:gdLst/>
                    <a:ahLst/>
                    <a:cxnLst/>
                    <a:rect l="l" t="t" r="r" b="b"/>
                    <a:pathLst>
                      <a:path w="3265981" h="3654426">
                        <a:moveTo>
                          <a:pt x="2686301" y="3311991"/>
                        </a:moveTo>
                        <a:cubicBezTo>
                          <a:pt x="2647724" y="3311991"/>
                          <a:pt x="2616451" y="3343264"/>
                          <a:pt x="2616451" y="3381841"/>
                        </a:cubicBezTo>
                        <a:cubicBezTo>
                          <a:pt x="2616451" y="3420417"/>
                          <a:pt x="2647724" y="3451690"/>
                          <a:pt x="2686301" y="3451690"/>
                        </a:cubicBezTo>
                        <a:lnTo>
                          <a:pt x="2698749" y="3451691"/>
                        </a:lnTo>
                        <a:cubicBezTo>
                          <a:pt x="2737326" y="3451691"/>
                          <a:pt x="2768599" y="3420418"/>
                          <a:pt x="2768599" y="3381841"/>
                        </a:cubicBezTo>
                        <a:lnTo>
                          <a:pt x="2768600" y="3381841"/>
                        </a:lnTo>
                        <a:cubicBezTo>
                          <a:pt x="2768600" y="3343264"/>
                          <a:pt x="2737327" y="3311991"/>
                          <a:pt x="2698750" y="3311991"/>
                        </a:cubicBezTo>
                        <a:close/>
                        <a:moveTo>
                          <a:pt x="2477370" y="3311991"/>
                        </a:moveTo>
                        <a:cubicBezTo>
                          <a:pt x="2438793" y="3311991"/>
                          <a:pt x="2407520" y="3343264"/>
                          <a:pt x="2407520" y="3381841"/>
                        </a:cubicBezTo>
                        <a:cubicBezTo>
                          <a:pt x="2407520" y="3420417"/>
                          <a:pt x="2438793" y="3451690"/>
                          <a:pt x="2477370" y="3451690"/>
                        </a:cubicBezTo>
                        <a:lnTo>
                          <a:pt x="2490960" y="3451691"/>
                        </a:lnTo>
                        <a:cubicBezTo>
                          <a:pt x="2529537" y="3451691"/>
                          <a:pt x="2560810" y="3420418"/>
                          <a:pt x="2560810" y="3381841"/>
                        </a:cubicBezTo>
                        <a:lnTo>
                          <a:pt x="2560811" y="3381841"/>
                        </a:lnTo>
                        <a:cubicBezTo>
                          <a:pt x="2560811" y="3343264"/>
                          <a:pt x="2529538" y="3311991"/>
                          <a:pt x="2490961" y="3311991"/>
                        </a:cubicBezTo>
                        <a:close/>
                        <a:moveTo>
                          <a:pt x="1951037" y="3311991"/>
                        </a:moveTo>
                        <a:cubicBezTo>
                          <a:pt x="1912460" y="3311991"/>
                          <a:pt x="1881187" y="3343264"/>
                          <a:pt x="1881187" y="3381841"/>
                        </a:cubicBezTo>
                        <a:cubicBezTo>
                          <a:pt x="1881187" y="3420417"/>
                          <a:pt x="1912460" y="3451690"/>
                          <a:pt x="1951037" y="3451690"/>
                        </a:cubicBezTo>
                        <a:lnTo>
                          <a:pt x="2282030" y="3451691"/>
                        </a:lnTo>
                        <a:cubicBezTo>
                          <a:pt x="2320607" y="3451691"/>
                          <a:pt x="2351880" y="3420418"/>
                          <a:pt x="2351880" y="3381841"/>
                        </a:cubicBezTo>
                        <a:lnTo>
                          <a:pt x="2351881" y="3381841"/>
                        </a:lnTo>
                        <a:cubicBezTo>
                          <a:pt x="2351881" y="3343264"/>
                          <a:pt x="2320608" y="3311991"/>
                          <a:pt x="2282031" y="3311991"/>
                        </a:cubicBezTo>
                        <a:close/>
                        <a:moveTo>
                          <a:pt x="299489" y="299430"/>
                        </a:moveTo>
                        <a:lnTo>
                          <a:pt x="299489" y="3141056"/>
                        </a:lnTo>
                        <a:lnTo>
                          <a:pt x="2966489" y="3141056"/>
                        </a:lnTo>
                        <a:lnTo>
                          <a:pt x="2966489" y="299430"/>
                        </a:lnTo>
                        <a:close/>
                        <a:moveTo>
                          <a:pt x="134787" y="0"/>
                        </a:moveTo>
                        <a:lnTo>
                          <a:pt x="3131194" y="0"/>
                        </a:lnTo>
                        <a:cubicBezTo>
                          <a:pt x="3205635" y="0"/>
                          <a:pt x="3265981" y="60346"/>
                          <a:pt x="3265981" y="134787"/>
                        </a:cubicBezTo>
                        <a:lnTo>
                          <a:pt x="3265981" y="3519639"/>
                        </a:lnTo>
                        <a:cubicBezTo>
                          <a:pt x="3265981" y="3594080"/>
                          <a:pt x="3205635" y="3654426"/>
                          <a:pt x="3131194" y="3654426"/>
                        </a:cubicBezTo>
                        <a:lnTo>
                          <a:pt x="134787" y="3654426"/>
                        </a:lnTo>
                        <a:cubicBezTo>
                          <a:pt x="60346" y="3654426"/>
                          <a:pt x="0" y="3594080"/>
                          <a:pt x="0" y="3519639"/>
                        </a:cubicBezTo>
                        <a:lnTo>
                          <a:pt x="0" y="134787"/>
                        </a:lnTo>
                        <a:cubicBezTo>
                          <a:pt x="0" y="60346"/>
                          <a:pt x="60346" y="0"/>
                          <a:pt x="134787"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800" spc="-49" dirty="0">
                      <a:solidFill>
                        <a:srgbClr val="68217A"/>
                      </a:solidFill>
                      <a:ea typeface="Segoe UI" pitchFamily="34" charset="0"/>
                      <a:cs typeface="Segoe UI" pitchFamily="34" charset="0"/>
                    </a:endParaRPr>
                  </a:p>
                </p:txBody>
              </p:sp>
              <p:sp>
                <p:nvSpPr>
                  <p:cNvPr id="88" name="Rectangle 87"/>
                  <p:cNvSpPr/>
                  <p:nvPr/>
                </p:nvSpPr>
                <p:spPr bwMode="auto">
                  <a:xfrm>
                    <a:off x="3172854" y="2198842"/>
                    <a:ext cx="307998" cy="808750"/>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89" name="Picture 88"/>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3229523" y="2739186"/>
                    <a:ext cx="195334" cy="108208"/>
                  </a:xfrm>
                  <a:prstGeom prst="rect">
                    <a:avLst/>
                  </a:prstGeom>
                </p:spPr>
              </p:pic>
            </p:grpSp>
          </p:grpSp>
        </p:grpSp>
        <p:pic>
          <p:nvPicPr>
            <p:cNvPr id="80" name="Picture 79"/>
            <p:cNvPicPr>
              <a:picLocks noChangeAspect="1"/>
            </p:cNvPicPr>
            <p:nvPr/>
          </p:nvPicPr>
          <p:blipFill>
            <a:blip r:embed="rId11"/>
            <a:stretch>
              <a:fillRect/>
            </a:stretch>
          </p:blipFill>
          <p:spPr>
            <a:xfrm>
              <a:off x="7626151" y="2638675"/>
              <a:ext cx="2647950" cy="1733550"/>
            </a:xfrm>
            <a:prstGeom prst="rect">
              <a:avLst/>
            </a:prstGeom>
          </p:spPr>
        </p:pic>
      </p:grpSp>
    </p:spTree>
    <p:extLst>
      <p:ext uri="{BB962C8B-B14F-4D97-AF65-F5344CB8AC3E}">
        <p14:creationId xmlns:p14="http://schemas.microsoft.com/office/powerpoint/2010/main" val="3327020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Power BI REST API</a:t>
            </a:r>
            <a:endParaRPr lang="en-US" dirty="0"/>
          </a:p>
        </p:txBody>
      </p:sp>
      <p:sp>
        <p:nvSpPr>
          <p:cNvPr id="3" name="Content Placeholder 2"/>
          <p:cNvSpPr>
            <a:spLocks noGrp="1"/>
          </p:cNvSpPr>
          <p:nvPr>
            <p:ph sz="quarter" idx="10"/>
          </p:nvPr>
        </p:nvSpPr>
        <p:spPr/>
        <p:txBody>
          <a:bodyPr/>
          <a:lstStyle/>
          <a:p>
            <a:r>
              <a:rPr lang="en-AU" dirty="0"/>
              <a:t>Application registration</a:t>
            </a:r>
            <a:endParaRPr lang="en-US" dirty="0"/>
          </a:p>
        </p:txBody>
      </p:sp>
      <p:sp>
        <p:nvSpPr>
          <p:cNvPr id="4" name="Text Placeholder 3"/>
          <p:cNvSpPr>
            <a:spLocks noGrp="1"/>
          </p:cNvSpPr>
          <p:nvPr>
            <p:ph type="body" sz="quarter" idx="11"/>
          </p:nvPr>
        </p:nvSpPr>
        <p:spPr>
          <a:xfrm>
            <a:off x="269875" y="1749425"/>
            <a:ext cx="11655425" cy="5108575"/>
          </a:xfrm>
        </p:spPr>
        <p:txBody>
          <a:bodyPr>
            <a:normAutofit/>
          </a:bodyPr>
          <a:lstStyle/>
          <a:p>
            <a:r>
              <a:rPr lang="en-AU" dirty="0"/>
              <a:t>An application can be registered with</a:t>
            </a:r>
          </a:p>
          <a:p>
            <a:pPr lvl="1"/>
            <a:r>
              <a:rPr lang="en-AU" dirty="0"/>
              <a:t>Power BI App Registration Tool at </a:t>
            </a:r>
            <a:r>
              <a:rPr lang="en-AU" dirty="0">
                <a:hlinkClick r:id="rId2"/>
              </a:rPr>
              <a:t>http://dev.powerbi.com/apps</a:t>
            </a:r>
            <a:r>
              <a:rPr lang="en-AU" dirty="0"/>
              <a:t>, or</a:t>
            </a:r>
          </a:p>
          <a:p>
            <a:pPr lvl="1"/>
            <a:r>
              <a:rPr lang="en-AU" dirty="0"/>
              <a:t>Azure Management Portal</a:t>
            </a:r>
          </a:p>
          <a:p>
            <a:r>
              <a:rPr lang="en-AU" dirty="0"/>
              <a:t>The Power BI App Registration Tool is the easiest option since there are just a few fields to fill in</a:t>
            </a:r>
          </a:p>
          <a:p>
            <a:r>
              <a:rPr lang="en-AU" dirty="0"/>
              <a:t>If you want to make changes to you app, this can only be done through the Azure Management Portal</a:t>
            </a:r>
          </a:p>
          <a:p>
            <a:endParaRPr lang="en-US" dirty="0"/>
          </a:p>
        </p:txBody>
      </p:sp>
    </p:spTree>
    <p:extLst>
      <p:ext uri="{BB962C8B-B14F-4D97-AF65-F5344CB8AC3E}">
        <p14:creationId xmlns:p14="http://schemas.microsoft.com/office/powerpoint/2010/main" val="2533969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Power BI REST API</a:t>
            </a:r>
            <a:endParaRPr lang="en-US" dirty="0"/>
          </a:p>
        </p:txBody>
      </p:sp>
      <p:sp>
        <p:nvSpPr>
          <p:cNvPr id="3" name="Content Placeholder 2"/>
          <p:cNvSpPr>
            <a:spLocks noGrp="1"/>
          </p:cNvSpPr>
          <p:nvPr>
            <p:ph sz="quarter" idx="10"/>
          </p:nvPr>
        </p:nvSpPr>
        <p:spPr/>
        <p:txBody>
          <a:bodyPr/>
          <a:lstStyle/>
          <a:p>
            <a:r>
              <a:rPr lang="en-AU" dirty="0"/>
              <a:t>Authentication flow: Client application</a:t>
            </a:r>
            <a:endParaRPr lang="en-US" dirty="0"/>
          </a:p>
        </p:txBody>
      </p:sp>
      <p:pic>
        <p:nvPicPr>
          <p:cNvPr id="6" name="Picture 5"/>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5139309" y="1424167"/>
            <a:ext cx="6595025" cy="5063625"/>
          </a:xfrm>
          <a:prstGeom prst="rect">
            <a:avLst/>
          </a:prstGeom>
        </p:spPr>
      </p:pic>
    </p:spTree>
    <p:extLst>
      <p:ext uri="{BB962C8B-B14F-4D97-AF65-F5344CB8AC3E}">
        <p14:creationId xmlns:p14="http://schemas.microsoft.com/office/powerpoint/2010/main" val="1905849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Power BI REST API</a:t>
            </a:r>
            <a:endParaRPr lang="en-US" dirty="0"/>
          </a:p>
        </p:txBody>
      </p:sp>
      <p:sp>
        <p:nvSpPr>
          <p:cNvPr id="3" name="Content Placeholder 2"/>
          <p:cNvSpPr>
            <a:spLocks noGrp="1"/>
          </p:cNvSpPr>
          <p:nvPr>
            <p:ph sz="quarter" idx="10"/>
          </p:nvPr>
        </p:nvSpPr>
        <p:spPr/>
        <p:txBody>
          <a:bodyPr/>
          <a:lstStyle/>
          <a:p>
            <a:r>
              <a:rPr lang="en-AU" dirty="0"/>
              <a:t>Authentication flow: Web application</a:t>
            </a:r>
            <a:endParaRPr lang="en-US" dirty="0"/>
          </a:p>
        </p:txBody>
      </p:sp>
      <p:pic>
        <p:nvPicPr>
          <p:cNvPr id="5" name="Picture 4"/>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345622" y="1787961"/>
            <a:ext cx="7353340" cy="4381730"/>
          </a:xfrm>
          <a:prstGeom prst="rect">
            <a:avLst/>
          </a:prstGeom>
        </p:spPr>
      </p:pic>
    </p:spTree>
    <p:extLst>
      <p:ext uri="{BB962C8B-B14F-4D97-AF65-F5344CB8AC3E}">
        <p14:creationId xmlns:p14="http://schemas.microsoft.com/office/powerpoint/2010/main" val="4189583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Power BI REST API</a:t>
            </a:r>
            <a:endParaRPr lang="en-US" dirty="0"/>
          </a:p>
        </p:txBody>
      </p:sp>
      <p:sp>
        <p:nvSpPr>
          <p:cNvPr id="3" name="Content Placeholder 2"/>
          <p:cNvSpPr>
            <a:spLocks noGrp="1"/>
          </p:cNvSpPr>
          <p:nvPr>
            <p:ph sz="quarter" idx="10"/>
          </p:nvPr>
        </p:nvSpPr>
        <p:spPr/>
        <p:txBody>
          <a:bodyPr/>
          <a:lstStyle/>
          <a:p>
            <a:r>
              <a:rPr lang="en-AU" dirty="0"/>
              <a:t>Operations</a:t>
            </a:r>
            <a:endParaRPr lang="en-US" dirty="0"/>
          </a:p>
        </p:txBody>
      </p:sp>
      <p:graphicFrame>
        <p:nvGraphicFramePr>
          <p:cNvPr id="6" name="Table 5"/>
          <p:cNvGraphicFramePr>
            <a:graphicFrameLocks noGrp="1"/>
          </p:cNvGraphicFramePr>
          <p:nvPr>
            <p:extLst/>
          </p:nvPr>
        </p:nvGraphicFramePr>
        <p:xfrm>
          <a:off x="449006" y="1820879"/>
          <a:ext cx="11231717" cy="4495760"/>
        </p:xfrm>
        <a:graphic>
          <a:graphicData uri="http://schemas.openxmlformats.org/drawingml/2006/table">
            <a:tbl>
              <a:tblPr firstRow="1" bandRow="1">
                <a:tableStyleId>{F5AB1C69-6EDB-4FF4-983F-18BD219EF322}</a:tableStyleId>
              </a:tblPr>
              <a:tblGrid>
                <a:gridCol w="3119142">
                  <a:extLst>
                    <a:ext uri="{9D8B030D-6E8A-4147-A177-3AD203B41FA5}">
                      <a16:colId xmlns:a16="http://schemas.microsoft.com/office/drawing/2014/main" val="20000"/>
                    </a:ext>
                  </a:extLst>
                </a:gridCol>
                <a:gridCol w="1033669">
                  <a:extLst>
                    <a:ext uri="{9D8B030D-6E8A-4147-A177-3AD203B41FA5}">
                      <a16:colId xmlns:a16="http://schemas.microsoft.com/office/drawing/2014/main" val="20001"/>
                    </a:ext>
                  </a:extLst>
                </a:gridCol>
                <a:gridCol w="7078906">
                  <a:extLst>
                    <a:ext uri="{9D8B030D-6E8A-4147-A177-3AD203B41FA5}">
                      <a16:colId xmlns:a16="http://schemas.microsoft.com/office/drawing/2014/main" val="20002"/>
                    </a:ext>
                  </a:extLst>
                </a:gridCol>
              </a:tblGrid>
              <a:tr h="370840">
                <a:tc>
                  <a:txBody>
                    <a:bodyPr/>
                    <a:lstStyle/>
                    <a:p>
                      <a:r>
                        <a:rPr lang="en-AU" sz="1600" dirty="0"/>
                        <a:t>Operation</a:t>
                      </a:r>
                      <a:endParaRPr lang="en-US" sz="1600" dirty="0"/>
                    </a:p>
                  </a:txBody>
                  <a:tcPr/>
                </a:tc>
                <a:tc>
                  <a:txBody>
                    <a:bodyPr/>
                    <a:lstStyle/>
                    <a:p>
                      <a:r>
                        <a:rPr lang="en-AU" sz="1600" dirty="0"/>
                        <a:t>Method</a:t>
                      </a:r>
                      <a:endParaRPr lang="en-US" sz="1600" dirty="0"/>
                    </a:p>
                  </a:txBody>
                  <a:tcPr/>
                </a:tc>
                <a:tc>
                  <a:txBody>
                    <a:bodyPr/>
                    <a:lstStyle/>
                    <a:p>
                      <a:endParaRPr lang="en-US" sz="1600" dirty="0"/>
                    </a:p>
                  </a:txBody>
                  <a:tcPr/>
                </a:tc>
                <a:extLst>
                  <a:ext uri="{0D108BD9-81ED-4DB2-BD59-A6C34878D82A}">
                    <a16:rowId xmlns:a16="http://schemas.microsoft.com/office/drawing/2014/main" val="10000"/>
                  </a:ext>
                </a:extLst>
              </a:tr>
              <a:tr h="370840">
                <a:tc>
                  <a:txBody>
                    <a:bodyPr/>
                    <a:lstStyle/>
                    <a:p>
                      <a:r>
                        <a:rPr lang="en-AU" sz="1600" dirty="0"/>
                        <a:t>List</a:t>
                      </a:r>
                      <a:r>
                        <a:rPr lang="en-AU" sz="1600" baseline="0" dirty="0"/>
                        <a:t> all </a:t>
                      </a:r>
                      <a:r>
                        <a:rPr lang="en-AU" sz="1600" dirty="0"/>
                        <a:t>datasets</a:t>
                      </a:r>
                      <a:endParaRPr lang="en-US" sz="1600" dirty="0"/>
                    </a:p>
                  </a:txBody>
                  <a:tcPr/>
                </a:tc>
                <a:tc>
                  <a:txBody>
                    <a:bodyPr/>
                    <a:lstStyle/>
                    <a:p>
                      <a:r>
                        <a:rPr lang="en-AU" sz="1600" dirty="0"/>
                        <a:t>GET</a:t>
                      </a:r>
                      <a:endParaRPr lang="en-US" sz="1600" dirty="0"/>
                    </a:p>
                  </a:txBody>
                  <a:tcPr/>
                </a:tc>
                <a:tc>
                  <a:txBody>
                    <a:bodyPr/>
                    <a:lstStyle/>
                    <a:p>
                      <a:r>
                        <a:rPr lang="en-US" sz="1600" dirty="0">
                          <a:effectLst/>
                        </a:rPr>
                        <a:t>Returns a JSON list of all dataset objects that includes a name and dataset ID</a:t>
                      </a:r>
                      <a:endParaRPr lang="en-US" sz="1600" dirty="0"/>
                    </a:p>
                  </a:txBody>
                  <a:tcPr/>
                </a:tc>
                <a:extLst>
                  <a:ext uri="{0D108BD9-81ED-4DB2-BD59-A6C34878D82A}">
                    <a16:rowId xmlns:a16="http://schemas.microsoft.com/office/drawing/2014/main" val="10001"/>
                  </a:ext>
                </a:extLst>
              </a:tr>
              <a:tr h="370840">
                <a:tc>
                  <a:txBody>
                    <a:bodyPr/>
                    <a:lstStyle/>
                    <a:p>
                      <a:r>
                        <a:rPr lang="en-AU" sz="1600" dirty="0"/>
                        <a:t>Create a dataset</a:t>
                      </a:r>
                      <a:endParaRPr lang="en-US" sz="1600" dirty="0"/>
                    </a:p>
                  </a:txBody>
                  <a:tcPr/>
                </a:tc>
                <a:tc>
                  <a:txBody>
                    <a:bodyPr/>
                    <a:lstStyle/>
                    <a:p>
                      <a:r>
                        <a:rPr lang="en-AU" sz="1600" dirty="0"/>
                        <a:t>POST</a:t>
                      </a:r>
                      <a:endParaRPr lang="en-US" sz="1600" dirty="0"/>
                    </a:p>
                  </a:txBody>
                  <a:tcPr/>
                </a:tc>
                <a:tc>
                  <a:txBody>
                    <a:bodyPr/>
                    <a:lstStyle/>
                    <a:p>
                      <a:r>
                        <a:rPr lang="en-US" sz="1600" dirty="0"/>
                        <a:t>Creates a new dataset with the schema definition that is in the JSON body, and returns the dataset ID and the properties of the objects created</a:t>
                      </a:r>
                    </a:p>
                  </a:txBody>
                  <a:tcPr/>
                </a:tc>
                <a:extLst>
                  <a:ext uri="{0D108BD9-81ED-4DB2-BD59-A6C34878D82A}">
                    <a16:rowId xmlns:a16="http://schemas.microsoft.com/office/drawing/2014/main" val="10002"/>
                  </a:ext>
                </a:extLst>
              </a:tr>
              <a:tr h="370840">
                <a:tc>
                  <a:txBody>
                    <a:bodyPr/>
                    <a:lstStyle/>
                    <a:p>
                      <a:r>
                        <a:rPr lang="en-AU" sz="1600" dirty="0"/>
                        <a:t>List all tables</a:t>
                      </a:r>
                      <a:endParaRPr lang="en-US" sz="1600" dirty="0"/>
                    </a:p>
                  </a:txBody>
                  <a:tcPr/>
                </a:tc>
                <a:tc>
                  <a:txBody>
                    <a:bodyPr/>
                    <a:lstStyle/>
                    <a:p>
                      <a:r>
                        <a:rPr lang="en-AU" sz="1600" dirty="0"/>
                        <a:t>GET</a:t>
                      </a:r>
                      <a:endParaRPr lang="en-US" sz="1600" dirty="0"/>
                    </a:p>
                  </a:txBody>
                  <a:tcPr/>
                </a:tc>
                <a:tc>
                  <a:txBody>
                    <a:bodyPr/>
                    <a:lstStyle/>
                    <a:p>
                      <a:r>
                        <a:rPr lang="en-US" sz="1600" dirty="0">
                          <a:effectLst/>
                        </a:rPr>
                        <a:t>Returns a JSON list of tables for the specified dataset</a:t>
                      </a:r>
                      <a:endParaRPr lang="en-US" sz="1600" dirty="0"/>
                    </a:p>
                  </a:txBody>
                  <a:tcPr/>
                </a:tc>
                <a:extLst>
                  <a:ext uri="{0D108BD9-81ED-4DB2-BD59-A6C34878D82A}">
                    <a16:rowId xmlns:a16="http://schemas.microsoft.com/office/drawing/2014/main" val="10003"/>
                  </a:ext>
                </a:extLst>
              </a:tr>
              <a:tr h="370800">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AU" sz="1600" dirty="0"/>
                        <a:t>Update an existing table schema</a:t>
                      </a:r>
                      <a:endParaRPr lang="en-US" sz="1600" dirty="0"/>
                    </a:p>
                  </a:txBody>
                  <a:tcPr/>
                </a:tc>
                <a:tc>
                  <a:txBody>
                    <a:bodyPr/>
                    <a:lstStyle/>
                    <a:p>
                      <a:r>
                        <a:rPr lang="en-AU" sz="1600" dirty="0"/>
                        <a:t>PUT</a:t>
                      </a:r>
                      <a:endParaRPr lang="en-US" sz="1600" dirty="0"/>
                    </a:p>
                  </a:txBody>
                  <a:tcPr/>
                </a:tc>
                <a:tc>
                  <a:txBody>
                    <a:bodyPr/>
                    <a:lstStyle/>
                    <a:p>
                      <a:endParaRPr lang="en-US" sz="1600" dirty="0"/>
                    </a:p>
                  </a:txBody>
                  <a:tcPr/>
                </a:tc>
                <a:extLst>
                  <a:ext uri="{0D108BD9-81ED-4DB2-BD59-A6C34878D82A}">
                    <a16:rowId xmlns:a16="http://schemas.microsoft.com/office/drawing/2014/main" val="10004"/>
                  </a:ext>
                </a:extLst>
              </a:tr>
              <a:tr h="370840">
                <a:tc>
                  <a:txBody>
                    <a:bodyPr/>
                    <a:lstStyle/>
                    <a:p>
                      <a:r>
                        <a:rPr lang="en-AU" sz="1600" dirty="0"/>
                        <a:t>Add rows to a table in a dataset</a:t>
                      </a:r>
                      <a:endParaRPr lang="en-US" sz="1600" dirty="0"/>
                    </a:p>
                  </a:txBody>
                  <a:tcPr/>
                </a:tc>
                <a:tc>
                  <a:txBody>
                    <a:bodyPr/>
                    <a:lstStyle/>
                    <a:p>
                      <a:r>
                        <a:rPr lang="en-AU" sz="1600" dirty="0"/>
                        <a:t>POST</a:t>
                      </a:r>
                      <a:endParaRPr lang="en-US" sz="1600" dirty="0"/>
                    </a:p>
                  </a:txBody>
                  <a:tcPr/>
                </a:tc>
                <a:tc>
                  <a:txBody>
                    <a:bodyPr/>
                    <a:lstStyle/>
                    <a:p>
                      <a:endParaRPr lang="en-US" sz="1600" dirty="0"/>
                    </a:p>
                  </a:txBody>
                  <a:tcPr/>
                </a:tc>
                <a:extLst>
                  <a:ext uri="{0D108BD9-81ED-4DB2-BD59-A6C34878D82A}">
                    <a16:rowId xmlns:a16="http://schemas.microsoft.com/office/drawing/2014/main" val="10005"/>
                  </a:ext>
                </a:extLst>
              </a:tr>
              <a:tr h="370840">
                <a:tc>
                  <a:txBody>
                    <a:bodyPr/>
                    <a:lstStyle/>
                    <a:p>
                      <a:r>
                        <a:rPr lang="en-AU" sz="1600" dirty="0"/>
                        <a:t>Clear the rows in a table</a:t>
                      </a:r>
                      <a:endParaRPr lang="en-US" sz="1600" dirty="0"/>
                    </a:p>
                  </a:txBody>
                  <a:tcPr/>
                </a:tc>
                <a:tc>
                  <a:txBody>
                    <a:bodyPr/>
                    <a:lstStyle/>
                    <a:p>
                      <a:r>
                        <a:rPr lang="en-AU" sz="1600" dirty="0"/>
                        <a:t>DELETE</a:t>
                      </a:r>
                      <a:endParaRPr lang="en-US" sz="1600" dirty="0"/>
                    </a:p>
                  </a:txBody>
                  <a:tcPr/>
                </a:tc>
                <a:tc>
                  <a:txBody>
                    <a:bodyPr/>
                    <a:lstStyle/>
                    <a:p>
                      <a:endParaRPr lang="en-US" sz="1600" dirty="0"/>
                    </a:p>
                  </a:txBody>
                  <a:tcPr/>
                </a:tc>
                <a:extLst>
                  <a:ext uri="{0D108BD9-81ED-4DB2-BD59-A6C34878D82A}">
                    <a16:rowId xmlns:a16="http://schemas.microsoft.com/office/drawing/2014/main" val="10006"/>
                  </a:ext>
                </a:extLst>
              </a:tr>
              <a:tr h="370840">
                <a:tc>
                  <a:txBody>
                    <a:bodyPr/>
                    <a:lstStyle/>
                    <a:p>
                      <a:r>
                        <a:rPr lang="en-AU" sz="1600" dirty="0"/>
                        <a:t>List all groups</a:t>
                      </a:r>
                      <a:endParaRPr lang="en-US" sz="1600" dirty="0"/>
                    </a:p>
                  </a:txBody>
                  <a:tcPr/>
                </a:tc>
                <a:tc>
                  <a:txBody>
                    <a:bodyPr/>
                    <a:lstStyle/>
                    <a:p>
                      <a:r>
                        <a:rPr lang="en-AU" sz="1600" dirty="0"/>
                        <a:t>GET</a:t>
                      </a:r>
                      <a:endParaRPr lang="en-US" sz="1600" dirty="0"/>
                    </a:p>
                  </a:txBody>
                  <a:tcPr/>
                </a:tc>
                <a:tc>
                  <a:txBody>
                    <a:bodyPr/>
                    <a:lstStyle/>
                    <a:p>
                      <a:r>
                        <a:rPr lang="en-US" sz="1600" dirty="0">
                          <a:effectLst/>
                        </a:rPr>
                        <a:t>Returns a JSON list of all the groups of</a:t>
                      </a:r>
                      <a:r>
                        <a:rPr lang="en-US" sz="1600" baseline="0" dirty="0">
                          <a:effectLst/>
                        </a:rPr>
                        <a:t> which</a:t>
                      </a:r>
                      <a:r>
                        <a:rPr lang="en-US" sz="1600" dirty="0">
                          <a:effectLst/>
                        </a:rPr>
                        <a:t> the user is a member</a:t>
                      </a:r>
                      <a:endParaRPr lang="en-US" sz="1600" dirty="0"/>
                    </a:p>
                  </a:txBody>
                  <a:tcPr/>
                </a:tc>
                <a:extLst>
                  <a:ext uri="{0D108BD9-81ED-4DB2-BD59-A6C34878D82A}">
                    <a16:rowId xmlns:a16="http://schemas.microsoft.com/office/drawing/2014/main" val="10007"/>
                  </a:ext>
                </a:extLst>
              </a:tr>
              <a:tr h="370840">
                <a:tc>
                  <a:txBody>
                    <a:bodyPr/>
                    <a:lstStyle/>
                    <a:p>
                      <a:r>
                        <a:rPr lang="en-US" sz="1600" dirty="0"/>
                        <a:t>List all dashboards</a:t>
                      </a:r>
                    </a:p>
                  </a:txBody>
                  <a:tcPr/>
                </a:tc>
                <a:tc>
                  <a:txBody>
                    <a:bodyPr/>
                    <a:lstStyle/>
                    <a:p>
                      <a:r>
                        <a:rPr lang="en-US" sz="1600" dirty="0"/>
                        <a:t>GET</a:t>
                      </a:r>
                    </a:p>
                  </a:txBody>
                  <a:tcPr/>
                </a:tc>
                <a:tc>
                  <a:txBody>
                    <a:bodyPr/>
                    <a:lstStyle/>
                    <a:p>
                      <a:r>
                        <a:rPr lang="en-US" sz="1600" dirty="0"/>
                        <a:t>(In preview)</a:t>
                      </a:r>
                    </a:p>
                  </a:txBody>
                  <a:tcPr/>
                </a:tc>
                <a:extLst>
                  <a:ext uri="{0D108BD9-81ED-4DB2-BD59-A6C34878D82A}">
                    <a16:rowId xmlns:a16="http://schemas.microsoft.com/office/drawing/2014/main" val="10008"/>
                  </a:ext>
                </a:extLst>
              </a:tr>
              <a:tr h="370840">
                <a:tc>
                  <a:txBody>
                    <a:bodyPr/>
                    <a:lstStyle/>
                    <a:p>
                      <a:r>
                        <a:rPr lang="en-US" sz="1600" dirty="0"/>
                        <a:t>List all tiles</a:t>
                      </a:r>
                    </a:p>
                  </a:txBody>
                  <a:tcPr/>
                </a:tc>
                <a:tc>
                  <a:txBody>
                    <a:bodyPr/>
                    <a:lstStyle/>
                    <a:p>
                      <a:r>
                        <a:rPr lang="en-US" sz="1600" dirty="0"/>
                        <a:t>GET</a:t>
                      </a:r>
                    </a:p>
                  </a:txBody>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600" dirty="0"/>
                        <a:t>(In preview) </a:t>
                      </a:r>
                      <a:r>
                        <a:rPr lang="en-US" sz="1600" dirty="0">
                          <a:effectLst/>
                        </a:rPr>
                        <a:t>Returns a JSON list of tiles for the specified dashboard.</a:t>
                      </a:r>
                      <a:r>
                        <a:rPr lang="en-US" sz="1600" baseline="0" dirty="0">
                          <a:effectLst/>
                        </a:rPr>
                        <a:t> </a:t>
                      </a:r>
                      <a:endParaRPr lang="en-US" sz="1600" dirty="0"/>
                    </a:p>
                    <a:p>
                      <a:pPr marL="0" marR="0" indent="0" algn="l" defTabSz="914367" rtl="0" eaLnBrk="1" fontAlgn="auto" latinLnBrk="0" hangingPunct="1">
                        <a:lnSpc>
                          <a:spcPct val="100000"/>
                        </a:lnSpc>
                        <a:spcBef>
                          <a:spcPts val="0"/>
                        </a:spcBef>
                        <a:spcAft>
                          <a:spcPts val="0"/>
                        </a:spcAft>
                        <a:buClrTx/>
                        <a:buSzTx/>
                        <a:buFontTx/>
                        <a:buNone/>
                        <a:tabLst/>
                        <a:defRPr/>
                      </a:pPr>
                      <a:r>
                        <a:rPr lang="en-US" sz="1600" dirty="0"/>
                        <a:t>Use this method to retrieve the embed URL.</a:t>
                      </a:r>
                    </a:p>
                  </a:txBody>
                  <a:tcPr/>
                </a:tc>
                <a:extLst>
                  <a:ext uri="{0D108BD9-81ED-4DB2-BD59-A6C34878D82A}">
                    <a16:rowId xmlns:a16="http://schemas.microsoft.com/office/drawing/2014/main" val="10009"/>
                  </a:ext>
                </a:extLst>
              </a:tr>
              <a:tr h="370840">
                <a:tc>
                  <a:txBody>
                    <a:bodyPr/>
                    <a:lstStyle/>
                    <a:p>
                      <a:r>
                        <a:rPr lang="en-US" sz="1600" dirty="0"/>
                        <a:t>List all reports</a:t>
                      </a:r>
                    </a:p>
                  </a:txBody>
                  <a:tcPr/>
                </a:tc>
                <a:tc>
                  <a:txBody>
                    <a:bodyPr/>
                    <a:lstStyle/>
                    <a:p>
                      <a:r>
                        <a:rPr lang="en-US" sz="1600" dirty="0"/>
                        <a:t>GET</a:t>
                      </a:r>
                    </a:p>
                  </a:txBody>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600" dirty="0"/>
                        <a:t>(In preview) Use this method to retrieve the embed URL</a:t>
                      </a:r>
                    </a:p>
                  </a:txBody>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2385028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Power BI REST API</a:t>
            </a:r>
            <a:endParaRPr lang="en-US" dirty="0"/>
          </a:p>
        </p:txBody>
      </p:sp>
      <p:sp>
        <p:nvSpPr>
          <p:cNvPr id="3" name="Content Placeholder 2"/>
          <p:cNvSpPr>
            <a:spLocks noGrp="1"/>
          </p:cNvSpPr>
          <p:nvPr>
            <p:ph sz="quarter" idx="10"/>
          </p:nvPr>
        </p:nvSpPr>
        <p:spPr/>
        <p:txBody>
          <a:bodyPr/>
          <a:lstStyle/>
          <a:p>
            <a:r>
              <a:rPr lang="en-AU" dirty="0"/>
              <a:t>Example: List all datasets</a:t>
            </a:r>
            <a:endParaRPr lang="en-US" dirty="0"/>
          </a:p>
        </p:txBody>
      </p:sp>
      <p:sp>
        <p:nvSpPr>
          <p:cNvPr id="7" name="Text Placeholder 6"/>
          <p:cNvSpPr>
            <a:spLocks noGrp="1"/>
          </p:cNvSpPr>
          <p:nvPr>
            <p:ph type="body" sz="quarter" idx="11"/>
          </p:nvPr>
        </p:nvSpPr>
        <p:spPr>
          <a:xfrm>
            <a:off x="1484671" y="2212258"/>
            <a:ext cx="10440629" cy="4463180"/>
          </a:xfrm>
        </p:spPr>
        <p:txBody>
          <a:bodyPr>
            <a:normAutofit/>
          </a:bodyPr>
          <a:lstStyle/>
          <a:p>
            <a:endParaRPr lang="en-AU" sz="2400" dirty="0">
              <a:latin typeface="Consolas" panose="020B0609020204030204" pitchFamily="49" charset="0"/>
              <a:cs typeface="Consolas" panose="020B0609020204030204" pitchFamily="49" charset="0"/>
            </a:endParaRPr>
          </a:p>
          <a:p>
            <a:endParaRPr lang="en-AU" sz="2400" dirty="0">
              <a:latin typeface="Consolas" panose="020B0609020204030204" pitchFamily="49" charset="0"/>
              <a:cs typeface="Consolas" panose="020B0609020204030204" pitchFamily="49" charset="0"/>
            </a:endParaRPr>
          </a:p>
          <a:p>
            <a:endParaRPr lang="en-US" sz="2400" dirty="0">
              <a:latin typeface="Consolas" panose="020B0609020204030204" pitchFamily="49" charset="0"/>
              <a:cs typeface="Consolas" panose="020B0609020204030204" pitchFamily="49" charset="0"/>
            </a:endParaRPr>
          </a:p>
        </p:txBody>
      </p:sp>
      <p:graphicFrame>
        <p:nvGraphicFramePr>
          <p:cNvPr id="8" name="Table 7"/>
          <p:cNvGraphicFramePr>
            <a:graphicFrameLocks noGrp="1"/>
          </p:cNvGraphicFramePr>
          <p:nvPr>
            <p:extLst/>
          </p:nvPr>
        </p:nvGraphicFramePr>
        <p:xfrm>
          <a:off x="1386348" y="1787308"/>
          <a:ext cx="10333703" cy="1193800"/>
        </p:xfrm>
        <a:graphic>
          <a:graphicData uri="http://schemas.openxmlformats.org/drawingml/2006/table">
            <a:tbl>
              <a:tblPr firstRow="1" bandRow="1">
                <a:tableStyleId>{F2DE63D5-997A-4646-A377-4702673A728D}</a:tableStyleId>
              </a:tblPr>
              <a:tblGrid>
                <a:gridCol w="10333703">
                  <a:extLst>
                    <a:ext uri="{9D8B030D-6E8A-4147-A177-3AD203B41FA5}">
                      <a16:colId xmlns:a16="http://schemas.microsoft.com/office/drawing/2014/main" val="20000"/>
                    </a:ext>
                  </a:extLst>
                </a:gridCol>
              </a:tblGrid>
              <a:tr h="370840">
                <a:tc>
                  <a:txBody>
                    <a:bodyPr/>
                    <a:lstStyle/>
                    <a:p>
                      <a:r>
                        <a:rPr lang="en-AU" dirty="0"/>
                        <a:t>Request</a:t>
                      </a:r>
                      <a:endParaRPr lang="en-US" dirty="0"/>
                    </a:p>
                  </a:txBody>
                  <a:tcPr/>
                </a:tc>
                <a:extLst>
                  <a:ext uri="{0D108BD9-81ED-4DB2-BD59-A6C34878D82A}">
                    <a16:rowId xmlns:a16="http://schemas.microsoft.com/office/drawing/2014/main" val="10000"/>
                  </a:ext>
                </a:extLst>
              </a:tr>
              <a:tr h="370840">
                <a:tc>
                  <a:txBody>
                    <a:bodyPr/>
                    <a:lstStyle/>
                    <a:p>
                      <a:r>
                        <a:rPr lang="en-US" sz="1600" dirty="0">
                          <a:latin typeface="Consolas" panose="020B0609020204030204" pitchFamily="49" charset="0"/>
                          <a:cs typeface="Consolas" panose="020B0609020204030204" pitchFamily="49" charset="0"/>
                        </a:rPr>
                        <a:t>GET https://api.powerbi.com/v1.0/myorg/datasets HTTP/1.1</a:t>
                      </a:r>
                    </a:p>
                    <a:p>
                      <a:r>
                        <a:rPr lang="en-US" sz="1600" dirty="0">
                          <a:latin typeface="Consolas" panose="020B0609020204030204" pitchFamily="49" charset="0"/>
                          <a:cs typeface="Consolas" panose="020B0609020204030204" pitchFamily="49" charset="0"/>
                        </a:rPr>
                        <a:t>Authorization: Bearer {AAD Token}</a:t>
                      </a:r>
                    </a:p>
                    <a:p>
                      <a:r>
                        <a:rPr lang="en-US" sz="1600" dirty="0">
                          <a:latin typeface="Consolas" panose="020B0609020204030204" pitchFamily="49" charset="0"/>
                          <a:cs typeface="Consolas" panose="020B0609020204030204" pitchFamily="49" charset="0"/>
                        </a:rPr>
                        <a:t>Content-Type: application/json; charset=utf-8</a:t>
                      </a:r>
                      <a:endParaRPr lang="en-US" sz="1600" dirty="0"/>
                    </a:p>
                  </a:txBody>
                  <a:tcPr/>
                </a:tc>
                <a:extLst>
                  <a:ext uri="{0D108BD9-81ED-4DB2-BD59-A6C34878D82A}">
                    <a16:rowId xmlns:a16="http://schemas.microsoft.com/office/drawing/2014/main" val="10001"/>
                  </a:ext>
                </a:extLst>
              </a:tr>
            </a:tbl>
          </a:graphicData>
        </a:graphic>
      </p:graphicFrame>
      <p:graphicFrame>
        <p:nvGraphicFramePr>
          <p:cNvPr id="9" name="Table 8"/>
          <p:cNvGraphicFramePr>
            <a:graphicFrameLocks noGrp="1"/>
          </p:cNvGraphicFramePr>
          <p:nvPr>
            <p:extLst/>
          </p:nvPr>
        </p:nvGraphicFramePr>
        <p:xfrm>
          <a:off x="1386348" y="3123855"/>
          <a:ext cx="10333703" cy="3388360"/>
        </p:xfrm>
        <a:graphic>
          <a:graphicData uri="http://schemas.openxmlformats.org/drawingml/2006/table">
            <a:tbl>
              <a:tblPr firstRow="1" bandRow="1">
                <a:tableStyleId>{F2DE63D5-997A-4646-A377-4702673A728D}</a:tableStyleId>
              </a:tblPr>
              <a:tblGrid>
                <a:gridCol w="10333703">
                  <a:extLst>
                    <a:ext uri="{9D8B030D-6E8A-4147-A177-3AD203B41FA5}">
                      <a16:colId xmlns:a16="http://schemas.microsoft.com/office/drawing/2014/main" val="20000"/>
                    </a:ext>
                  </a:extLst>
                </a:gridCol>
              </a:tblGrid>
              <a:tr h="370840">
                <a:tc>
                  <a:txBody>
                    <a:bodyPr/>
                    <a:lstStyle/>
                    <a:p>
                      <a:r>
                        <a:rPr lang="en-AU" dirty="0"/>
                        <a:t>Response</a:t>
                      </a:r>
                      <a:endParaRPr lang="en-US" dirty="0"/>
                    </a:p>
                  </a:txBody>
                  <a:tcPr/>
                </a:tc>
                <a:extLst>
                  <a:ext uri="{0D108BD9-81ED-4DB2-BD59-A6C34878D82A}">
                    <a16:rowId xmlns:a16="http://schemas.microsoft.com/office/drawing/2014/main" val="10000"/>
                  </a:ext>
                </a:extLst>
              </a:tr>
              <a:tr h="370840">
                <a:tc>
                  <a:txBody>
                    <a:bodyPr/>
                    <a:lstStyle/>
                    <a:p>
                      <a:r>
                        <a:rPr lang="en-US" sz="1600" dirty="0">
                          <a:latin typeface="Consolas" panose="020B0609020204030204" pitchFamily="49" charset="0"/>
                          <a:cs typeface="Consolas" panose="020B0609020204030204" pitchFamily="49" charset="0"/>
                        </a:rPr>
                        <a:t>{</a:t>
                      </a:r>
                    </a:p>
                    <a:p>
                      <a:r>
                        <a:rPr lang="en-US" sz="1600" dirty="0">
                          <a:latin typeface="Consolas" panose="020B0609020204030204" pitchFamily="49" charset="0"/>
                          <a:cs typeface="Consolas" panose="020B0609020204030204" pitchFamily="49" charset="0"/>
                        </a:rPr>
                        <a:t>  "datasets": [</a:t>
                      </a:r>
                    </a:p>
                    <a:p>
                      <a:r>
                        <a:rPr lang="en-US" sz="1600" dirty="0">
                          <a:latin typeface="Consolas" panose="020B0609020204030204" pitchFamily="49" charset="0"/>
                          <a:cs typeface="Consolas" panose="020B0609020204030204" pitchFamily="49" charset="0"/>
                        </a:rPr>
                        <a:t>    {</a:t>
                      </a:r>
                    </a:p>
                    <a:p>
                      <a:r>
                        <a:rPr lang="en-US" sz="1600" dirty="0">
                          <a:latin typeface="Consolas" panose="020B0609020204030204" pitchFamily="49" charset="0"/>
                          <a:cs typeface="Consolas" panose="020B0609020204030204" pitchFamily="49" charset="0"/>
                        </a:rPr>
                        <a:t>      "id": "2C0CCF12-A369-4985-A643-0995C249D5B9",</a:t>
                      </a:r>
                    </a:p>
                    <a:p>
                      <a:r>
                        <a:rPr lang="en-US" sz="1600" dirty="0">
                          <a:latin typeface="Consolas" panose="020B0609020204030204" pitchFamily="49" charset="0"/>
                          <a:cs typeface="Consolas" panose="020B0609020204030204" pitchFamily="49" charset="0"/>
                        </a:rPr>
                        <a:t>      "name": "Music"</a:t>
                      </a:r>
                    </a:p>
                    <a:p>
                      <a:r>
                        <a:rPr lang="en-US" sz="1600" dirty="0">
                          <a:latin typeface="Consolas" panose="020B0609020204030204" pitchFamily="49" charset="0"/>
                          <a:cs typeface="Consolas" panose="020B0609020204030204" pitchFamily="49" charset="0"/>
                        </a:rPr>
                        <a:t>    },</a:t>
                      </a:r>
                    </a:p>
                    <a:p>
                      <a:r>
                        <a:rPr lang="en-US" sz="1600" dirty="0">
                          <a:latin typeface="Consolas" panose="020B0609020204030204" pitchFamily="49" charset="0"/>
                          <a:cs typeface="Consolas" panose="020B0609020204030204" pitchFamily="49" charset="0"/>
                        </a:rPr>
                        <a:t>    {</a:t>
                      </a:r>
                    </a:p>
                    <a:p>
                      <a:r>
                        <a:rPr lang="en-US" sz="1600" dirty="0">
                          <a:latin typeface="Consolas" panose="020B0609020204030204" pitchFamily="49" charset="0"/>
                          <a:cs typeface="Consolas" panose="020B0609020204030204" pitchFamily="49" charset="0"/>
                        </a:rPr>
                        <a:t>      "id": "C446840B-94AD-4B23-8896-C276E69B8FAA",</a:t>
                      </a:r>
                    </a:p>
                    <a:p>
                      <a:r>
                        <a:rPr lang="en-US" sz="1600" dirty="0">
                          <a:latin typeface="Consolas" panose="020B0609020204030204" pitchFamily="49" charset="0"/>
                          <a:cs typeface="Consolas" panose="020B0609020204030204" pitchFamily="49" charset="0"/>
                        </a:rPr>
                        <a:t>      "name": "SalesMarketing"</a:t>
                      </a:r>
                    </a:p>
                    <a:p>
                      <a:r>
                        <a:rPr lang="en-US" sz="1600" dirty="0">
                          <a:latin typeface="Consolas" panose="020B0609020204030204" pitchFamily="49" charset="0"/>
                          <a:cs typeface="Consolas" panose="020B0609020204030204" pitchFamily="49" charset="0"/>
                        </a:rPr>
                        <a:t>    }</a:t>
                      </a:r>
                    </a:p>
                    <a:p>
                      <a:r>
                        <a:rPr lang="en-US" sz="1600" dirty="0">
                          <a:latin typeface="Consolas" panose="020B0609020204030204" pitchFamily="49" charset="0"/>
                          <a:cs typeface="Consolas" panose="020B0609020204030204" pitchFamily="49" charset="0"/>
                        </a:rPr>
                        <a:t>  ]</a:t>
                      </a:r>
                    </a:p>
                    <a:p>
                      <a:r>
                        <a:rPr lang="en-US" sz="1600" dirty="0">
                          <a:latin typeface="Consolas" panose="020B0609020204030204" pitchFamily="49" charset="0"/>
                          <a:cs typeface="Consolas" panose="020B0609020204030204" pitchFamily="49" charset="0"/>
                        </a:rPr>
                        <a:t>}</a:t>
                      </a:r>
                    </a:p>
                  </a:txBody>
                  <a:tcPr/>
                </a:tc>
                <a:extLst>
                  <a:ext uri="{0D108BD9-81ED-4DB2-BD59-A6C34878D82A}">
                    <a16:rowId xmlns:a16="http://schemas.microsoft.com/office/drawing/2014/main" val="10001"/>
                  </a:ext>
                </a:extLst>
              </a:tr>
            </a:tbl>
          </a:graphicData>
        </a:graphic>
      </p:graphicFrame>
      <p:sp>
        <p:nvSpPr>
          <p:cNvPr id="10" name="Freeform 87"/>
          <p:cNvSpPr>
            <a:spLocks noEditPoints="1"/>
          </p:cNvSpPr>
          <p:nvPr/>
        </p:nvSpPr>
        <p:spPr bwMode="auto">
          <a:xfrm>
            <a:off x="549994" y="1898942"/>
            <a:ext cx="605357" cy="168487"/>
          </a:xfrm>
          <a:custGeom>
            <a:avLst/>
            <a:gdLst>
              <a:gd name="T0" fmla="*/ 0 w 385"/>
              <a:gd name="T1" fmla="*/ 46 h 107"/>
              <a:gd name="T2" fmla="*/ 37 w 385"/>
              <a:gd name="T3" fmla="*/ 46 h 107"/>
              <a:gd name="T4" fmla="*/ 37 w 385"/>
              <a:gd name="T5" fmla="*/ 61 h 107"/>
              <a:gd name="T6" fmla="*/ 0 w 385"/>
              <a:gd name="T7" fmla="*/ 61 h 107"/>
              <a:gd name="T8" fmla="*/ 0 w 385"/>
              <a:gd name="T9" fmla="*/ 46 h 107"/>
              <a:gd name="T10" fmla="*/ 74 w 385"/>
              <a:gd name="T11" fmla="*/ 61 h 107"/>
              <a:gd name="T12" fmla="*/ 111 w 385"/>
              <a:gd name="T13" fmla="*/ 61 h 107"/>
              <a:gd name="T14" fmla="*/ 111 w 385"/>
              <a:gd name="T15" fmla="*/ 46 h 107"/>
              <a:gd name="T16" fmla="*/ 74 w 385"/>
              <a:gd name="T17" fmla="*/ 46 h 107"/>
              <a:gd name="T18" fmla="*/ 74 w 385"/>
              <a:gd name="T19" fmla="*/ 61 h 107"/>
              <a:gd name="T20" fmla="*/ 222 w 385"/>
              <a:gd name="T21" fmla="*/ 61 h 107"/>
              <a:gd name="T22" fmla="*/ 259 w 385"/>
              <a:gd name="T23" fmla="*/ 61 h 107"/>
              <a:gd name="T24" fmla="*/ 259 w 385"/>
              <a:gd name="T25" fmla="*/ 46 h 107"/>
              <a:gd name="T26" fmla="*/ 222 w 385"/>
              <a:gd name="T27" fmla="*/ 46 h 107"/>
              <a:gd name="T28" fmla="*/ 222 w 385"/>
              <a:gd name="T29" fmla="*/ 61 h 107"/>
              <a:gd name="T30" fmla="*/ 148 w 385"/>
              <a:gd name="T31" fmla="*/ 61 h 107"/>
              <a:gd name="T32" fmla="*/ 185 w 385"/>
              <a:gd name="T33" fmla="*/ 61 h 107"/>
              <a:gd name="T34" fmla="*/ 185 w 385"/>
              <a:gd name="T35" fmla="*/ 46 h 107"/>
              <a:gd name="T36" fmla="*/ 148 w 385"/>
              <a:gd name="T37" fmla="*/ 46 h 107"/>
              <a:gd name="T38" fmla="*/ 148 w 385"/>
              <a:gd name="T39" fmla="*/ 61 h 107"/>
              <a:gd name="T40" fmla="*/ 382 w 385"/>
              <a:gd name="T41" fmla="*/ 48 h 107"/>
              <a:gd name="T42" fmla="*/ 334 w 385"/>
              <a:gd name="T43" fmla="*/ 0 h 107"/>
              <a:gd name="T44" fmla="*/ 324 w 385"/>
              <a:gd name="T45" fmla="*/ 11 h 107"/>
              <a:gd name="T46" fmla="*/ 359 w 385"/>
              <a:gd name="T47" fmla="*/ 46 h 107"/>
              <a:gd name="T48" fmla="*/ 296 w 385"/>
              <a:gd name="T49" fmla="*/ 46 h 107"/>
              <a:gd name="T50" fmla="*/ 296 w 385"/>
              <a:gd name="T51" fmla="*/ 61 h 107"/>
              <a:gd name="T52" fmla="*/ 359 w 385"/>
              <a:gd name="T53" fmla="*/ 61 h 107"/>
              <a:gd name="T54" fmla="*/ 324 w 385"/>
              <a:gd name="T55" fmla="*/ 96 h 107"/>
              <a:gd name="T56" fmla="*/ 334 w 385"/>
              <a:gd name="T57" fmla="*/ 107 h 107"/>
              <a:gd name="T58" fmla="*/ 382 w 385"/>
              <a:gd name="T59" fmla="*/ 59 h 107"/>
              <a:gd name="T60" fmla="*/ 382 w 385"/>
              <a:gd name="T61" fmla="*/ 4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5" h="107">
                <a:moveTo>
                  <a:pt x="0" y="46"/>
                </a:moveTo>
                <a:cubicBezTo>
                  <a:pt x="37" y="46"/>
                  <a:pt x="37" y="46"/>
                  <a:pt x="37" y="46"/>
                </a:cubicBezTo>
                <a:cubicBezTo>
                  <a:pt x="37" y="61"/>
                  <a:pt x="37" y="61"/>
                  <a:pt x="37" y="61"/>
                </a:cubicBezTo>
                <a:cubicBezTo>
                  <a:pt x="0" y="61"/>
                  <a:pt x="0" y="61"/>
                  <a:pt x="0" y="61"/>
                </a:cubicBezTo>
                <a:lnTo>
                  <a:pt x="0" y="46"/>
                </a:lnTo>
                <a:close/>
                <a:moveTo>
                  <a:pt x="74" y="61"/>
                </a:moveTo>
                <a:cubicBezTo>
                  <a:pt x="111" y="61"/>
                  <a:pt x="111" y="61"/>
                  <a:pt x="111" y="61"/>
                </a:cubicBezTo>
                <a:cubicBezTo>
                  <a:pt x="111" y="46"/>
                  <a:pt x="111" y="46"/>
                  <a:pt x="111" y="46"/>
                </a:cubicBezTo>
                <a:cubicBezTo>
                  <a:pt x="74" y="46"/>
                  <a:pt x="74" y="46"/>
                  <a:pt x="74" y="46"/>
                </a:cubicBezTo>
                <a:lnTo>
                  <a:pt x="74" y="61"/>
                </a:lnTo>
                <a:close/>
                <a:moveTo>
                  <a:pt x="222" y="61"/>
                </a:moveTo>
                <a:cubicBezTo>
                  <a:pt x="259" y="61"/>
                  <a:pt x="259" y="61"/>
                  <a:pt x="259" y="61"/>
                </a:cubicBezTo>
                <a:cubicBezTo>
                  <a:pt x="259" y="46"/>
                  <a:pt x="259" y="46"/>
                  <a:pt x="259" y="46"/>
                </a:cubicBezTo>
                <a:cubicBezTo>
                  <a:pt x="222" y="46"/>
                  <a:pt x="222" y="46"/>
                  <a:pt x="222" y="46"/>
                </a:cubicBezTo>
                <a:lnTo>
                  <a:pt x="222" y="61"/>
                </a:lnTo>
                <a:close/>
                <a:moveTo>
                  <a:pt x="148" y="61"/>
                </a:moveTo>
                <a:cubicBezTo>
                  <a:pt x="185" y="61"/>
                  <a:pt x="185" y="61"/>
                  <a:pt x="185" y="61"/>
                </a:cubicBezTo>
                <a:cubicBezTo>
                  <a:pt x="185" y="46"/>
                  <a:pt x="185" y="46"/>
                  <a:pt x="185" y="46"/>
                </a:cubicBezTo>
                <a:cubicBezTo>
                  <a:pt x="148" y="46"/>
                  <a:pt x="148" y="46"/>
                  <a:pt x="148" y="46"/>
                </a:cubicBezTo>
                <a:lnTo>
                  <a:pt x="148" y="61"/>
                </a:lnTo>
                <a:close/>
                <a:moveTo>
                  <a:pt x="382" y="48"/>
                </a:moveTo>
                <a:cubicBezTo>
                  <a:pt x="334" y="0"/>
                  <a:pt x="334" y="0"/>
                  <a:pt x="334" y="0"/>
                </a:cubicBezTo>
                <a:cubicBezTo>
                  <a:pt x="324" y="11"/>
                  <a:pt x="324" y="11"/>
                  <a:pt x="324" y="11"/>
                </a:cubicBezTo>
                <a:cubicBezTo>
                  <a:pt x="359" y="46"/>
                  <a:pt x="359" y="46"/>
                  <a:pt x="359" y="46"/>
                </a:cubicBezTo>
                <a:cubicBezTo>
                  <a:pt x="296" y="46"/>
                  <a:pt x="296" y="46"/>
                  <a:pt x="296" y="46"/>
                </a:cubicBezTo>
                <a:cubicBezTo>
                  <a:pt x="296" y="61"/>
                  <a:pt x="296" y="61"/>
                  <a:pt x="296" y="61"/>
                </a:cubicBezTo>
                <a:cubicBezTo>
                  <a:pt x="359" y="61"/>
                  <a:pt x="359" y="61"/>
                  <a:pt x="359" y="61"/>
                </a:cubicBezTo>
                <a:cubicBezTo>
                  <a:pt x="324" y="96"/>
                  <a:pt x="324" y="96"/>
                  <a:pt x="324" y="96"/>
                </a:cubicBezTo>
                <a:cubicBezTo>
                  <a:pt x="334" y="107"/>
                  <a:pt x="334" y="107"/>
                  <a:pt x="334" y="107"/>
                </a:cubicBezTo>
                <a:cubicBezTo>
                  <a:pt x="382" y="59"/>
                  <a:pt x="382" y="59"/>
                  <a:pt x="382" y="59"/>
                </a:cubicBezTo>
                <a:cubicBezTo>
                  <a:pt x="385" y="56"/>
                  <a:pt x="385" y="51"/>
                  <a:pt x="382" y="4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87"/>
          <p:cNvSpPr>
            <a:spLocks noEditPoints="1"/>
          </p:cNvSpPr>
          <p:nvPr/>
        </p:nvSpPr>
        <p:spPr bwMode="auto">
          <a:xfrm flipH="1">
            <a:off x="576756" y="3201716"/>
            <a:ext cx="605357" cy="168487"/>
          </a:xfrm>
          <a:custGeom>
            <a:avLst/>
            <a:gdLst>
              <a:gd name="T0" fmla="*/ 0 w 385"/>
              <a:gd name="T1" fmla="*/ 46 h 107"/>
              <a:gd name="T2" fmla="*/ 37 w 385"/>
              <a:gd name="T3" fmla="*/ 46 h 107"/>
              <a:gd name="T4" fmla="*/ 37 w 385"/>
              <a:gd name="T5" fmla="*/ 61 h 107"/>
              <a:gd name="T6" fmla="*/ 0 w 385"/>
              <a:gd name="T7" fmla="*/ 61 h 107"/>
              <a:gd name="T8" fmla="*/ 0 w 385"/>
              <a:gd name="T9" fmla="*/ 46 h 107"/>
              <a:gd name="T10" fmla="*/ 74 w 385"/>
              <a:gd name="T11" fmla="*/ 61 h 107"/>
              <a:gd name="T12" fmla="*/ 111 w 385"/>
              <a:gd name="T13" fmla="*/ 61 h 107"/>
              <a:gd name="T14" fmla="*/ 111 w 385"/>
              <a:gd name="T15" fmla="*/ 46 h 107"/>
              <a:gd name="T16" fmla="*/ 74 w 385"/>
              <a:gd name="T17" fmla="*/ 46 h 107"/>
              <a:gd name="T18" fmla="*/ 74 w 385"/>
              <a:gd name="T19" fmla="*/ 61 h 107"/>
              <a:gd name="T20" fmla="*/ 222 w 385"/>
              <a:gd name="T21" fmla="*/ 61 h 107"/>
              <a:gd name="T22" fmla="*/ 259 w 385"/>
              <a:gd name="T23" fmla="*/ 61 h 107"/>
              <a:gd name="T24" fmla="*/ 259 w 385"/>
              <a:gd name="T25" fmla="*/ 46 h 107"/>
              <a:gd name="T26" fmla="*/ 222 w 385"/>
              <a:gd name="T27" fmla="*/ 46 h 107"/>
              <a:gd name="T28" fmla="*/ 222 w 385"/>
              <a:gd name="T29" fmla="*/ 61 h 107"/>
              <a:gd name="T30" fmla="*/ 148 w 385"/>
              <a:gd name="T31" fmla="*/ 61 h 107"/>
              <a:gd name="T32" fmla="*/ 185 w 385"/>
              <a:gd name="T33" fmla="*/ 61 h 107"/>
              <a:gd name="T34" fmla="*/ 185 w 385"/>
              <a:gd name="T35" fmla="*/ 46 h 107"/>
              <a:gd name="T36" fmla="*/ 148 w 385"/>
              <a:gd name="T37" fmla="*/ 46 h 107"/>
              <a:gd name="T38" fmla="*/ 148 w 385"/>
              <a:gd name="T39" fmla="*/ 61 h 107"/>
              <a:gd name="T40" fmla="*/ 382 w 385"/>
              <a:gd name="T41" fmla="*/ 48 h 107"/>
              <a:gd name="T42" fmla="*/ 334 w 385"/>
              <a:gd name="T43" fmla="*/ 0 h 107"/>
              <a:gd name="T44" fmla="*/ 324 w 385"/>
              <a:gd name="T45" fmla="*/ 11 h 107"/>
              <a:gd name="T46" fmla="*/ 359 w 385"/>
              <a:gd name="T47" fmla="*/ 46 h 107"/>
              <a:gd name="T48" fmla="*/ 296 w 385"/>
              <a:gd name="T49" fmla="*/ 46 h 107"/>
              <a:gd name="T50" fmla="*/ 296 w 385"/>
              <a:gd name="T51" fmla="*/ 61 h 107"/>
              <a:gd name="T52" fmla="*/ 359 w 385"/>
              <a:gd name="T53" fmla="*/ 61 h 107"/>
              <a:gd name="T54" fmla="*/ 324 w 385"/>
              <a:gd name="T55" fmla="*/ 96 h 107"/>
              <a:gd name="T56" fmla="*/ 334 w 385"/>
              <a:gd name="T57" fmla="*/ 107 h 107"/>
              <a:gd name="T58" fmla="*/ 382 w 385"/>
              <a:gd name="T59" fmla="*/ 59 h 107"/>
              <a:gd name="T60" fmla="*/ 382 w 385"/>
              <a:gd name="T61" fmla="*/ 4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5" h="107">
                <a:moveTo>
                  <a:pt x="0" y="46"/>
                </a:moveTo>
                <a:cubicBezTo>
                  <a:pt x="37" y="46"/>
                  <a:pt x="37" y="46"/>
                  <a:pt x="37" y="46"/>
                </a:cubicBezTo>
                <a:cubicBezTo>
                  <a:pt x="37" y="61"/>
                  <a:pt x="37" y="61"/>
                  <a:pt x="37" y="61"/>
                </a:cubicBezTo>
                <a:cubicBezTo>
                  <a:pt x="0" y="61"/>
                  <a:pt x="0" y="61"/>
                  <a:pt x="0" y="61"/>
                </a:cubicBezTo>
                <a:lnTo>
                  <a:pt x="0" y="46"/>
                </a:lnTo>
                <a:close/>
                <a:moveTo>
                  <a:pt x="74" y="61"/>
                </a:moveTo>
                <a:cubicBezTo>
                  <a:pt x="111" y="61"/>
                  <a:pt x="111" y="61"/>
                  <a:pt x="111" y="61"/>
                </a:cubicBezTo>
                <a:cubicBezTo>
                  <a:pt x="111" y="46"/>
                  <a:pt x="111" y="46"/>
                  <a:pt x="111" y="46"/>
                </a:cubicBezTo>
                <a:cubicBezTo>
                  <a:pt x="74" y="46"/>
                  <a:pt x="74" y="46"/>
                  <a:pt x="74" y="46"/>
                </a:cubicBezTo>
                <a:lnTo>
                  <a:pt x="74" y="61"/>
                </a:lnTo>
                <a:close/>
                <a:moveTo>
                  <a:pt x="222" y="61"/>
                </a:moveTo>
                <a:cubicBezTo>
                  <a:pt x="259" y="61"/>
                  <a:pt x="259" y="61"/>
                  <a:pt x="259" y="61"/>
                </a:cubicBezTo>
                <a:cubicBezTo>
                  <a:pt x="259" y="46"/>
                  <a:pt x="259" y="46"/>
                  <a:pt x="259" y="46"/>
                </a:cubicBezTo>
                <a:cubicBezTo>
                  <a:pt x="222" y="46"/>
                  <a:pt x="222" y="46"/>
                  <a:pt x="222" y="46"/>
                </a:cubicBezTo>
                <a:lnTo>
                  <a:pt x="222" y="61"/>
                </a:lnTo>
                <a:close/>
                <a:moveTo>
                  <a:pt x="148" y="61"/>
                </a:moveTo>
                <a:cubicBezTo>
                  <a:pt x="185" y="61"/>
                  <a:pt x="185" y="61"/>
                  <a:pt x="185" y="61"/>
                </a:cubicBezTo>
                <a:cubicBezTo>
                  <a:pt x="185" y="46"/>
                  <a:pt x="185" y="46"/>
                  <a:pt x="185" y="46"/>
                </a:cubicBezTo>
                <a:cubicBezTo>
                  <a:pt x="148" y="46"/>
                  <a:pt x="148" y="46"/>
                  <a:pt x="148" y="46"/>
                </a:cubicBezTo>
                <a:lnTo>
                  <a:pt x="148" y="61"/>
                </a:lnTo>
                <a:close/>
                <a:moveTo>
                  <a:pt x="382" y="48"/>
                </a:moveTo>
                <a:cubicBezTo>
                  <a:pt x="334" y="0"/>
                  <a:pt x="334" y="0"/>
                  <a:pt x="334" y="0"/>
                </a:cubicBezTo>
                <a:cubicBezTo>
                  <a:pt x="324" y="11"/>
                  <a:pt x="324" y="11"/>
                  <a:pt x="324" y="11"/>
                </a:cubicBezTo>
                <a:cubicBezTo>
                  <a:pt x="359" y="46"/>
                  <a:pt x="359" y="46"/>
                  <a:pt x="359" y="46"/>
                </a:cubicBezTo>
                <a:cubicBezTo>
                  <a:pt x="296" y="46"/>
                  <a:pt x="296" y="46"/>
                  <a:pt x="296" y="46"/>
                </a:cubicBezTo>
                <a:cubicBezTo>
                  <a:pt x="296" y="61"/>
                  <a:pt x="296" y="61"/>
                  <a:pt x="296" y="61"/>
                </a:cubicBezTo>
                <a:cubicBezTo>
                  <a:pt x="359" y="61"/>
                  <a:pt x="359" y="61"/>
                  <a:pt x="359" y="61"/>
                </a:cubicBezTo>
                <a:cubicBezTo>
                  <a:pt x="324" y="96"/>
                  <a:pt x="324" y="96"/>
                  <a:pt x="324" y="96"/>
                </a:cubicBezTo>
                <a:cubicBezTo>
                  <a:pt x="334" y="107"/>
                  <a:pt x="334" y="107"/>
                  <a:pt x="334" y="107"/>
                </a:cubicBezTo>
                <a:cubicBezTo>
                  <a:pt x="382" y="59"/>
                  <a:pt x="382" y="59"/>
                  <a:pt x="382" y="59"/>
                </a:cubicBezTo>
                <a:cubicBezTo>
                  <a:pt x="385" y="56"/>
                  <a:pt x="385" y="51"/>
                  <a:pt x="382" y="4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127296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0-#ppt_w/2"/>
                                          </p:val>
                                        </p:tav>
                                        <p:tav tm="100000">
                                          <p:val>
                                            <p:strVal val="#ppt_x"/>
                                          </p:val>
                                        </p:tav>
                                      </p:tavLst>
                                    </p:anim>
                                    <p:anim calcmode="lin" valueType="num">
                                      <p:cBhvr additive="base">
                                        <p:cTn id="8" dur="1000" fill="hold"/>
                                        <p:tgtEl>
                                          <p:spTgt spid="10"/>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1000" fill="hold"/>
                                        <p:tgtEl>
                                          <p:spTgt spid="8"/>
                                        </p:tgtEl>
                                        <p:attrNameLst>
                                          <p:attrName>ppt_x</p:attrName>
                                        </p:attrNameLst>
                                      </p:cBhvr>
                                      <p:tavLst>
                                        <p:tav tm="0">
                                          <p:val>
                                            <p:strVal val="0-#ppt_w/2"/>
                                          </p:val>
                                        </p:tav>
                                        <p:tav tm="100000">
                                          <p:val>
                                            <p:strVal val="#ppt_x"/>
                                          </p:val>
                                        </p:tav>
                                      </p:tavLst>
                                    </p:anim>
                                    <p:anim calcmode="lin" valueType="num">
                                      <p:cBhvr additive="base">
                                        <p:cTn id="12" dur="10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2"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anim calcmode="lin" valueType="num">
                                      <p:cBhvr additive="base">
                                        <p:cTn id="17" dur="1000" fill="hold"/>
                                        <p:tgtEl>
                                          <p:spTgt spid="11"/>
                                        </p:tgtEl>
                                        <p:attrNameLst>
                                          <p:attrName>ppt_x</p:attrName>
                                        </p:attrNameLst>
                                      </p:cBhvr>
                                      <p:tavLst>
                                        <p:tav tm="0">
                                          <p:val>
                                            <p:strVal val="1+#ppt_w/2"/>
                                          </p:val>
                                        </p:tav>
                                        <p:tav tm="100000">
                                          <p:val>
                                            <p:strVal val="#ppt_x"/>
                                          </p:val>
                                        </p:tav>
                                      </p:tavLst>
                                    </p:anim>
                                    <p:anim calcmode="lin" valueType="num">
                                      <p:cBhvr additive="base">
                                        <p:cTn id="18" dur="1000" fill="hold"/>
                                        <p:tgtEl>
                                          <p:spTgt spid="11"/>
                                        </p:tgtEl>
                                        <p:attrNameLst>
                                          <p:attrName>ppt_y</p:attrName>
                                        </p:attrNameLst>
                                      </p:cBhvr>
                                      <p:tavLst>
                                        <p:tav tm="0">
                                          <p:val>
                                            <p:strVal val="#ppt_y"/>
                                          </p:val>
                                        </p:tav>
                                        <p:tav tm="100000">
                                          <p:val>
                                            <p:strVal val="#ppt_y"/>
                                          </p:val>
                                        </p:tav>
                                      </p:tavLst>
                                    </p:anim>
                                  </p:childTnLst>
                                </p:cTn>
                              </p:par>
                              <p:par>
                                <p:cTn id="19" presetID="2" presetClass="entr" presetSubtype="2" fill="hold" nodeType="withEffect">
                                  <p:stCondLst>
                                    <p:cond delay="0"/>
                                  </p:stCondLst>
                                  <p:childTnLst>
                                    <p:set>
                                      <p:cBhvr>
                                        <p:cTn id="20" dur="1" fill="hold">
                                          <p:stCondLst>
                                            <p:cond delay="0"/>
                                          </p:stCondLst>
                                        </p:cTn>
                                        <p:tgtEl>
                                          <p:spTgt spid="9"/>
                                        </p:tgtEl>
                                        <p:attrNameLst>
                                          <p:attrName>style.visibility</p:attrName>
                                        </p:attrNameLst>
                                      </p:cBhvr>
                                      <p:to>
                                        <p:strVal val="visible"/>
                                      </p:to>
                                    </p:set>
                                    <p:anim calcmode="lin" valueType="num">
                                      <p:cBhvr additive="base">
                                        <p:cTn id="21" dur="1000" fill="hold"/>
                                        <p:tgtEl>
                                          <p:spTgt spid="9"/>
                                        </p:tgtEl>
                                        <p:attrNameLst>
                                          <p:attrName>ppt_x</p:attrName>
                                        </p:attrNameLst>
                                      </p:cBhvr>
                                      <p:tavLst>
                                        <p:tav tm="0">
                                          <p:val>
                                            <p:strVal val="1+#ppt_w/2"/>
                                          </p:val>
                                        </p:tav>
                                        <p:tav tm="100000">
                                          <p:val>
                                            <p:strVal val="#ppt_x"/>
                                          </p:val>
                                        </p:tav>
                                      </p:tavLst>
                                    </p:anim>
                                    <p:anim calcmode="lin" valueType="num">
                                      <p:cBhvr additive="base">
                                        <p:cTn id="22" dur="10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Power BI REST API</a:t>
            </a:r>
            <a:endParaRPr lang="en-US" dirty="0"/>
          </a:p>
        </p:txBody>
      </p:sp>
      <p:sp>
        <p:nvSpPr>
          <p:cNvPr id="3" name="Content Placeholder 2"/>
          <p:cNvSpPr>
            <a:spLocks noGrp="1"/>
          </p:cNvSpPr>
          <p:nvPr>
            <p:ph sz="quarter" idx="10"/>
          </p:nvPr>
        </p:nvSpPr>
        <p:spPr/>
        <p:txBody>
          <a:bodyPr/>
          <a:lstStyle/>
          <a:p>
            <a:r>
              <a:rPr lang="en-AU" dirty="0"/>
              <a:t>Example: Add a row to a table in a dataset</a:t>
            </a:r>
            <a:endParaRPr lang="en-US" dirty="0"/>
          </a:p>
        </p:txBody>
      </p:sp>
      <p:sp>
        <p:nvSpPr>
          <p:cNvPr id="7" name="Text Placeholder 6"/>
          <p:cNvSpPr>
            <a:spLocks noGrp="1"/>
          </p:cNvSpPr>
          <p:nvPr>
            <p:ph type="body" sz="quarter" idx="11"/>
          </p:nvPr>
        </p:nvSpPr>
        <p:spPr>
          <a:xfrm>
            <a:off x="1484671" y="2212258"/>
            <a:ext cx="10440629" cy="4463180"/>
          </a:xfrm>
        </p:spPr>
        <p:txBody>
          <a:bodyPr>
            <a:normAutofit/>
          </a:bodyPr>
          <a:lstStyle/>
          <a:p>
            <a:endParaRPr lang="en-AU" sz="2400" dirty="0">
              <a:latin typeface="Consolas" panose="020B0609020204030204" pitchFamily="49" charset="0"/>
              <a:cs typeface="Consolas" panose="020B0609020204030204" pitchFamily="49" charset="0"/>
            </a:endParaRPr>
          </a:p>
          <a:p>
            <a:endParaRPr lang="en-AU" sz="2400" dirty="0">
              <a:latin typeface="Consolas" panose="020B0609020204030204" pitchFamily="49" charset="0"/>
              <a:cs typeface="Consolas" panose="020B0609020204030204" pitchFamily="49" charset="0"/>
            </a:endParaRPr>
          </a:p>
          <a:p>
            <a:endParaRPr lang="en-US" sz="2400" dirty="0">
              <a:latin typeface="Consolas" panose="020B0609020204030204" pitchFamily="49" charset="0"/>
              <a:cs typeface="Consolas" panose="020B0609020204030204" pitchFamily="49" charset="0"/>
            </a:endParaRPr>
          </a:p>
        </p:txBody>
      </p:sp>
      <p:graphicFrame>
        <p:nvGraphicFramePr>
          <p:cNvPr id="8" name="Table 7"/>
          <p:cNvGraphicFramePr>
            <a:graphicFrameLocks noGrp="1"/>
          </p:cNvGraphicFramePr>
          <p:nvPr>
            <p:extLst/>
          </p:nvPr>
        </p:nvGraphicFramePr>
        <p:xfrm>
          <a:off x="1386348" y="1787308"/>
          <a:ext cx="10333703" cy="4607560"/>
        </p:xfrm>
        <a:graphic>
          <a:graphicData uri="http://schemas.openxmlformats.org/drawingml/2006/table">
            <a:tbl>
              <a:tblPr firstRow="1" bandRow="1">
                <a:tableStyleId>{F2DE63D5-997A-4646-A377-4702673A728D}</a:tableStyleId>
              </a:tblPr>
              <a:tblGrid>
                <a:gridCol w="10333703">
                  <a:extLst>
                    <a:ext uri="{9D8B030D-6E8A-4147-A177-3AD203B41FA5}">
                      <a16:colId xmlns:a16="http://schemas.microsoft.com/office/drawing/2014/main" val="20000"/>
                    </a:ext>
                  </a:extLst>
                </a:gridCol>
              </a:tblGrid>
              <a:tr h="370840">
                <a:tc>
                  <a:txBody>
                    <a:bodyPr/>
                    <a:lstStyle/>
                    <a:p>
                      <a:r>
                        <a:rPr lang="en-AU" dirty="0"/>
                        <a:t>Request</a:t>
                      </a:r>
                      <a:endParaRPr lang="en-US" dirty="0"/>
                    </a:p>
                  </a:txBody>
                  <a:tcPr/>
                </a:tc>
                <a:extLst>
                  <a:ext uri="{0D108BD9-81ED-4DB2-BD59-A6C34878D82A}">
                    <a16:rowId xmlns:a16="http://schemas.microsoft.com/office/drawing/2014/main" val="10000"/>
                  </a:ext>
                </a:extLst>
              </a:tr>
              <a:tr h="370840">
                <a:tc>
                  <a:txBody>
                    <a:bodyPr/>
                    <a:lstStyle/>
                    <a:p>
                      <a:pPr>
                        <a:tabLst>
                          <a:tab pos="354013" algn="l"/>
                        </a:tabLst>
                      </a:pPr>
                      <a:r>
                        <a:rPr lang="en-US" sz="1600" dirty="0">
                          <a:latin typeface="Consolas" panose="020B0609020204030204" pitchFamily="49" charset="0"/>
                          <a:cs typeface="Consolas" panose="020B0609020204030204" pitchFamily="49" charset="0"/>
                        </a:rPr>
                        <a:t>POST https://api.powerbi.com/v1.0/myorg/datasets/2C0CCF12-A369-4985-A643-0995C249D5B9</a:t>
                      </a:r>
                      <a:br>
                        <a:rPr lang="en-US" sz="1600" dirty="0">
                          <a:latin typeface="Consolas" panose="020B0609020204030204" pitchFamily="49" charset="0"/>
                          <a:cs typeface="Consolas" panose="020B0609020204030204" pitchFamily="49" charset="0"/>
                        </a:rPr>
                      </a:br>
                      <a:r>
                        <a:rPr lang="en-US" sz="1600" dirty="0">
                          <a:latin typeface="Consolas" panose="020B0609020204030204" pitchFamily="49" charset="0"/>
                          <a:cs typeface="Consolas" panose="020B0609020204030204" pitchFamily="49" charset="0"/>
                        </a:rPr>
                        <a:t>	/Tables/Product/Rows HTTP/1.1</a:t>
                      </a:r>
                    </a:p>
                    <a:p>
                      <a:pPr>
                        <a:tabLst>
                          <a:tab pos="354013" algn="l"/>
                        </a:tabLst>
                      </a:pPr>
                      <a:r>
                        <a:rPr lang="en-US" sz="1600" dirty="0">
                          <a:latin typeface="Consolas" panose="020B0609020204030204" pitchFamily="49" charset="0"/>
                          <a:cs typeface="Consolas" panose="020B0609020204030204" pitchFamily="49" charset="0"/>
                        </a:rPr>
                        <a:t>Authorization: Bearer {AAD Token}</a:t>
                      </a:r>
                    </a:p>
                    <a:p>
                      <a:pPr marL="0" marR="0" indent="0" algn="l" defTabSz="914367" rtl="0" eaLnBrk="1" fontAlgn="auto" latinLnBrk="0" hangingPunct="1">
                        <a:lnSpc>
                          <a:spcPct val="100000"/>
                        </a:lnSpc>
                        <a:spcBef>
                          <a:spcPts val="0"/>
                        </a:spcBef>
                        <a:spcAft>
                          <a:spcPts val="0"/>
                        </a:spcAft>
                        <a:buClrTx/>
                        <a:buSzTx/>
                        <a:buFontTx/>
                        <a:buNone/>
                        <a:tabLst>
                          <a:tab pos="354013" algn="l"/>
                        </a:tabLst>
                        <a:defRPr/>
                      </a:pPr>
                      <a:r>
                        <a:rPr lang="en-US" sz="1600" dirty="0">
                          <a:latin typeface="Consolas" panose="020B0609020204030204" pitchFamily="49" charset="0"/>
                          <a:cs typeface="Consolas" panose="020B0609020204030204" pitchFamily="49" charset="0"/>
                        </a:rPr>
                        <a:t>Content-Type: application/json; charset=utf-8</a:t>
                      </a:r>
                      <a:endParaRPr lang="en-US" sz="1600" dirty="0"/>
                    </a:p>
                    <a:p>
                      <a:pPr>
                        <a:tabLst>
                          <a:tab pos="354013" algn="l"/>
                        </a:tabLst>
                      </a:pPr>
                      <a:endParaRPr lang="en-AU" sz="1600" dirty="0">
                        <a:latin typeface="Consolas" panose="020B0609020204030204" pitchFamily="49" charset="0"/>
                        <a:cs typeface="Consolas" panose="020B0609020204030204" pitchFamily="49" charset="0"/>
                      </a:endParaRPr>
                    </a:p>
                    <a:p>
                      <a:pPr>
                        <a:tabLst>
                          <a:tab pos="354013" algn="l"/>
                        </a:tabLst>
                      </a:pPr>
                      <a:r>
                        <a:rPr lang="en-US" sz="1600" dirty="0">
                          <a:latin typeface="Consolas" panose="020B0609020204030204" pitchFamily="49" charset="0"/>
                          <a:cs typeface="Consolas" panose="020B0609020204030204" pitchFamily="49" charset="0"/>
                        </a:rPr>
                        <a:t>{</a:t>
                      </a:r>
                    </a:p>
                    <a:p>
                      <a:pPr>
                        <a:tabLst>
                          <a:tab pos="354013" algn="l"/>
                        </a:tabLst>
                      </a:pPr>
                      <a:r>
                        <a:rPr lang="en-US" sz="1600" dirty="0">
                          <a:latin typeface="Consolas" panose="020B0609020204030204" pitchFamily="49" charset="0"/>
                          <a:cs typeface="Consolas" panose="020B0609020204030204" pitchFamily="49" charset="0"/>
                        </a:rPr>
                        <a:t>   "rows": </a:t>
                      </a:r>
                    </a:p>
                    <a:p>
                      <a:pPr>
                        <a:tabLst>
                          <a:tab pos="354013" algn="l"/>
                        </a:tabLst>
                      </a:pPr>
                      <a:r>
                        <a:rPr lang="en-US" sz="1600" dirty="0">
                          <a:latin typeface="Consolas" panose="020B0609020204030204" pitchFamily="49" charset="0"/>
                          <a:cs typeface="Consolas" panose="020B0609020204030204" pitchFamily="49" charset="0"/>
                        </a:rPr>
                        <a:t>   [</a:t>
                      </a:r>
                    </a:p>
                    <a:p>
                      <a:pPr>
                        <a:tabLst>
                          <a:tab pos="354013" algn="l"/>
                        </a:tabLst>
                      </a:pPr>
                      <a:r>
                        <a:rPr lang="en-US" sz="1600" dirty="0">
                          <a:latin typeface="Consolas" panose="020B0609020204030204" pitchFamily="49" charset="0"/>
                          <a:cs typeface="Consolas" panose="020B0609020204030204" pitchFamily="49" charset="0"/>
                        </a:rPr>
                        <a:t>         {</a:t>
                      </a:r>
                    </a:p>
                    <a:p>
                      <a:pPr>
                        <a:tabLst>
                          <a:tab pos="354013" algn="l"/>
                        </a:tabLst>
                      </a:pPr>
                      <a:r>
                        <a:rPr lang="en-US" sz="1600" dirty="0">
                          <a:latin typeface="Consolas" panose="020B0609020204030204" pitchFamily="49" charset="0"/>
                          <a:cs typeface="Consolas" panose="020B0609020204030204" pitchFamily="49" charset="0"/>
                        </a:rPr>
                        <a:t>            "ProductID":1,</a:t>
                      </a:r>
                    </a:p>
                    <a:p>
                      <a:pPr>
                        <a:tabLst>
                          <a:tab pos="354013" algn="l"/>
                        </a:tabLst>
                      </a:pPr>
                      <a:r>
                        <a:rPr lang="en-US" sz="1600" dirty="0">
                          <a:latin typeface="Consolas" panose="020B0609020204030204" pitchFamily="49" charset="0"/>
                          <a:cs typeface="Consolas" panose="020B0609020204030204" pitchFamily="49" charset="0"/>
                        </a:rPr>
                        <a:t>            "Name":"Adjustable Race",</a:t>
                      </a:r>
                    </a:p>
                    <a:p>
                      <a:pPr>
                        <a:tabLst>
                          <a:tab pos="354013" algn="l"/>
                        </a:tabLst>
                      </a:pPr>
                      <a:r>
                        <a:rPr lang="en-US" sz="1600" dirty="0">
                          <a:latin typeface="Consolas" panose="020B0609020204030204" pitchFamily="49" charset="0"/>
                          <a:cs typeface="Consolas" panose="020B0609020204030204" pitchFamily="49" charset="0"/>
                        </a:rPr>
                        <a:t>            "Category":"Components",</a:t>
                      </a:r>
                    </a:p>
                    <a:p>
                      <a:pPr>
                        <a:tabLst>
                          <a:tab pos="354013" algn="l"/>
                        </a:tabLst>
                      </a:pPr>
                      <a:r>
                        <a:rPr lang="en-US" sz="1600" dirty="0">
                          <a:latin typeface="Consolas" panose="020B0609020204030204" pitchFamily="49" charset="0"/>
                          <a:cs typeface="Consolas" panose="020B0609020204030204" pitchFamily="49" charset="0"/>
                        </a:rPr>
                        <a:t>            "IsCompete":true,</a:t>
                      </a:r>
                    </a:p>
                    <a:p>
                      <a:pPr>
                        <a:tabLst>
                          <a:tab pos="354013" algn="l"/>
                        </a:tabLst>
                      </a:pPr>
                      <a:r>
                        <a:rPr lang="en-US" sz="1600" dirty="0">
                          <a:latin typeface="Consolas" panose="020B0609020204030204" pitchFamily="49" charset="0"/>
                          <a:cs typeface="Consolas" panose="020B0609020204030204" pitchFamily="49" charset="0"/>
                        </a:rPr>
                        <a:t>            "ManufacturedOn":"07/30/2014"</a:t>
                      </a:r>
                    </a:p>
                    <a:p>
                      <a:pPr>
                        <a:tabLst>
                          <a:tab pos="354013" algn="l"/>
                        </a:tabLst>
                      </a:pPr>
                      <a:r>
                        <a:rPr lang="en-US" sz="1600" dirty="0">
                          <a:latin typeface="Consolas" panose="020B0609020204030204" pitchFamily="49" charset="0"/>
                          <a:cs typeface="Consolas" panose="020B0609020204030204" pitchFamily="49" charset="0"/>
                        </a:rPr>
                        <a:t>       }</a:t>
                      </a:r>
                    </a:p>
                    <a:p>
                      <a:pPr>
                        <a:tabLst>
                          <a:tab pos="354013" algn="l"/>
                        </a:tabLst>
                      </a:pPr>
                      <a:r>
                        <a:rPr lang="en-US" sz="1600" dirty="0">
                          <a:latin typeface="Consolas" panose="020B0609020204030204" pitchFamily="49" charset="0"/>
                          <a:cs typeface="Consolas" panose="020B0609020204030204" pitchFamily="49" charset="0"/>
                        </a:rPr>
                        <a:t>   ]</a:t>
                      </a:r>
                    </a:p>
                    <a:p>
                      <a:pPr>
                        <a:tabLst>
                          <a:tab pos="354013" algn="l"/>
                        </a:tabLst>
                      </a:pPr>
                      <a:r>
                        <a:rPr lang="en-US" sz="1600" dirty="0">
                          <a:latin typeface="Consolas" panose="020B0609020204030204" pitchFamily="49" charset="0"/>
                          <a:cs typeface="Consolas" panose="020B0609020204030204" pitchFamily="49" charset="0"/>
                        </a:rPr>
                        <a:t>}</a:t>
                      </a:r>
                    </a:p>
                  </a:txBody>
                  <a:tcPr/>
                </a:tc>
                <a:extLst>
                  <a:ext uri="{0D108BD9-81ED-4DB2-BD59-A6C34878D82A}">
                    <a16:rowId xmlns:a16="http://schemas.microsoft.com/office/drawing/2014/main" val="10001"/>
                  </a:ext>
                </a:extLst>
              </a:tr>
            </a:tbl>
          </a:graphicData>
        </a:graphic>
      </p:graphicFrame>
      <p:sp>
        <p:nvSpPr>
          <p:cNvPr id="10" name="Freeform 87"/>
          <p:cNvSpPr>
            <a:spLocks noEditPoints="1"/>
          </p:cNvSpPr>
          <p:nvPr/>
        </p:nvSpPr>
        <p:spPr bwMode="auto">
          <a:xfrm>
            <a:off x="549994" y="1898942"/>
            <a:ext cx="605357" cy="168487"/>
          </a:xfrm>
          <a:custGeom>
            <a:avLst/>
            <a:gdLst>
              <a:gd name="T0" fmla="*/ 0 w 385"/>
              <a:gd name="T1" fmla="*/ 46 h 107"/>
              <a:gd name="T2" fmla="*/ 37 w 385"/>
              <a:gd name="T3" fmla="*/ 46 h 107"/>
              <a:gd name="T4" fmla="*/ 37 w 385"/>
              <a:gd name="T5" fmla="*/ 61 h 107"/>
              <a:gd name="T6" fmla="*/ 0 w 385"/>
              <a:gd name="T7" fmla="*/ 61 h 107"/>
              <a:gd name="T8" fmla="*/ 0 w 385"/>
              <a:gd name="T9" fmla="*/ 46 h 107"/>
              <a:gd name="T10" fmla="*/ 74 w 385"/>
              <a:gd name="T11" fmla="*/ 61 h 107"/>
              <a:gd name="T12" fmla="*/ 111 w 385"/>
              <a:gd name="T13" fmla="*/ 61 h 107"/>
              <a:gd name="T14" fmla="*/ 111 w 385"/>
              <a:gd name="T15" fmla="*/ 46 h 107"/>
              <a:gd name="T16" fmla="*/ 74 w 385"/>
              <a:gd name="T17" fmla="*/ 46 h 107"/>
              <a:gd name="T18" fmla="*/ 74 w 385"/>
              <a:gd name="T19" fmla="*/ 61 h 107"/>
              <a:gd name="T20" fmla="*/ 222 w 385"/>
              <a:gd name="T21" fmla="*/ 61 h 107"/>
              <a:gd name="T22" fmla="*/ 259 w 385"/>
              <a:gd name="T23" fmla="*/ 61 h 107"/>
              <a:gd name="T24" fmla="*/ 259 w 385"/>
              <a:gd name="T25" fmla="*/ 46 h 107"/>
              <a:gd name="T26" fmla="*/ 222 w 385"/>
              <a:gd name="T27" fmla="*/ 46 h 107"/>
              <a:gd name="T28" fmla="*/ 222 w 385"/>
              <a:gd name="T29" fmla="*/ 61 h 107"/>
              <a:gd name="T30" fmla="*/ 148 w 385"/>
              <a:gd name="T31" fmla="*/ 61 h 107"/>
              <a:gd name="T32" fmla="*/ 185 w 385"/>
              <a:gd name="T33" fmla="*/ 61 h 107"/>
              <a:gd name="T34" fmla="*/ 185 w 385"/>
              <a:gd name="T35" fmla="*/ 46 h 107"/>
              <a:gd name="T36" fmla="*/ 148 w 385"/>
              <a:gd name="T37" fmla="*/ 46 h 107"/>
              <a:gd name="T38" fmla="*/ 148 w 385"/>
              <a:gd name="T39" fmla="*/ 61 h 107"/>
              <a:gd name="T40" fmla="*/ 382 w 385"/>
              <a:gd name="T41" fmla="*/ 48 h 107"/>
              <a:gd name="T42" fmla="*/ 334 w 385"/>
              <a:gd name="T43" fmla="*/ 0 h 107"/>
              <a:gd name="T44" fmla="*/ 324 w 385"/>
              <a:gd name="T45" fmla="*/ 11 h 107"/>
              <a:gd name="T46" fmla="*/ 359 w 385"/>
              <a:gd name="T47" fmla="*/ 46 h 107"/>
              <a:gd name="T48" fmla="*/ 296 w 385"/>
              <a:gd name="T49" fmla="*/ 46 h 107"/>
              <a:gd name="T50" fmla="*/ 296 w 385"/>
              <a:gd name="T51" fmla="*/ 61 h 107"/>
              <a:gd name="T52" fmla="*/ 359 w 385"/>
              <a:gd name="T53" fmla="*/ 61 h 107"/>
              <a:gd name="T54" fmla="*/ 324 w 385"/>
              <a:gd name="T55" fmla="*/ 96 h 107"/>
              <a:gd name="T56" fmla="*/ 334 w 385"/>
              <a:gd name="T57" fmla="*/ 107 h 107"/>
              <a:gd name="T58" fmla="*/ 382 w 385"/>
              <a:gd name="T59" fmla="*/ 59 h 107"/>
              <a:gd name="T60" fmla="*/ 382 w 385"/>
              <a:gd name="T61" fmla="*/ 4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5" h="107">
                <a:moveTo>
                  <a:pt x="0" y="46"/>
                </a:moveTo>
                <a:cubicBezTo>
                  <a:pt x="37" y="46"/>
                  <a:pt x="37" y="46"/>
                  <a:pt x="37" y="46"/>
                </a:cubicBezTo>
                <a:cubicBezTo>
                  <a:pt x="37" y="61"/>
                  <a:pt x="37" y="61"/>
                  <a:pt x="37" y="61"/>
                </a:cubicBezTo>
                <a:cubicBezTo>
                  <a:pt x="0" y="61"/>
                  <a:pt x="0" y="61"/>
                  <a:pt x="0" y="61"/>
                </a:cubicBezTo>
                <a:lnTo>
                  <a:pt x="0" y="46"/>
                </a:lnTo>
                <a:close/>
                <a:moveTo>
                  <a:pt x="74" y="61"/>
                </a:moveTo>
                <a:cubicBezTo>
                  <a:pt x="111" y="61"/>
                  <a:pt x="111" y="61"/>
                  <a:pt x="111" y="61"/>
                </a:cubicBezTo>
                <a:cubicBezTo>
                  <a:pt x="111" y="46"/>
                  <a:pt x="111" y="46"/>
                  <a:pt x="111" y="46"/>
                </a:cubicBezTo>
                <a:cubicBezTo>
                  <a:pt x="74" y="46"/>
                  <a:pt x="74" y="46"/>
                  <a:pt x="74" y="46"/>
                </a:cubicBezTo>
                <a:lnTo>
                  <a:pt x="74" y="61"/>
                </a:lnTo>
                <a:close/>
                <a:moveTo>
                  <a:pt x="222" y="61"/>
                </a:moveTo>
                <a:cubicBezTo>
                  <a:pt x="259" y="61"/>
                  <a:pt x="259" y="61"/>
                  <a:pt x="259" y="61"/>
                </a:cubicBezTo>
                <a:cubicBezTo>
                  <a:pt x="259" y="46"/>
                  <a:pt x="259" y="46"/>
                  <a:pt x="259" y="46"/>
                </a:cubicBezTo>
                <a:cubicBezTo>
                  <a:pt x="222" y="46"/>
                  <a:pt x="222" y="46"/>
                  <a:pt x="222" y="46"/>
                </a:cubicBezTo>
                <a:lnTo>
                  <a:pt x="222" y="61"/>
                </a:lnTo>
                <a:close/>
                <a:moveTo>
                  <a:pt x="148" y="61"/>
                </a:moveTo>
                <a:cubicBezTo>
                  <a:pt x="185" y="61"/>
                  <a:pt x="185" y="61"/>
                  <a:pt x="185" y="61"/>
                </a:cubicBezTo>
                <a:cubicBezTo>
                  <a:pt x="185" y="46"/>
                  <a:pt x="185" y="46"/>
                  <a:pt x="185" y="46"/>
                </a:cubicBezTo>
                <a:cubicBezTo>
                  <a:pt x="148" y="46"/>
                  <a:pt x="148" y="46"/>
                  <a:pt x="148" y="46"/>
                </a:cubicBezTo>
                <a:lnTo>
                  <a:pt x="148" y="61"/>
                </a:lnTo>
                <a:close/>
                <a:moveTo>
                  <a:pt x="382" y="48"/>
                </a:moveTo>
                <a:cubicBezTo>
                  <a:pt x="334" y="0"/>
                  <a:pt x="334" y="0"/>
                  <a:pt x="334" y="0"/>
                </a:cubicBezTo>
                <a:cubicBezTo>
                  <a:pt x="324" y="11"/>
                  <a:pt x="324" y="11"/>
                  <a:pt x="324" y="11"/>
                </a:cubicBezTo>
                <a:cubicBezTo>
                  <a:pt x="359" y="46"/>
                  <a:pt x="359" y="46"/>
                  <a:pt x="359" y="46"/>
                </a:cubicBezTo>
                <a:cubicBezTo>
                  <a:pt x="296" y="46"/>
                  <a:pt x="296" y="46"/>
                  <a:pt x="296" y="46"/>
                </a:cubicBezTo>
                <a:cubicBezTo>
                  <a:pt x="296" y="61"/>
                  <a:pt x="296" y="61"/>
                  <a:pt x="296" y="61"/>
                </a:cubicBezTo>
                <a:cubicBezTo>
                  <a:pt x="359" y="61"/>
                  <a:pt x="359" y="61"/>
                  <a:pt x="359" y="61"/>
                </a:cubicBezTo>
                <a:cubicBezTo>
                  <a:pt x="324" y="96"/>
                  <a:pt x="324" y="96"/>
                  <a:pt x="324" y="96"/>
                </a:cubicBezTo>
                <a:cubicBezTo>
                  <a:pt x="334" y="107"/>
                  <a:pt x="334" y="107"/>
                  <a:pt x="334" y="107"/>
                </a:cubicBezTo>
                <a:cubicBezTo>
                  <a:pt x="382" y="59"/>
                  <a:pt x="382" y="59"/>
                  <a:pt x="382" y="59"/>
                </a:cubicBezTo>
                <a:cubicBezTo>
                  <a:pt x="385" y="56"/>
                  <a:pt x="385" y="51"/>
                  <a:pt x="382" y="4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460159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0-#ppt_w/2"/>
                                          </p:val>
                                        </p:tav>
                                        <p:tav tm="100000">
                                          <p:val>
                                            <p:strVal val="#ppt_x"/>
                                          </p:val>
                                        </p:tav>
                                      </p:tavLst>
                                    </p:anim>
                                    <p:anim calcmode="lin" valueType="num">
                                      <p:cBhvr additive="base">
                                        <p:cTn id="8" dur="1000" fill="hold"/>
                                        <p:tgtEl>
                                          <p:spTgt spid="10"/>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1000" fill="hold"/>
                                        <p:tgtEl>
                                          <p:spTgt spid="8"/>
                                        </p:tgtEl>
                                        <p:attrNameLst>
                                          <p:attrName>ppt_x</p:attrName>
                                        </p:attrNameLst>
                                      </p:cBhvr>
                                      <p:tavLst>
                                        <p:tav tm="0">
                                          <p:val>
                                            <p:strVal val="0-#ppt_w/2"/>
                                          </p:val>
                                        </p:tav>
                                        <p:tav tm="100000">
                                          <p:val>
                                            <p:strVal val="#ppt_x"/>
                                          </p:val>
                                        </p:tav>
                                      </p:tavLst>
                                    </p:anim>
                                    <p:anim calcmode="lin" valueType="num">
                                      <p:cBhvr additive="base">
                                        <p:cTn id="12" dur="10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Power BI REST API</a:t>
            </a:r>
            <a:endParaRPr lang="en-US" dirty="0"/>
          </a:p>
        </p:txBody>
      </p:sp>
      <p:sp>
        <p:nvSpPr>
          <p:cNvPr id="3" name="Content Placeholder 2"/>
          <p:cNvSpPr>
            <a:spLocks noGrp="1"/>
          </p:cNvSpPr>
          <p:nvPr>
            <p:ph sz="quarter" idx="10"/>
          </p:nvPr>
        </p:nvSpPr>
        <p:spPr/>
        <p:txBody>
          <a:bodyPr/>
          <a:lstStyle/>
          <a:p>
            <a:r>
              <a:rPr lang="en-AU" dirty="0"/>
              <a:t>Restrictions</a:t>
            </a:r>
            <a:endParaRPr lang="en-US" dirty="0"/>
          </a:p>
        </p:txBody>
      </p:sp>
      <p:sp>
        <p:nvSpPr>
          <p:cNvPr id="4" name="Text Placeholder 3"/>
          <p:cNvSpPr>
            <a:spLocks noGrp="1"/>
          </p:cNvSpPr>
          <p:nvPr>
            <p:ph type="body" sz="quarter" idx="11"/>
          </p:nvPr>
        </p:nvSpPr>
        <p:spPr/>
        <p:txBody>
          <a:bodyPr>
            <a:normAutofit/>
          </a:bodyPr>
          <a:lstStyle/>
          <a:p>
            <a:r>
              <a:rPr lang="en-AU" dirty="0"/>
              <a:t>Maximum rows per single push: 10K</a:t>
            </a:r>
          </a:p>
          <a:p>
            <a:pPr lvl="1"/>
            <a:r>
              <a:rPr lang="en-AU" dirty="0"/>
              <a:t>Note that ingestion rates are restricted by license:</a:t>
            </a:r>
          </a:p>
          <a:p>
            <a:pPr lvl="2"/>
            <a:r>
              <a:rPr lang="en-AU" b="1" dirty="0"/>
              <a:t>Power BI </a:t>
            </a:r>
            <a:r>
              <a:rPr lang="en-AU" dirty="0"/>
              <a:t>license: 10K rows/hour</a:t>
            </a:r>
          </a:p>
          <a:p>
            <a:pPr lvl="2"/>
            <a:r>
              <a:rPr lang="en-AU" b="1" dirty="0"/>
              <a:t>Power BI Pro </a:t>
            </a:r>
            <a:r>
              <a:rPr lang="en-AU" dirty="0"/>
              <a:t>license : 1M rows/hour</a:t>
            </a:r>
          </a:p>
          <a:p>
            <a:r>
              <a:rPr lang="en-AU" dirty="0"/>
              <a:t>Maximum rows per table: 5M</a:t>
            </a:r>
          </a:p>
          <a:p>
            <a:pPr lvl="1"/>
            <a:r>
              <a:rPr lang="en-AU" dirty="0"/>
              <a:t>A dataset is defined with a retention policy:</a:t>
            </a:r>
          </a:p>
          <a:p>
            <a:pPr lvl="2"/>
            <a:r>
              <a:rPr lang="en-AU" b="1" dirty="0"/>
              <a:t>none</a:t>
            </a:r>
            <a:r>
              <a:rPr lang="en-AU" dirty="0"/>
              <a:t>: Rows will be collected to the limit</a:t>
            </a:r>
          </a:p>
          <a:p>
            <a:pPr lvl="2"/>
            <a:r>
              <a:rPr lang="en-AU" b="1" dirty="0"/>
              <a:t>basicFIFO</a:t>
            </a:r>
            <a:r>
              <a:rPr lang="en-AU" dirty="0"/>
              <a:t>: Will keep up to 200K rows, </a:t>
            </a:r>
            <a:r>
              <a:rPr lang="en-US" dirty="0"/>
              <a:t>and remove the oldest rows as new rows are added</a:t>
            </a:r>
            <a:endParaRPr lang="en-AU" dirty="0"/>
          </a:p>
          <a:p>
            <a:r>
              <a:rPr lang="en-AU" dirty="0"/>
              <a:t>Maximum pending requests: 5</a:t>
            </a:r>
            <a:endParaRPr lang="en-US" dirty="0"/>
          </a:p>
        </p:txBody>
      </p:sp>
    </p:spTree>
    <p:extLst>
      <p:ext uri="{BB962C8B-B14F-4D97-AF65-F5344CB8AC3E}">
        <p14:creationId xmlns:p14="http://schemas.microsoft.com/office/powerpoint/2010/main" val="2601632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Integrate Power BI</a:t>
            </a:r>
            <a:endParaRPr lang="en-US" dirty="0"/>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p:txBody>
          <a:bodyPr/>
          <a:lstStyle/>
          <a:p>
            <a:r>
              <a:rPr lang="en-AU" dirty="0"/>
              <a:t>Integrate a Power BI tile or report into an app with an </a:t>
            </a:r>
            <a:r>
              <a:rPr lang="en-AU" dirty="0" err="1"/>
              <a:t>IFrame</a:t>
            </a:r>
            <a:r>
              <a:rPr lang="en-AU" dirty="0"/>
              <a:t> HTML element</a:t>
            </a:r>
          </a:p>
          <a:p>
            <a:pPr lvl="1"/>
            <a:r>
              <a:rPr lang="en-AU" dirty="0"/>
              <a:t>For example, create a custom mobile app to display real-time Power BI tiles and reports on the user’s mobile device</a:t>
            </a:r>
          </a:p>
          <a:p>
            <a:r>
              <a:rPr lang="en-AU" dirty="0"/>
              <a:t>Use the REST API to retrieve the embed URL</a:t>
            </a:r>
          </a:p>
          <a:p>
            <a:r>
              <a:rPr lang="en-AU" dirty="0"/>
              <a:t>Once embedded, a click event handler can be added to enable navigation to the dashboard</a:t>
            </a:r>
          </a:p>
          <a:p>
            <a:r>
              <a:rPr lang="en-AU" dirty="0"/>
              <a:t>This capability is presently in preview</a:t>
            </a:r>
            <a:endParaRPr lang="en-US" dirty="0"/>
          </a:p>
        </p:txBody>
      </p:sp>
    </p:spTree>
    <p:extLst>
      <p:ext uri="{BB962C8B-B14F-4D97-AF65-F5344CB8AC3E}">
        <p14:creationId xmlns:p14="http://schemas.microsoft.com/office/powerpoint/2010/main" val="2782927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Custom visuals</a:t>
            </a:r>
            <a:endParaRPr lang="en-US" dirty="0"/>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p:txBody>
          <a:bodyPr/>
          <a:lstStyle/>
          <a:p>
            <a:r>
              <a:rPr lang="en-AU" dirty="0"/>
              <a:t>Developers can develop custom visuals for use in Power BI solutions</a:t>
            </a:r>
          </a:p>
          <a:p>
            <a:r>
              <a:rPr lang="en-AU" dirty="0"/>
              <a:t>To help developers get started, Microsoft has published the code for all of their visualizations</a:t>
            </a:r>
          </a:p>
          <a:p>
            <a:pPr lvl="1"/>
            <a:r>
              <a:rPr lang="en-AU" dirty="0"/>
              <a:t>This is all available as an open source project on GitHub</a:t>
            </a:r>
          </a:p>
          <a:p>
            <a:pPr lvl="2"/>
            <a:r>
              <a:rPr lang="en-US" dirty="0"/>
              <a:t>The project contains over 20 visualization types, the framework to run them, and the testing infrastructure that enables you to build high quality visualizations</a:t>
            </a:r>
          </a:p>
          <a:p>
            <a:pPr lvl="2"/>
            <a:r>
              <a:rPr lang="en-US" dirty="0"/>
              <a:t>The framework provides all the interfaces required to integrate fully with Power BI's selection, filtering, and other UI experiences</a:t>
            </a:r>
          </a:p>
          <a:p>
            <a:pPr lvl="1"/>
            <a:r>
              <a:rPr lang="en-US" dirty="0"/>
              <a:t>Developers are encouraged to submit their custom visuals to the Power BI Visuals Gallery for sharing with the Power BI community</a:t>
            </a:r>
          </a:p>
        </p:txBody>
      </p:sp>
    </p:spTree>
    <p:extLst>
      <p:ext uri="{BB962C8B-B14F-4D97-AF65-F5344CB8AC3E}">
        <p14:creationId xmlns:p14="http://schemas.microsoft.com/office/powerpoint/2010/main" val="3605328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05</a:t>
            </a:r>
            <a:br>
              <a:rPr lang="en-US" dirty="0"/>
            </a:br>
            <a:r>
              <a:rPr lang="en-US" altLang="zh-TW" dirty="0"/>
              <a:t>Power BI Embedded</a:t>
            </a:r>
            <a:endParaRPr lang="en-US" dirty="0"/>
          </a:p>
        </p:txBody>
      </p:sp>
      <p:sp>
        <p:nvSpPr>
          <p:cNvPr id="3" name="Text Placeholder 2"/>
          <p:cNvSpPr>
            <a:spLocks noGrp="1"/>
          </p:cNvSpPr>
          <p:nvPr>
            <p:ph type="body" sz="quarter" idx="10"/>
          </p:nvPr>
        </p:nvSpPr>
        <p:spPr/>
        <p:txBody>
          <a:bodyPr/>
          <a:lstStyle/>
          <a:p>
            <a:r>
              <a:rPr lang="en-US" dirty="0"/>
              <a:t>Power BI Embedded</a:t>
            </a:r>
          </a:p>
          <a:p>
            <a:r>
              <a:rPr lang="en-US" dirty="0"/>
              <a:t>Power BI Embedded API</a:t>
            </a:r>
          </a:p>
          <a:p>
            <a:endParaRPr lang="en-US" dirty="0"/>
          </a:p>
        </p:txBody>
      </p:sp>
    </p:spTree>
    <p:extLst>
      <p:ext uri="{BB962C8B-B14F-4D97-AF65-F5344CB8AC3E}">
        <p14:creationId xmlns:p14="http://schemas.microsoft.com/office/powerpoint/2010/main" val="2243724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ltLang="zh-TW" dirty="0"/>
              <a:t>Power BI </a:t>
            </a:r>
            <a:r>
              <a:rPr lang="zh-TW" altLang="en-US" dirty="0"/>
              <a:t>概觀</a:t>
            </a:r>
            <a:endParaRPr lang="en-US" dirty="0"/>
          </a:p>
        </p:txBody>
      </p:sp>
      <p:sp>
        <p:nvSpPr>
          <p:cNvPr id="3" name="Content Placeholder 2"/>
          <p:cNvSpPr>
            <a:spLocks noGrp="1"/>
          </p:cNvSpPr>
          <p:nvPr>
            <p:ph sz="quarter" idx="10"/>
          </p:nvPr>
        </p:nvSpPr>
        <p:spPr/>
        <p:txBody>
          <a:bodyPr/>
          <a:lstStyle/>
          <a:p>
            <a:endParaRPr lang="en-US" dirty="0"/>
          </a:p>
        </p:txBody>
      </p:sp>
      <p:sp>
        <p:nvSpPr>
          <p:cNvPr id="5" name="Flowchart: Process 4"/>
          <p:cNvSpPr/>
          <p:nvPr/>
        </p:nvSpPr>
        <p:spPr bwMode="auto">
          <a:xfrm>
            <a:off x="457677" y="1332409"/>
            <a:ext cx="3457807" cy="3862966"/>
          </a:xfrm>
          <a:prstGeom prst="flowChartProcess">
            <a:avLst/>
          </a:pr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rgbClr val="000000"/>
              </a:solidFill>
              <a:ea typeface="Segoe UI" pitchFamily="34" charset="0"/>
              <a:cs typeface="Segoe UI" pitchFamily="34" charset="0"/>
            </a:endParaRPr>
          </a:p>
        </p:txBody>
      </p:sp>
      <p:sp>
        <p:nvSpPr>
          <p:cNvPr id="6" name="Rectangle 5"/>
          <p:cNvSpPr/>
          <p:nvPr/>
        </p:nvSpPr>
        <p:spPr bwMode="auto">
          <a:xfrm>
            <a:off x="457677" y="1012715"/>
            <a:ext cx="11411700" cy="4315180"/>
          </a:xfrm>
          <a:prstGeom prst="rect">
            <a:avLst/>
          </a:prstGeom>
          <a:noFill/>
          <a:ln w="31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p:nvPicPr>
        <p:blipFill>
          <a:blip r:embed="rId3"/>
          <a:stretch>
            <a:fillRect/>
          </a:stretch>
        </p:blipFill>
        <p:spPr>
          <a:xfrm>
            <a:off x="8104166" y="5755213"/>
            <a:ext cx="2075044" cy="727912"/>
          </a:xfrm>
          <a:prstGeom prst="rect">
            <a:avLst/>
          </a:prstGeom>
        </p:spPr>
      </p:pic>
      <p:pic>
        <p:nvPicPr>
          <p:cNvPr id="8" name="Picture 7"/>
          <p:cNvPicPr>
            <a:picLocks noChangeAspect="1"/>
          </p:cNvPicPr>
          <p:nvPr/>
        </p:nvPicPr>
        <p:blipFill>
          <a:blip r:embed="rId4"/>
          <a:stretch>
            <a:fillRect/>
          </a:stretch>
        </p:blipFill>
        <p:spPr>
          <a:xfrm>
            <a:off x="9465140" y="5657193"/>
            <a:ext cx="1838932" cy="1018710"/>
          </a:xfrm>
          <a:prstGeom prst="rect">
            <a:avLst/>
          </a:prstGeom>
        </p:spPr>
      </p:pic>
      <p:sp>
        <p:nvSpPr>
          <p:cNvPr id="9" name="Rectangle 8"/>
          <p:cNvSpPr/>
          <p:nvPr/>
        </p:nvSpPr>
        <p:spPr bwMode="auto">
          <a:xfrm>
            <a:off x="6773833" y="5676505"/>
            <a:ext cx="5101031" cy="945787"/>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387501" defTabSz="932293" fontAlgn="base">
              <a:spcBef>
                <a:spcPct val="0"/>
              </a:spcBef>
              <a:spcAft>
                <a:spcPct val="0"/>
              </a:spcAft>
            </a:pPr>
            <a:endParaRPr lang="en-US" sz="2600" dirty="0">
              <a:solidFill>
                <a:srgbClr val="FFFFFF"/>
              </a:solidFill>
              <a:latin typeface="Segoe UI Light"/>
              <a:ea typeface="Segoe UI" pitchFamily="34" charset="0"/>
              <a:cs typeface="Segoe UI" pitchFamily="34" charset="0"/>
            </a:endParaRPr>
          </a:p>
        </p:txBody>
      </p:sp>
      <p:sp>
        <p:nvSpPr>
          <p:cNvPr id="10" name="Rectangle 9"/>
          <p:cNvSpPr/>
          <p:nvPr/>
        </p:nvSpPr>
        <p:spPr>
          <a:xfrm>
            <a:off x="7494927" y="5256611"/>
            <a:ext cx="2681209" cy="369332"/>
          </a:xfrm>
          <a:prstGeom prst="rect">
            <a:avLst/>
          </a:prstGeom>
        </p:spPr>
        <p:txBody>
          <a:bodyPr wrap="square">
            <a:spAutoFit/>
          </a:bodyPr>
          <a:lstStyle/>
          <a:p>
            <a:pPr algn="ctr" defTabSz="914367">
              <a:spcAft>
                <a:spcPts val="588"/>
              </a:spcAft>
            </a:pPr>
            <a:r>
              <a:rPr lang="en-US" dirty="0">
                <a:solidFill>
                  <a:srgbClr val="000000"/>
                </a:solidFill>
              </a:rPr>
              <a:t>Power BI REST API</a:t>
            </a:r>
          </a:p>
        </p:txBody>
      </p:sp>
      <p:sp>
        <p:nvSpPr>
          <p:cNvPr id="11" name="Rectangle 10"/>
          <p:cNvSpPr/>
          <p:nvPr/>
        </p:nvSpPr>
        <p:spPr>
          <a:xfrm>
            <a:off x="1010144" y="5256611"/>
            <a:ext cx="2291365" cy="369332"/>
          </a:xfrm>
          <a:prstGeom prst="rect">
            <a:avLst/>
          </a:prstGeom>
        </p:spPr>
        <p:txBody>
          <a:bodyPr wrap="square">
            <a:spAutoFit/>
          </a:bodyPr>
          <a:lstStyle/>
          <a:p>
            <a:pPr defTabSz="914367">
              <a:spcAft>
                <a:spcPts val="588"/>
              </a:spcAft>
            </a:pPr>
            <a:r>
              <a:rPr lang="en-US" dirty="0">
                <a:solidFill>
                  <a:srgbClr val="000000"/>
                </a:solidFill>
              </a:rPr>
              <a:t>Power BI Desktop</a:t>
            </a:r>
          </a:p>
        </p:txBody>
      </p:sp>
      <p:sp>
        <p:nvSpPr>
          <p:cNvPr id="12" name="Rectangle 19"/>
          <p:cNvSpPr/>
          <p:nvPr/>
        </p:nvSpPr>
        <p:spPr bwMode="auto">
          <a:xfrm>
            <a:off x="457678" y="4608396"/>
            <a:ext cx="6177980" cy="2011116"/>
          </a:xfrm>
          <a:custGeom>
            <a:avLst/>
            <a:gdLst>
              <a:gd name="connsiteX0" fmla="*/ 0 w 6755948"/>
              <a:gd name="connsiteY0" fmla="*/ 0 h 814436"/>
              <a:gd name="connsiteX1" fmla="*/ 6755948 w 6755948"/>
              <a:gd name="connsiteY1" fmla="*/ 0 h 814436"/>
              <a:gd name="connsiteX2" fmla="*/ 6755948 w 6755948"/>
              <a:gd name="connsiteY2" fmla="*/ 814436 h 814436"/>
              <a:gd name="connsiteX3" fmla="*/ 0 w 6755948"/>
              <a:gd name="connsiteY3" fmla="*/ 814436 h 814436"/>
              <a:gd name="connsiteX4" fmla="*/ 0 w 6755948"/>
              <a:gd name="connsiteY4" fmla="*/ 0 h 814436"/>
              <a:gd name="connsiteX0" fmla="*/ 0 w 6755948"/>
              <a:gd name="connsiteY0" fmla="*/ 0 h 814436"/>
              <a:gd name="connsiteX1" fmla="*/ 245420 w 6755948"/>
              <a:gd name="connsiteY1" fmla="*/ 620 h 814436"/>
              <a:gd name="connsiteX2" fmla="*/ 6755948 w 6755948"/>
              <a:gd name="connsiteY2" fmla="*/ 0 h 814436"/>
              <a:gd name="connsiteX3" fmla="*/ 6755948 w 6755948"/>
              <a:gd name="connsiteY3" fmla="*/ 814436 h 814436"/>
              <a:gd name="connsiteX4" fmla="*/ 0 w 6755948"/>
              <a:gd name="connsiteY4" fmla="*/ 814436 h 814436"/>
              <a:gd name="connsiteX5" fmla="*/ 0 w 6755948"/>
              <a:gd name="connsiteY5" fmla="*/ 0 h 814436"/>
              <a:gd name="connsiteX0" fmla="*/ 0 w 6755948"/>
              <a:gd name="connsiteY0" fmla="*/ 0 h 814436"/>
              <a:gd name="connsiteX1" fmla="*/ 245420 w 6755948"/>
              <a:gd name="connsiteY1" fmla="*/ 620 h 814436"/>
              <a:gd name="connsiteX2" fmla="*/ 528884 w 6755948"/>
              <a:gd name="connsiteY2" fmla="*/ 620 h 814436"/>
              <a:gd name="connsiteX3" fmla="*/ 6755948 w 6755948"/>
              <a:gd name="connsiteY3" fmla="*/ 0 h 814436"/>
              <a:gd name="connsiteX4" fmla="*/ 6755948 w 6755948"/>
              <a:gd name="connsiteY4" fmla="*/ 814436 h 814436"/>
              <a:gd name="connsiteX5" fmla="*/ 0 w 6755948"/>
              <a:gd name="connsiteY5" fmla="*/ 814436 h 814436"/>
              <a:gd name="connsiteX6" fmla="*/ 0 w 6755948"/>
              <a:gd name="connsiteY6" fmla="*/ 0 h 814436"/>
              <a:gd name="connsiteX0" fmla="*/ 0 w 6755948"/>
              <a:gd name="connsiteY0" fmla="*/ 0 h 814436"/>
              <a:gd name="connsiteX1" fmla="*/ 245420 w 6755948"/>
              <a:gd name="connsiteY1" fmla="*/ 620 h 814436"/>
              <a:gd name="connsiteX2" fmla="*/ 373436 w 6755948"/>
              <a:gd name="connsiteY2" fmla="*/ 620 h 814436"/>
              <a:gd name="connsiteX3" fmla="*/ 528884 w 6755948"/>
              <a:gd name="connsiteY3" fmla="*/ 620 h 814436"/>
              <a:gd name="connsiteX4" fmla="*/ 6755948 w 6755948"/>
              <a:gd name="connsiteY4" fmla="*/ 0 h 814436"/>
              <a:gd name="connsiteX5" fmla="*/ 6755948 w 6755948"/>
              <a:gd name="connsiteY5" fmla="*/ 814436 h 814436"/>
              <a:gd name="connsiteX6" fmla="*/ 0 w 6755948"/>
              <a:gd name="connsiteY6" fmla="*/ 814436 h 814436"/>
              <a:gd name="connsiteX7" fmla="*/ 0 w 6755948"/>
              <a:gd name="connsiteY7" fmla="*/ 0 h 814436"/>
              <a:gd name="connsiteX0" fmla="*/ 0 w 6755948"/>
              <a:gd name="connsiteY0" fmla="*/ 374284 h 1188720"/>
              <a:gd name="connsiteX1" fmla="*/ 245420 w 6755948"/>
              <a:gd name="connsiteY1" fmla="*/ 374904 h 1188720"/>
              <a:gd name="connsiteX2" fmla="*/ 382580 w 6755948"/>
              <a:gd name="connsiteY2" fmla="*/ 0 h 1188720"/>
              <a:gd name="connsiteX3" fmla="*/ 528884 w 6755948"/>
              <a:gd name="connsiteY3" fmla="*/ 374904 h 1188720"/>
              <a:gd name="connsiteX4" fmla="*/ 6755948 w 6755948"/>
              <a:gd name="connsiteY4" fmla="*/ 374284 h 1188720"/>
              <a:gd name="connsiteX5" fmla="*/ 6755948 w 6755948"/>
              <a:gd name="connsiteY5" fmla="*/ 1188720 h 1188720"/>
              <a:gd name="connsiteX6" fmla="*/ 0 w 6755948"/>
              <a:gd name="connsiteY6" fmla="*/ 1188720 h 1188720"/>
              <a:gd name="connsiteX7" fmla="*/ 0 w 6755948"/>
              <a:gd name="connsiteY7" fmla="*/ 374284 h 1188720"/>
              <a:gd name="connsiteX0" fmla="*/ 0 w 6755948"/>
              <a:gd name="connsiteY0" fmla="*/ 273117 h 1087553"/>
              <a:gd name="connsiteX1" fmla="*/ 245420 w 6755948"/>
              <a:gd name="connsiteY1" fmla="*/ 273737 h 1087553"/>
              <a:gd name="connsiteX2" fmla="*/ 388635 w 6755948"/>
              <a:gd name="connsiteY2" fmla="*/ 0 h 1087553"/>
              <a:gd name="connsiteX3" fmla="*/ 528884 w 6755948"/>
              <a:gd name="connsiteY3" fmla="*/ 273737 h 1087553"/>
              <a:gd name="connsiteX4" fmla="*/ 6755948 w 6755948"/>
              <a:gd name="connsiteY4" fmla="*/ 273117 h 1087553"/>
              <a:gd name="connsiteX5" fmla="*/ 6755948 w 6755948"/>
              <a:gd name="connsiteY5" fmla="*/ 1087553 h 1087553"/>
              <a:gd name="connsiteX6" fmla="*/ 0 w 6755948"/>
              <a:gd name="connsiteY6" fmla="*/ 1087553 h 1087553"/>
              <a:gd name="connsiteX7" fmla="*/ 0 w 6755948"/>
              <a:gd name="connsiteY7" fmla="*/ 273117 h 1087553"/>
              <a:gd name="connsiteX0" fmla="*/ 0 w 6755948"/>
              <a:gd name="connsiteY0" fmla="*/ 898462 h 1712898"/>
              <a:gd name="connsiteX1" fmla="*/ 245420 w 6755948"/>
              <a:gd name="connsiteY1" fmla="*/ 899082 h 1712898"/>
              <a:gd name="connsiteX2" fmla="*/ 376614 w 6755948"/>
              <a:gd name="connsiteY2" fmla="*/ 0 h 1712898"/>
              <a:gd name="connsiteX3" fmla="*/ 528884 w 6755948"/>
              <a:gd name="connsiteY3" fmla="*/ 899082 h 1712898"/>
              <a:gd name="connsiteX4" fmla="*/ 6755948 w 6755948"/>
              <a:gd name="connsiteY4" fmla="*/ 898462 h 1712898"/>
              <a:gd name="connsiteX5" fmla="*/ 6755948 w 6755948"/>
              <a:gd name="connsiteY5" fmla="*/ 1712898 h 1712898"/>
              <a:gd name="connsiteX6" fmla="*/ 0 w 6755948"/>
              <a:gd name="connsiteY6" fmla="*/ 1712898 h 1712898"/>
              <a:gd name="connsiteX7" fmla="*/ 0 w 6755948"/>
              <a:gd name="connsiteY7" fmla="*/ 898462 h 1712898"/>
              <a:gd name="connsiteX0" fmla="*/ 0 w 6755948"/>
              <a:gd name="connsiteY0" fmla="*/ 708625 h 1523061"/>
              <a:gd name="connsiteX1" fmla="*/ 245420 w 6755948"/>
              <a:gd name="connsiteY1" fmla="*/ 709245 h 1523061"/>
              <a:gd name="connsiteX2" fmla="*/ 388635 w 6755948"/>
              <a:gd name="connsiteY2" fmla="*/ 0 h 1523061"/>
              <a:gd name="connsiteX3" fmla="*/ 528884 w 6755948"/>
              <a:gd name="connsiteY3" fmla="*/ 709245 h 1523061"/>
              <a:gd name="connsiteX4" fmla="*/ 6755948 w 6755948"/>
              <a:gd name="connsiteY4" fmla="*/ 708625 h 1523061"/>
              <a:gd name="connsiteX5" fmla="*/ 6755948 w 6755948"/>
              <a:gd name="connsiteY5" fmla="*/ 1523061 h 1523061"/>
              <a:gd name="connsiteX6" fmla="*/ 0 w 6755948"/>
              <a:gd name="connsiteY6" fmla="*/ 1523061 h 1523061"/>
              <a:gd name="connsiteX7" fmla="*/ 0 w 6755948"/>
              <a:gd name="connsiteY7" fmla="*/ 708625 h 1523061"/>
              <a:gd name="connsiteX0" fmla="*/ 0 w 6755948"/>
              <a:gd name="connsiteY0" fmla="*/ 546905 h 1361341"/>
              <a:gd name="connsiteX1" fmla="*/ 245420 w 6755948"/>
              <a:gd name="connsiteY1" fmla="*/ 547525 h 1361341"/>
              <a:gd name="connsiteX2" fmla="*/ 388635 w 6755948"/>
              <a:gd name="connsiteY2" fmla="*/ 0 h 1361341"/>
              <a:gd name="connsiteX3" fmla="*/ 528884 w 6755948"/>
              <a:gd name="connsiteY3" fmla="*/ 547525 h 1361341"/>
              <a:gd name="connsiteX4" fmla="*/ 6755948 w 6755948"/>
              <a:gd name="connsiteY4" fmla="*/ 546905 h 1361341"/>
              <a:gd name="connsiteX5" fmla="*/ 6755948 w 6755948"/>
              <a:gd name="connsiteY5" fmla="*/ 1361341 h 1361341"/>
              <a:gd name="connsiteX6" fmla="*/ 0 w 6755948"/>
              <a:gd name="connsiteY6" fmla="*/ 1361341 h 1361341"/>
              <a:gd name="connsiteX7" fmla="*/ 0 w 6755948"/>
              <a:gd name="connsiteY7" fmla="*/ 546905 h 1361341"/>
              <a:gd name="connsiteX0" fmla="*/ 0 w 6755948"/>
              <a:gd name="connsiteY0" fmla="*/ 699731 h 1514167"/>
              <a:gd name="connsiteX1" fmla="*/ 245420 w 6755948"/>
              <a:gd name="connsiteY1" fmla="*/ 700351 h 1514167"/>
              <a:gd name="connsiteX2" fmla="*/ 398757 w 6755948"/>
              <a:gd name="connsiteY2" fmla="*/ 0 h 1514167"/>
              <a:gd name="connsiteX3" fmla="*/ 528884 w 6755948"/>
              <a:gd name="connsiteY3" fmla="*/ 700351 h 1514167"/>
              <a:gd name="connsiteX4" fmla="*/ 6755948 w 6755948"/>
              <a:gd name="connsiteY4" fmla="*/ 699731 h 1514167"/>
              <a:gd name="connsiteX5" fmla="*/ 6755948 w 6755948"/>
              <a:gd name="connsiteY5" fmla="*/ 1514167 h 1514167"/>
              <a:gd name="connsiteX6" fmla="*/ 0 w 6755948"/>
              <a:gd name="connsiteY6" fmla="*/ 1514167 h 1514167"/>
              <a:gd name="connsiteX7" fmla="*/ 0 w 6755948"/>
              <a:gd name="connsiteY7" fmla="*/ 699731 h 1514167"/>
              <a:gd name="connsiteX0" fmla="*/ 0 w 6755948"/>
              <a:gd name="connsiteY0" fmla="*/ 934203 h 1748639"/>
              <a:gd name="connsiteX1" fmla="*/ 245420 w 6755948"/>
              <a:gd name="connsiteY1" fmla="*/ 934823 h 1748639"/>
              <a:gd name="connsiteX2" fmla="*/ 398757 w 6755948"/>
              <a:gd name="connsiteY2" fmla="*/ 0 h 1748639"/>
              <a:gd name="connsiteX3" fmla="*/ 528884 w 6755948"/>
              <a:gd name="connsiteY3" fmla="*/ 934823 h 1748639"/>
              <a:gd name="connsiteX4" fmla="*/ 6755948 w 6755948"/>
              <a:gd name="connsiteY4" fmla="*/ 934203 h 1748639"/>
              <a:gd name="connsiteX5" fmla="*/ 6755948 w 6755948"/>
              <a:gd name="connsiteY5" fmla="*/ 1748639 h 1748639"/>
              <a:gd name="connsiteX6" fmla="*/ 0 w 6755948"/>
              <a:gd name="connsiteY6" fmla="*/ 1748639 h 1748639"/>
              <a:gd name="connsiteX7" fmla="*/ 0 w 6755948"/>
              <a:gd name="connsiteY7" fmla="*/ 934203 h 1748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5948" h="1748639">
                <a:moveTo>
                  <a:pt x="0" y="934203"/>
                </a:moveTo>
                <a:lnTo>
                  <a:pt x="245420" y="934823"/>
                </a:lnTo>
                <a:lnTo>
                  <a:pt x="398757" y="0"/>
                </a:lnTo>
                <a:lnTo>
                  <a:pt x="528884" y="934823"/>
                </a:lnTo>
                <a:lnTo>
                  <a:pt x="6755948" y="934203"/>
                </a:lnTo>
                <a:lnTo>
                  <a:pt x="6755948" y="1748639"/>
                </a:lnTo>
                <a:lnTo>
                  <a:pt x="0" y="1748639"/>
                </a:lnTo>
                <a:lnTo>
                  <a:pt x="0" y="934203"/>
                </a:lnTo>
                <a:close/>
              </a:path>
            </a:pathLst>
          </a:cu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a:solidFill>
                <a:srgbClr val="217346"/>
              </a:solidFill>
              <a:ea typeface="Segoe UI" pitchFamily="34" charset="0"/>
              <a:cs typeface="Segoe UI" pitchFamily="34" charset="0"/>
            </a:endParaRPr>
          </a:p>
        </p:txBody>
      </p:sp>
      <p:sp>
        <p:nvSpPr>
          <p:cNvPr id="13" name="Oval 950"/>
          <p:cNvSpPr>
            <a:spLocks noChangeAspect="1"/>
          </p:cNvSpPr>
          <p:nvPr/>
        </p:nvSpPr>
        <p:spPr>
          <a:xfrm>
            <a:off x="1737513" y="5734240"/>
            <a:ext cx="822960" cy="822954"/>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zh-TW" altLang="en-US" sz="1200" dirty="0">
                <a:solidFill>
                  <a:srgbClr val="000000"/>
                </a:solidFill>
                <a:ea typeface="Segoe UI" pitchFamily="34" charset="0"/>
                <a:cs typeface="Segoe UI" pitchFamily="34" charset="0"/>
              </a:rPr>
              <a:t>準備</a:t>
            </a:r>
            <a:endParaRPr lang="en-US" sz="1200" dirty="0">
              <a:solidFill>
                <a:srgbClr val="000000"/>
              </a:solidFill>
              <a:ea typeface="Segoe UI" pitchFamily="34" charset="0"/>
              <a:cs typeface="Segoe UI" pitchFamily="34" charset="0"/>
            </a:endParaRPr>
          </a:p>
        </p:txBody>
      </p:sp>
      <p:sp>
        <p:nvSpPr>
          <p:cNvPr id="14" name="Oval 957"/>
          <p:cNvSpPr>
            <a:spLocks noChangeAspect="1"/>
          </p:cNvSpPr>
          <p:nvPr/>
        </p:nvSpPr>
        <p:spPr>
          <a:xfrm>
            <a:off x="2915282" y="5734238"/>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zh-TW" altLang="en-US" sz="1200" dirty="0">
                <a:solidFill>
                  <a:srgbClr val="000000"/>
                </a:solidFill>
                <a:ea typeface="Segoe UI" pitchFamily="34" charset="0"/>
                <a:cs typeface="Segoe UI" pitchFamily="34" charset="0"/>
              </a:rPr>
              <a:t>探索</a:t>
            </a:r>
            <a:endParaRPr lang="en-US" sz="1200" dirty="0">
              <a:solidFill>
                <a:srgbClr val="000000"/>
              </a:solidFill>
              <a:ea typeface="Segoe UI" pitchFamily="34" charset="0"/>
              <a:cs typeface="Segoe UI" pitchFamily="34" charset="0"/>
            </a:endParaRPr>
          </a:p>
        </p:txBody>
      </p:sp>
      <p:sp>
        <p:nvSpPr>
          <p:cNvPr id="15" name="Isosceles Triangle 48"/>
          <p:cNvSpPr/>
          <p:nvPr/>
        </p:nvSpPr>
        <p:spPr bwMode="auto">
          <a:xfrm rot="16200000" flipV="1">
            <a:off x="4984895" y="6066289"/>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defTabSz="932472" fontAlgn="base">
              <a:spcBef>
                <a:spcPct val="0"/>
              </a:spcBef>
              <a:spcAft>
                <a:spcPct val="0"/>
              </a:spcAft>
            </a:pPr>
            <a:endParaRPr lang="en-IN" sz="1400" dirty="0">
              <a:solidFill>
                <a:srgbClr val="31B42E"/>
              </a:solidFill>
              <a:ea typeface="Segoe UI" pitchFamily="34" charset="0"/>
              <a:cs typeface="Segoe UI" pitchFamily="34" charset="0"/>
            </a:endParaRPr>
          </a:p>
        </p:txBody>
      </p:sp>
      <p:sp>
        <p:nvSpPr>
          <p:cNvPr id="16" name="Oval 70"/>
          <p:cNvSpPr>
            <a:spLocks noChangeAspect="1"/>
          </p:cNvSpPr>
          <p:nvPr/>
        </p:nvSpPr>
        <p:spPr>
          <a:xfrm>
            <a:off x="5270819" y="5734238"/>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zh-TW" altLang="en-US" sz="1200" dirty="0">
                <a:solidFill>
                  <a:srgbClr val="000000"/>
                </a:solidFill>
                <a:ea typeface="Segoe UI" pitchFamily="34" charset="0"/>
                <a:cs typeface="Segoe UI" pitchFamily="34" charset="0"/>
              </a:rPr>
              <a:t>分享</a:t>
            </a:r>
            <a:endParaRPr lang="en-US" sz="1200" dirty="0">
              <a:solidFill>
                <a:srgbClr val="000000"/>
              </a:solidFill>
              <a:ea typeface="Segoe UI" pitchFamily="34" charset="0"/>
              <a:cs typeface="Segoe UI" pitchFamily="34" charset="0"/>
            </a:endParaRPr>
          </a:p>
        </p:txBody>
      </p:sp>
      <p:sp>
        <p:nvSpPr>
          <p:cNvPr id="17" name="Oval 47"/>
          <p:cNvSpPr>
            <a:spLocks noChangeAspect="1"/>
          </p:cNvSpPr>
          <p:nvPr/>
        </p:nvSpPr>
        <p:spPr>
          <a:xfrm>
            <a:off x="4093051" y="5734238"/>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zh-TW" altLang="en-US" sz="1200" dirty="0">
                <a:solidFill>
                  <a:srgbClr val="000000"/>
                </a:solidFill>
                <a:ea typeface="Segoe UI" pitchFamily="34" charset="0"/>
                <a:cs typeface="Segoe UI" pitchFamily="34" charset="0"/>
              </a:rPr>
              <a:t>報表</a:t>
            </a:r>
            <a:endParaRPr lang="en-US" sz="1200" dirty="0">
              <a:solidFill>
                <a:srgbClr val="000000"/>
              </a:solidFill>
              <a:ea typeface="Segoe UI" pitchFamily="34" charset="0"/>
              <a:cs typeface="Segoe UI" pitchFamily="34" charset="0"/>
            </a:endParaRPr>
          </a:p>
        </p:txBody>
      </p:sp>
      <p:sp>
        <p:nvSpPr>
          <p:cNvPr id="18" name="Isosceles Triangle 48"/>
          <p:cNvSpPr/>
          <p:nvPr/>
        </p:nvSpPr>
        <p:spPr bwMode="auto">
          <a:xfrm rot="16200000" flipV="1">
            <a:off x="3797138" y="6066280"/>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defTabSz="932472" fontAlgn="base">
              <a:spcBef>
                <a:spcPct val="0"/>
              </a:spcBef>
              <a:spcAft>
                <a:spcPct val="0"/>
              </a:spcAft>
            </a:pPr>
            <a:endParaRPr lang="en-IN" sz="1400" dirty="0">
              <a:solidFill>
                <a:srgbClr val="31B42E"/>
              </a:solidFill>
              <a:ea typeface="Segoe UI" pitchFamily="34" charset="0"/>
              <a:cs typeface="Segoe UI" pitchFamily="34" charset="0"/>
            </a:endParaRPr>
          </a:p>
        </p:txBody>
      </p:sp>
      <p:sp>
        <p:nvSpPr>
          <p:cNvPr id="19" name="Isosceles Triangle 48"/>
          <p:cNvSpPr/>
          <p:nvPr/>
        </p:nvSpPr>
        <p:spPr bwMode="auto">
          <a:xfrm rot="16200000" flipV="1">
            <a:off x="2612958" y="6066288"/>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defTabSz="932472" fontAlgn="base">
              <a:spcBef>
                <a:spcPct val="0"/>
              </a:spcBef>
              <a:spcAft>
                <a:spcPct val="0"/>
              </a:spcAft>
            </a:pPr>
            <a:endParaRPr lang="en-IN" sz="1400" dirty="0">
              <a:solidFill>
                <a:srgbClr val="31B42E"/>
              </a:solidFill>
              <a:ea typeface="Segoe UI" pitchFamily="34" charset="0"/>
              <a:cs typeface="Segoe UI" pitchFamily="34" charset="0"/>
            </a:endParaRPr>
          </a:p>
        </p:txBody>
      </p:sp>
      <p:sp>
        <p:nvSpPr>
          <p:cNvPr id="20" name="Freeform 19"/>
          <p:cNvSpPr>
            <a:spLocks noChangeAspect="1" noEditPoints="1"/>
          </p:cNvSpPr>
          <p:nvPr/>
        </p:nvSpPr>
        <p:spPr bwMode="black">
          <a:xfrm>
            <a:off x="1945528" y="6119169"/>
            <a:ext cx="365760" cy="29657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217346"/>
              </a:solidFill>
            </a:endParaRPr>
          </a:p>
        </p:txBody>
      </p:sp>
      <p:sp>
        <p:nvSpPr>
          <p:cNvPr id="21" name="Donut 3"/>
          <p:cNvSpPr>
            <a:spLocks noChangeAspect="1"/>
          </p:cNvSpPr>
          <p:nvPr/>
        </p:nvSpPr>
        <p:spPr bwMode="auto">
          <a:xfrm>
            <a:off x="3162857" y="6141858"/>
            <a:ext cx="274320" cy="251192"/>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FFFFFF"/>
              </a:solidFill>
            </a:endParaRPr>
          </a:p>
        </p:txBody>
      </p:sp>
      <p:sp>
        <p:nvSpPr>
          <p:cNvPr id="22" name="Freeform 21"/>
          <p:cNvSpPr>
            <a:spLocks noChangeAspect="1"/>
          </p:cNvSpPr>
          <p:nvPr/>
        </p:nvSpPr>
        <p:spPr bwMode="black">
          <a:xfrm>
            <a:off x="4394995" y="6133152"/>
            <a:ext cx="274320" cy="268605"/>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23" name="Freeform 22"/>
          <p:cNvSpPr>
            <a:spLocks noChangeAspect="1"/>
          </p:cNvSpPr>
          <p:nvPr/>
        </p:nvSpPr>
        <p:spPr bwMode="black">
          <a:xfrm>
            <a:off x="5525378" y="6125368"/>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000000"/>
              </a:solidFill>
            </a:endParaRPr>
          </a:p>
        </p:txBody>
      </p:sp>
      <p:grpSp>
        <p:nvGrpSpPr>
          <p:cNvPr id="24" name="Group 23"/>
          <p:cNvGrpSpPr/>
          <p:nvPr/>
        </p:nvGrpSpPr>
        <p:grpSpPr>
          <a:xfrm>
            <a:off x="7183757" y="2821500"/>
            <a:ext cx="491800" cy="3552182"/>
            <a:chOff x="10461581" y="2911462"/>
            <a:chExt cx="491800" cy="3552182"/>
          </a:xfrm>
        </p:grpSpPr>
        <p:sp>
          <p:nvSpPr>
            <p:cNvPr id="25" name="Oval 24"/>
            <p:cNvSpPr/>
            <p:nvPr/>
          </p:nvSpPr>
          <p:spPr bwMode="auto">
            <a:xfrm rot="16200000" flipH="1" flipV="1">
              <a:off x="10503133" y="5505840"/>
              <a:ext cx="412039" cy="41203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6" name="Group 25"/>
            <p:cNvGrpSpPr/>
            <p:nvPr/>
          </p:nvGrpSpPr>
          <p:grpSpPr>
            <a:xfrm rot="16200000">
              <a:off x="9057680" y="4406255"/>
              <a:ext cx="3313623" cy="324038"/>
              <a:chOff x="8231749" y="5960661"/>
              <a:chExt cx="3313623" cy="324038"/>
            </a:xfrm>
          </p:grpSpPr>
          <p:sp>
            <p:nvSpPr>
              <p:cNvPr id="43" name="TextBox 42"/>
              <p:cNvSpPr txBox="1"/>
              <p:nvPr/>
            </p:nvSpPr>
            <p:spPr>
              <a:xfrm>
                <a:off x="8283353" y="5960661"/>
                <a:ext cx="3262019" cy="166199"/>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algn="l"/>
                <a:r>
                  <a:rPr lang="en-US" dirty="0">
                    <a:gradFill flip="none" rotWithShape="1">
                      <a:gsLst>
                        <a:gs pos="0">
                          <a:srgbClr val="D2D2D2"/>
                        </a:gs>
                        <a:gs pos="74000">
                          <a:srgbClr val="000000">
                            <a:lumMod val="50000"/>
                            <a:lumOff val="50000"/>
                          </a:srgbClr>
                        </a:gs>
                        <a:gs pos="100000">
                          <a:srgbClr val="505050"/>
                        </a:gs>
                      </a:gsLst>
                      <a:lin ang="10800000" scaled="1"/>
                      <a:tileRect/>
                    </a:gradFill>
                  </a:rPr>
                  <a:t>0110001</a:t>
                </a:r>
              </a:p>
            </p:txBody>
          </p:sp>
          <p:sp>
            <p:nvSpPr>
              <p:cNvPr id="44" name="TextBox 43"/>
              <p:cNvSpPr txBox="1"/>
              <p:nvPr/>
            </p:nvSpPr>
            <p:spPr>
              <a:xfrm>
                <a:off x="8231749" y="6118500"/>
                <a:ext cx="3262019" cy="166199"/>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algn="l"/>
                <a:r>
                  <a:rPr lang="en-US" dirty="0">
                    <a:gradFill flip="none" rotWithShape="1">
                      <a:gsLst>
                        <a:gs pos="0">
                          <a:srgbClr val="D2D2D2"/>
                        </a:gs>
                        <a:gs pos="74000">
                          <a:srgbClr val="000000">
                            <a:lumMod val="50000"/>
                            <a:lumOff val="50000"/>
                          </a:srgbClr>
                        </a:gs>
                        <a:gs pos="100000">
                          <a:srgbClr val="505050"/>
                        </a:gs>
                      </a:gsLst>
                      <a:lin ang="10800000" scaled="1"/>
                      <a:tileRect/>
                    </a:gradFill>
                  </a:rPr>
                  <a:t>00010110</a:t>
                </a:r>
              </a:p>
            </p:txBody>
          </p:sp>
        </p:grpSp>
        <p:grpSp>
          <p:nvGrpSpPr>
            <p:cNvPr id="27" name="Group 26"/>
            <p:cNvGrpSpPr/>
            <p:nvPr/>
          </p:nvGrpSpPr>
          <p:grpSpPr>
            <a:xfrm>
              <a:off x="10461581" y="5900047"/>
              <a:ext cx="491800" cy="563597"/>
              <a:chOff x="4076702" y="-2333624"/>
              <a:chExt cx="1446213" cy="1657349"/>
            </a:xfrm>
            <a:solidFill>
              <a:schemeClr val="tx2"/>
            </a:solidFill>
          </p:grpSpPr>
          <p:grpSp>
            <p:nvGrpSpPr>
              <p:cNvPr id="28" name="Group 4"/>
              <p:cNvGrpSpPr>
                <a:grpSpLocks noChangeAspect="1"/>
              </p:cNvGrpSpPr>
              <p:nvPr/>
            </p:nvGrpSpPr>
            <p:grpSpPr bwMode="auto">
              <a:xfrm>
                <a:off x="4076702" y="-2333624"/>
                <a:ext cx="1446213" cy="1657349"/>
                <a:chOff x="2568" y="-1470"/>
                <a:chExt cx="911" cy="1044"/>
              </a:xfrm>
              <a:grpFill/>
            </p:grpSpPr>
            <p:sp>
              <p:nvSpPr>
                <p:cNvPr id="34" name="Freeform 5"/>
                <p:cNvSpPr>
                  <a:spLocks/>
                </p:cNvSpPr>
                <p:nvPr/>
              </p:nvSpPr>
              <p:spPr bwMode="auto">
                <a:xfrm>
                  <a:off x="2568" y="-1330"/>
                  <a:ext cx="907" cy="904"/>
                </a:xfrm>
                <a:custGeom>
                  <a:avLst/>
                  <a:gdLst>
                    <a:gd name="T0" fmla="*/ 354 w 381"/>
                    <a:gd name="T1" fmla="*/ 102 h 380"/>
                    <a:gd name="T2" fmla="*/ 182 w 381"/>
                    <a:gd name="T3" fmla="*/ 3 h 380"/>
                    <a:gd name="T4" fmla="*/ 4 w 381"/>
                    <a:gd name="T5" fmla="*/ 196 h 380"/>
                    <a:gd name="T6" fmla="*/ 27 w 381"/>
                    <a:gd name="T7" fmla="*/ 278 h 380"/>
                    <a:gd name="T8" fmla="*/ 199 w 381"/>
                    <a:gd name="T9" fmla="*/ 377 h 380"/>
                    <a:gd name="T10" fmla="*/ 377 w 381"/>
                    <a:gd name="T11" fmla="*/ 184 h 380"/>
                    <a:gd name="T12" fmla="*/ 354 w 381"/>
                    <a:gd name="T13" fmla="*/ 102 h 380"/>
                  </a:gdLst>
                  <a:ahLst/>
                  <a:cxnLst>
                    <a:cxn ang="0">
                      <a:pos x="T0" y="T1"/>
                    </a:cxn>
                    <a:cxn ang="0">
                      <a:pos x="T2" y="T3"/>
                    </a:cxn>
                    <a:cxn ang="0">
                      <a:pos x="T4" y="T5"/>
                    </a:cxn>
                    <a:cxn ang="0">
                      <a:pos x="T6" y="T7"/>
                    </a:cxn>
                    <a:cxn ang="0">
                      <a:pos x="T8" y="T9"/>
                    </a:cxn>
                    <a:cxn ang="0">
                      <a:pos x="T10" y="T11"/>
                    </a:cxn>
                    <a:cxn ang="0">
                      <a:pos x="T12" y="T13"/>
                    </a:cxn>
                  </a:cxnLst>
                  <a:rect l="0" t="0" r="r" b="b"/>
                  <a:pathLst>
                    <a:path w="381" h="380">
                      <a:moveTo>
                        <a:pt x="354" y="102"/>
                      </a:moveTo>
                      <a:cubicBezTo>
                        <a:pt x="322" y="41"/>
                        <a:pt x="256" y="0"/>
                        <a:pt x="182" y="3"/>
                      </a:cubicBezTo>
                      <a:cubicBezTo>
                        <a:pt x="80" y="8"/>
                        <a:pt x="0" y="94"/>
                        <a:pt x="4" y="196"/>
                      </a:cubicBezTo>
                      <a:cubicBezTo>
                        <a:pt x="5" y="226"/>
                        <a:pt x="14" y="254"/>
                        <a:pt x="27" y="278"/>
                      </a:cubicBezTo>
                      <a:cubicBezTo>
                        <a:pt x="59" y="339"/>
                        <a:pt x="125" y="380"/>
                        <a:pt x="199" y="377"/>
                      </a:cubicBezTo>
                      <a:cubicBezTo>
                        <a:pt x="301" y="373"/>
                        <a:pt x="381" y="287"/>
                        <a:pt x="377" y="184"/>
                      </a:cubicBezTo>
                      <a:cubicBezTo>
                        <a:pt x="375" y="154"/>
                        <a:pt x="367" y="127"/>
                        <a:pt x="354" y="102"/>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 name="Oval 7"/>
                <p:cNvSpPr>
                  <a:spLocks noChangeArrowheads="1"/>
                </p:cNvSpPr>
                <p:nvPr/>
              </p:nvSpPr>
              <p:spPr bwMode="auto">
                <a:xfrm>
                  <a:off x="2960" y="-906"/>
                  <a:ext cx="115" cy="1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 name="Oval 8"/>
                <p:cNvSpPr>
                  <a:spLocks noChangeArrowheads="1"/>
                </p:cNvSpPr>
                <p:nvPr/>
              </p:nvSpPr>
              <p:spPr bwMode="auto">
                <a:xfrm>
                  <a:off x="2987" y="-887"/>
                  <a:ext cx="69" cy="7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 name="Freeform 9"/>
                <p:cNvSpPr>
                  <a:spLocks/>
                </p:cNvSpPr>
                <p:nvPr/>
              </p:nvSpPr>
              <p:spPr bwMode="auto">
                <a:xfrm>
                  <a:off x="2896" y="-1380"/>
                  <a:ext cx="243" cy="126"/>
                </a:xfrm>
                <a:custGeom>
                  <a:avLst/>
                  <a:gdLst>
                    <a:gd name="T0" fmla="*/ 102 w 102"/>
                    <a:gd name="T1" fmla="*/ 35 h 53"/>
                    <a:gd name="T2" fmla="*/ 83 w 102"/>
                    <a:gd name="T3" fmla="*/ 53 h 53"/>
                    <a:gd name="T4" fmla="*/ 19 w 102"/>
                    <a:gd name="T5" fmla="*/ 53 h 53"/>
                    <a:gd name="T6" fmla="*/ 0 w 102"/>
                    <a:gd name="T7" fmla="*/ 35 h 53"/>
                    <a:gd name="T8" fmla="*/ 0 w 102"/>
                    <a:gd name="T9" fmla="*/ 19 h 53"/>
                    <a:gd name="T10" fmla="*/ 19 w 102"/>
                    <a:gd name="T11" fmla="*/ 0 h 53"/>
                    <a:gd name="T12" fmla="*/ 83 w 102"/>
                    <a:gd name="T13" fmla="*/ 0 h 53"/>
                    <a:gd name="T14" fmla="*/ 102 w 102"/>
                    <a:gd name="T15" fmla="*/ 19 h 53"/>
                    <a:gd name="T16" fmla="*/ 102 w 102"/>
                    <a:gd name="T17" fmla="*/ 3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53">
                      <a:moveTo>
                        <a:pt x="102" y="35"/>
                      </a:moveTo>
                      <a:cubicBezTo>
                        <a:pt x="102" y="45"/>
                        <a:pt x="93" y="53"/>
                        <a:pt x="83" y="53"/>
                      </a:cubicBezTo>
                      <a:cubicBezTo>
                        <a:pt x="19" y="53"/>
                        <a:pt x="19" y="53"/>
                        <a:pt x="19" y="53"/>
                      </a:cubicBezTo>
                      <a:cubicBezTo>
                        <a:pt x="8" y="53"/>
                        <a:pt x="0" y="45"/>
                        <a:pt x="0" y="35"/>
                      </a:cubicBezTo>
                      <a:cubicBezTo>
                        <a:pt x="0" y="19"/>
                        <a:pt x="0" y="19"/>
                        <a:pt x="0" y="19"/>
                      </a:cubicBezTo>
                      <a:cubicBezTo>
                        <a:pt x="0" y="8"/>
                        <a:pt x="8" y="0"/>
                        <a:pt x="19" y="0"/>
                      </a:cubicBezTo>
                      <a:cubicBezTo>
                        <a:pt x="83" y="0"/>
                        <a:pt x="83" y="0"/>
                        <a:pt x="83" y="0"/>
                      </a:cubicBezTo>
                      <a:cubicBezTo>
                        <a:pt x="93" y="0"/>
                        <a:pt x="102" y="8"/>
                        <a:pt x="102" y="19"/>
                      </a:cubicBezTo>
                      <a:lnTo>
                        <a:pt x="102" y="35"/>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8" name="Oval 10"/>
                <p:cNvSpPr>
                  <a:spLocks noChangeArrowheads="1"/>
                </p:cNvSpPr>
                <p:nvPr/>
              </p:nvSpPr>
              <p:spPr bwMode="auto">
                <a:xfrm>
                  <a:off x="2991" y="-873"/>
                  <a:ext cx="53" cy="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9" name="Freeform 11"/>
                <p:cNvSpPr>
                  <a:spLocks/>
                </p:cNvSpPr>
                <p:nvPr/>
              </p:nvSpPr>
              <p:spPr bwMode="auto">
                <a:xfrm>
                  <a:off x="3353" y="-1263"/>
                  <a:ext cx="126" cy="143"/>
                </a:xfrm>
                <a:custGeom>
                  <a:avLst/>
                  <a:gdLst>
                    <a:gd name="T0" fmla="*/ 47 w 53"/>
                    <a:gd name="T1" fmla="*/ 56 h 60"/>
                    <a:gd name="T2" fmla="*/ 29 w 53"/>
                    <a:gd name="T3" fmla="*/ 54 h 60"/>
                    <a:gd name="T4" fmla="*/ 4 w 53"/>
                    <a:gd name="T5" fmla="*/ 22 h 60"/>
                    <a:gd name="T6" fmla="*/ 6 w 53"/>
                    <a:gd name="T7" fmla="*/ 4 h 60"/>
                    <a:gd name="T8" fmla="*/ 6 w 53"/>
                    <a:gd name="T9" fmla="*/ 4 h 60"/>
                    <a:gd name="T10" fmla="*/ 24 w 53"/>
                    <a:gd name="T11" fmla="*/ 6 h 60"/>
                    <a:gd name="T12" fmla="*/ 49 w 53"/>
                    <a:gd name="T13" fmla="*/ 38 h 60"/>
                    <a:gd name="T14" fmla="*/ 47 w 53"/>
                    <a:gd name="T15" fmla="*/ 56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60">
                      <a:moveTo>
                        <a:pt x="47" y="56"/>
                      </a:moveTo>
                      <a:cubicBezTo>
                        <a:pt x="41" y="60"/>
                        <a:pt x="33" y="59"/>
                        <a:pt x="29" y="54"/>
                      </a:cubicBezTo>
                      <a:cubicBezTo>
                        <a:pt x="4" y="22"/>
                        <a:pt x="4" y="22"/>
                        <a:pt x="4" y="22"/>
                      </a:cubicBezTo>
                      <a:cubicBezTo>
                        <a:pt x="0" y="16"/>
                        <a:pt x="1" y="8"/>
                        <a:pt x="6" y="4"/>
                      </a:cubicBezTo>
                      <a:cubicBezTo>
                        <a:pt x="6" y="4"/>
                        <a:pt x="6" y="4"/>
                        <a:pt x="6" y="4"/>
                      </a:cubicBezTo>
                      <a:cubicBezTo>
                        <a:pt x="12" y="0"/>
                        <a:pt x="20" y="1"/>
                        <a:pt x="24" y="6"/>
                      </a:cubicBezTo>
                      <a:cubicBezTo>
                        <a:pt x="49" y="38"/>
                        <a:pt x="49" y="38"/>
                        <a:pt x="49" y="38"/>
                      </a:cubicBezTo>
                      <a:cubicBezTo>
                        <a:pt x="53" y="44"/>
                        <a:pt x="52" y="51"/>
                        <a:pt x="47" y="56"/>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0" name="Freeform 12"/>
                <p:cNvSpPr>
                  <a:spLocks/>
                </p:cNvSpPr>
                <p:nvPr/>
              </p:nvSpPr>
              <p:spPr bwMode="auto">
                <a:xfrm>
                  <a:off x="3298" y="-1206"/>
                  <a:ext cx="129" cy="112"/>
                </a:xfrm>
                <a:custGeom>
                  <a:avLst/>
                  <a:gdLst>
                    <a:gd name="T0" fmla="*/ 15 w 54"/>
                    <a:gd name="T1" fmla="*/ 44 h 47"/>
                    <a:gd name="T2" fmla="*/ 3 w 54"/>
                    <a:gd name="T3" fmla="*/ 43 h 47"/>
                    <a:gd name="T4" fmla="*/ 3 w 54"/>
                    <a:gd name="T5" fmla="*/ 43 h 47"/>
                    <a:gd name="T6" fmla="*/ 4 w 54"/>
                    <a:gd name="T7" fmla="*/ 31 h 47"/>
                    <a:gd name="T8" fmla="*/ 39 w 54"/>
                    <a:gd name="T9" fmla="*/ 3 h 47"/>
                    <a:gd name="T10" fmla="*/ 51 w 54"/>
                    <a:gd name="T11" fmla="*/ 5 h 47"/>
                    <a:gd name="T12" fmla="*/ 51 w 54"/>
                    <a:gd name="T13" fmla="*/ 5 h 47"/>
                    <a:gd name="T14" fmla="*/ 50 w 54"/>
                    <a:gd name="T15" fmla="*/ 17 h 47"/>
                    <a:gd name="T16" fmla="*/ 15 w 54"/>
                    <a:gd name="T17"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47">
                      <a:moveTo>
                        <a:pt x="15" y="44"/>
                      </a:moveTo>
                      <a:cubicBezTo>
                        <a:pt x="11" y="47"/>
                        <a:pt x="6" y="47"/>
                        <a:pt x="3" y="43"/>
                      </a:cubicBezTo>
                      <a:cubicBezTo>
                        <a:pt x="3" y="43"/>
                        <a:pt x="3" y="43"/>
                        <a:pt x="3" y="43"/>
                      </a:cubicBezTo>
                      <a:cubicBezTo>
                        <a:pt x="0" y="39"/>
                        <a:pt x="0" y="34"/>
                        <a:pt x="4" y="31"/>
                      </a:cubicBezTo>
                      <a:cubicBezTo>
                        <a:pt x="39" y="3"/>
                        <a:pt x="39" y="3"/>
                        <a:pt x="39" y="3"/>
                      </a:cubicBezTo>
                      <a:cubicBezTo>
                        <a:pt x="43" y="0"/>
                        <a:pt x="48" y="1"/>
                        <a:pt x="51" y="5"/>
                      </a:cubicBezTo>
                      <a:cubicBezTo>
                        <a:pt x="51" y="5"/>
                        <a:pt x="51" y="5"/>
                        <a:pt x="51" y="5"/>
                      </a:cubicBezTo>
                      <a:cubicBezTo>
                        <a:pt x="54" y="8"/>
                        <a:pt x="54" y="14"/>
                        <a:pt x="50" y="17"/>
                      </a:cubicBezTo>
                      <a:lnTo>
                        <a:pt x="15" y="44"/>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1" name="Freeform 13"/>
                <p:cNvSpPr>
                  <a:spLocks/>
                </p:cNvSpPr>
                <p:nvPr/>
              </p:nvSpPr>
              <p:spPr bwMode="auto">
                <a:xfrm>
                  <a:off x="2925" y="-1470"/>
                  <a:ext cx="183" cy="59"/>
                </a:xfrm>
                <a:custGeom>
                  <a:avLst/>
                  <a:gdLst>
                    <a:gd name="T0" fmla="*/ 77 w 77"/>
                    <a:gd name="T1" fmla="*/ 13 h 25"/>
                    <a:gd name="T2" fmla="*/ 64 w 77"/>
                    <a:gd name="T3" fmla="*/ 25 h 25"/>
                    <a:gd name="T4" fmla="*/ 12 w 77"/>
                    <a:gd name="T5" fmla="*/ 25 h 25"/>
                    <a:gd name="T6" fmla="*/ 0 w 77"/>
                    <a:gd name="T7" fmla="*/ 13 h 25"/>
                    <a:gd name="T8" fmla="*/ 0 w 77"/>
                    <a:gd name="T9" fmla="*/ 13 h 25"/>
                    <a:gd name="T10" fmla="*/ 12 w 77"/>
                    <a:gd name="T11" fmla="*/ 0 h 25"/>
                    <a:gd name="T12" fmla="*/ 64 w 77"/>
                    <a:gd name="T13" fmla="*/ 0 h 25"/>
                    <a:gd name="T14" fmla="*/ 77 w 77"/>
                    <a:gd name="T15" fmla="*/ 13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5">
                      <a:moveTo>
                        <a:pt x="77" y="13"/>
                      </a:moveTo>
                      <a:cubicBezTo>
                        <a:pt x="77" y="20"/>
                        <a:pt x="71" y="25"/>
                        <a:pt x="64" y="25"/>
                      </a:cubicBezTo>
                      <a:cubicBezTo>
                        <a:pt x="12" y="25"/>
                        <a:pt x="12" y="25"/>
                        <a:pt x="12" y="25"/>
                      </a:cubicBezTo>
                      <a:cubicBezTo>
                        <a:pt x="5" y="25"/>
                        <a:pt x="0" y="20"/>
                        <a:pt x="0" y="13"/>
                      </a:cubicBezTo>
                      <a:cubicBezTo>
                        <a:pt x="0" y="13"/>
                        <a:pt x="0" y="13"/>
                        <a:pt x="0" y="13"/>
                      </a:cubicBezTo>
                      <a:cubicBezTo>
                        <a:pt x="0" y="6"/>
                        <a:pt x="5" y="0"/>
                        <a:pt x="12" y="0"/>
                      </a:cubicBezTo>
                      <a:cubicBezTo>
                        <a:pt x="64" y="0"/>
                        <a:pt x="64" y="0"/>
                        <a:pt x="64" y="0"/>
                      </a:cubicBezTo>
                      <a:cubicBezTo>
                        <a:pt x="71" y="0"/>
                        <a:pt x="77" y="6"/>
                        <a:pt x="77" y="13"/>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2" name="Rectangle 14"/>
                <p:cNvSpPr>
                  <a:spLocks noChangeArrowheads="1"/>
                </p:cNvSpPr>
                <p:nvPr/>
              </p:nvSpPr>
              <p:spPr bwMode="auto">
                <a:xfrm>
                  <a:off x="2965" y="-1422"/>
                  <a:ext cx="105" cy="54"/>
                </a:xfrm>
                <a:prstGeom prst="rect">
                  <a:avLst/>
                </a:prstGeom>
                <a:solidFill>
                  <a:srgbClr val="9191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nvGrpSpPr>
              <p:cNvPr id="29" name="Group 28"/>
              <p:cNvGrpSpPr/>
              <p:nvPr/>
            </p:nvGrpSpPr>
            <p:grpSpPr>
              <a:xfrm rot="5400000">
                <a:off x="4266802" y="-1927225"/>
                <a:ext cx="1066800" cy="1066800"/>
                <a:chOff x="4236244" y="-1957783"/>
                <a:chExt cx="1066800" cy="1066800"/>
              </a:xfrm>
              <a:grpFill/>
            </p:grpSpPr>
            <p:sp>
              <p:nvSpPr>
                <p:cNvPr id="32" name="Oval 31"/>
                <p:cNvSpPr/>
                <p:nvPr/>
              </p:nvSpPr>
              <p:spPr>
                <a:xfrm>
                  <a:off x="4236244" y="-1957783"/>
                  <a:ext cx="1066800" cy="10668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3" name="Isosceles Triangle 32"/>
                <p:cNvSpPr/>
                <p:nvPr/>
              </p:nvSpPr>
              <p:spPr>
                <a:xfrm>
                  <a:off x="4718082" y="-1951436"/>
                  <a:ext cx="103123" cy="533401"/>
                </a:xfrm>
                <a:prstGeom prst="triangl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sp>
            <p:nvSpPr>
              <p:cNvPr id="30" name="Block Arc 29"/>
              <p:cNvSpPr/>
              <p:nvPr/>
            </p:nvSpPr>
            <p:spPr>
              <a:xfrm>
                <a:off x="4262569" y="-1931062"/>
                <a:ext cx="1073150" cy="1073148"/>
              </a:xfrm>
              <a:prstGeom prst="blockArc">
                <a:avLst>
                  <a:gd name="adj1" fmla="val 16240927"/>
                  <a:gd name="adj2" fmla="val 0"/>
                  <a:gd name="adj3" fmla="val 25000"/>
                </a:avLst>
              </a:prstGeom>
              <a:gradFill>
                <a:gsLst>
                  <a:gs pos="28000">
                    <a:schemeClr val="tx2">
                      <a:alpha val="0"/>
                    </a:schemeClr>
                  </a:gs>
                  <a:gs pos="100000">
                    <a:srgbClr val="91919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sp>
            <p:nvSpPr>
              <p:cNvPr id="31" name="Oval 30"/>
              <p:cNvSpPr/>
              <p:nvPr/>
            </p:nvSpPr>
            <p:spPr>
              <a:xfrm>
                <a:off x="4709048" y="-1484981"/>
                <a:ext cx="182312" cy="182312"/>
              </a:xfrm>
              <a:prstGeom prst="ellips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cxnSp>
        <p:nvCxnSpPr>
          <p:cNvPr id="46" name="Straight Connector 45"/>
          <p:cNvCxnSpPr/>
          <p:nvPr/>
        </p:nvCxnSpPr>
        <p:spPr>
          <a:xfrm>
            <a:off x="1066059" y="2071233"/>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47" name="Rectangle 145"/>
          <p:cNvSpPr/>
          <p:nvPr/>
        </p:nvSpPr>
        <p:spPr bwMode="auto">
          <a:xfrm>
            <a:off x="1081133" y="1579209"/>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a:solidFill>
                  <a:srgbClr val="000000"/>
                </a:solidFill>
                <a:cs typeface="Segoe UI Light" panose="020B0502040204020203" pitchFamily="34" charset="0"/>
              </a:rPr>
              <a:t>SaaS </a:t>
            </a:r>
            <a:r>
              <a:rPr lang="zh-TW" altLang="en-US" sz="1200" dirty="0">
                <a:solidFill>
                  <a:srgbClr val="000000"/>
                </a:solidFill>
                <a:cs typeface="Segoe UI Light" panose="020B0502040204020203" pitchFamily="34" charset="0"/>
              </a:rPr>
              <a:t>解決方案</a:t>
            </a:r>
            <a:endParaRPr lang="en-US" sz="1200" dirty="0">
              <a:solidFill>
                <a:srgbClr val="000000"/>
              </a:solidFill>
              <a:cs typeface="Segoe UI Light" panose="020B0502040204020203" pitchFamily="34" charset="0"/>
            </a:endParaRPr>
          </a:p>
          <a:p>
            <a:pPr defTabSz="914367">
              <a:spcAft>
                <a:spcPts val="600"/>
              </a:spcAft>
            </a:pPr>
            <a:r>
              <a:rPr lang="en-US" sz="900" i="1" dirty="0">
                <a:solidFill>
                  <a:srgbClr val="000000"/>
                </a:solidFill>
                <a:cs typeface="Segoe UI Light" panose="020B0502040204020203" pitchFamily="34" charset="0"/>
              </a:rPr>
              <a:t>E.g. Marketo, Salesforce, GitHub, Google analytics</a:t>
            </a:r>
          </a:p>
        </p:txBody>
      </p:sp>
      <p:sp>
        <p:nvSpPr>
          <p:cNvPr id="48" name="Oval 147"/>
          <p:cNvSpPr/>
          <p:nvPr/>
        </p:nvSpPr>
        <p:spPr bwMode="auto">
          <a:xfrm>
            <a:off x="710585" y="1643986"/>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332"/>
          <p:cNvGrpSpPr/>
          <p:nvPr/>
        </p:nvGrpSpPr>
        <p:grpSpPr>
          <a:xfrm>
            <a:off x="762628" y="1719915"/>
            <a:ext cx="261675" cy="213902"/>
            <a:chOff x="2123129" y="1797431"/>
            <a:chExt cx="2472585" cy="2021180"/>
          </a:xfrm>
        </p:grpSpPr>
        <p:sp>
          <p:nvSpPr>
            <p:cNvPr id="50" name="Freeform 13"/>
            <p:cNvSpPr>
              <a:spLocks/>
            </p:cNvSpPr>
            <p:nvPr/>
          </p:nvSpPr>
          <p:spPr bwMode="auto">
            <a:xfrm rot="20700000">
              <a:off x="3155851" y="2377161"/>
              <a:ext cx="1439863" cy="1441450"/>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1"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cxnSp>
        <p:nvCxnSpPr>
          <p:cNvPr id="52" name="Straight Connector 51"/>
          <p:cNvCxnSpPr/>
          <p:nvPr/>
        </p:nvCxnSpPr>
        <p:spPr>
          <a:xfrm>
            <a:off x="1066059" y="2613344"/>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53" name="Rectangle 152"/>
          <p:cNvSpPr/>
          <p:nvPr/>
        </p:nvSpPr>
        <p:spPr bwMode="auto">
          <a:xfrm>
            <a:off x="1075486" y="2172671"/>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zh-TW" altLang="en-US" sz="1200" dirty="0">
                <a:solidFill>
                  <a:srgbClr val="000000"/>
                </a:solidFill>
                <a:cs typeface="Segoe UI Light" panose="020B0502040204020203" pitchFamily="34" charset="0"/>
              </a:rPr>
              <a:t>傳統機房內的資料</a:t>
            </a:r>
            <a:endParaRPr lang="en-US" altLang="zh-TW" sz="1200" dirty="0">
              <a:solidFill>
                <a:srgbClr val="000000"/>
              </a:solidFill>
              <a:cs typeface="Segoe UI Light" panose="020B0502040204020203" pitchFamily="34" charset="0"/>
            </a:endParaRPr>
          </a:p>
          <a:p>
            <a:pPr defTabSz="914367"/>
            <a:r>
              <a:rPr lang="en-US" sz="900" i="1" dirty="0">
                <a:solidFill>
                  <a:srgbClr val="000000"/>
                </a:solidFill>
                <a:cs typeface="Segoe UI Light" panose="020B0502040204020203" pitchFamily="34" charset="0"/>
              </a:rPr>
              <a:t>E.g. Analysis Services</a:t>
            </a:r>
          </a:p>
        </p:txBody>
      </p:sp>
      <p:sp>
        <p:nvSpPr>
          <p:cNvPr id="54" name="Oval 154"/>
          <p:cNvSpPr/>
          <p:nvPr/>
        </p:nvSpPr>
        <p:spPr bwMode="auto">
          <a:xfrm>
            <a:off x="710585" y="2172671"/>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sp>
        <p:nvSpPr>
          <p:cNvPr id="55" name="Freeform 30"/>
          <p:cNvSpPr>
            <a:spLocks noEditPoints="1"/>
          </p:cNvSpPr>
          <p:nvPr/>
        </p:nvSpPr>
        <p:spPr bwMode="auto">
          <a:xfrm>
            <a:off x="792970" y="2266905"/>
            <a:ext cx="200989" cy="177291"/>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cxnSp>
        <p:nvCxnSpPr>
          <p:cNvPr id="56" name="Straight Connector 55"/>
          <p:cNvCxnSpPr/>
          <p:nvPr/>
        </p:nvCxnSpPr>
        <p:spPr>
          <a:xfrm>
            <a:off x="1066059" y="3189131"/>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57" name="Rectangle 1074"/>
          <p:cNvSpPr/>
          <p:nvPr/>
        </p:nvSpPr>
        <p:spPr bwMode="auto">
          <a:xfrm>
            <a:off x="1075485" y="2714979"/>
            <a:ext cx="2149697"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zh-TW" altLang="en-US" sz="1200" dirty="0">
                <a:solidFill>
                  <a:srgbClr val="000000"/>
                </a:solidFill>
                <a:cs typeface="Segoe UI Light" panose="020B0502040204020203" pitchFamily="34" charset="0"/>
              </a:rPr>
              <a:t>組織的內容套件</a:t>
            </a:r>
            <a:br>
              <a:rPr lang="en-US" sz="1200" dirty="0">
                <a:solidFill>
                  <a:srgbClr val="000000"/>
                </a:solidFill>
                <a:cs typeface="Segoe UI Light" panose="020B0502040204020203" pitchFamily="34" charset="0"/>
              </a:rPr>
            </a:br>
            <a:r>
              <a:rPr lang="en-US" sz="900" i="1" dirty="0">
                <a:solidFill>
                  <a:srgbClr val="000000"/>
                </a:solidFill>
                <a:cs typeface="Segoe UI Light" panose="020B0502040204020203" pitchFamily="34" charset="0"/>
              </a:rPr>
              <a:t>Corporate data sources, or external data services</a:t>
            </a:r>
          </a:p>
        </p:txBody>
      </p:sp>
      <p:sp>
        <p:nvSpPr>
          <p:cNvPr id="58" name="Oval 1076"/>
          <p:cNvSpPr/>
          <p:nvPr/>
        </p:nvSpPr>
        <p:spPr bwMode="auto">
          <a:xfrm>
            <a:off x="710585" y="2714979"/>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59" name="Group 58"/>
          <p:cNvGrpSpPr/>
          <p:nvPr/>
        </p:nvGrpSpPr>
        <p:grpSpPr>
          <a:xfrm>
            <a:off x="785830" y="2803250"/>
            <a:ext cx="215270" cy="189218"/>
            <a:chOff x="681704" y="2920140"/>
            <a:chExt cx="321649" cy="282723"/>
          </a:xfrm>
          <a:solidFill>
            <a:schemeClr val="tx1"/>
          </a:solidFill>
        </p:grpSpPr>
        <p:sp>
          <p:nvSpPr>
            <p:cNvPr id="60" name="Freeform 34"/>
            <p:cNvSpPr>
              <a:spLocks/>
            </p:cNvSpPr>
            <p:nvPr/>
          </p:nvSpPr>
          <p:spPr bwMode="auto">
            <a:xfrm>
              <a:off x="681704" y="2920140"/>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1" name="Freeform 35"/>
            <p:cNvSpPr>
              <a:spLocks noEditPoints="1"/>
            </p:cNvSpPr>
            <p:nvPr/>
          </p:nvSpPr>
          <p:spPr bwMode="auto">
            <a:xfrm>
              <a:off x="760426" y="2959065"/>
              <a:ext cx="242927" cy="243798"/>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cxnSp>
        <p:nvCxnSpPr>
          <p:cNvPr id="62" name="Straight Connector 61"/>
          <p:cNvCxnSpPr/>
          <p:nvPr/>
        </p:nvCxnSpPr>
        <p:spPr>
          <a:xfrm>
            <a:off x="1066059" y="3683809"/>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63" name="Rectangle 1081"/>
          <p:cNvSpPr/>
          <p:nvPr/>
        </p:nvSpPr>
        <p:spPr bwMode="auto">
          <a:xfrm>
            <a:off x="1066059" y="3248363"/>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a:solidFill>
                  <a:srgbClr val="000000"/>
                </a:solidFill>
                <a:cs typeface="Segoe UI Light" panose="020B0502040204020203" pitchFamily="34" charset="0"/>
              </a:rPr>
              <a:t>Azure </a:t>
            </a:r>
            <a:r>
              <a:rPr lang="zh-TW" altLang="en-US" sz="1200" dirty="0">
                <a:solidFill>
                  <a:srgbClr val="000000"/>
                </a:solidFill>
                <a:cs typeface="Segoe UI Light" panose="020B0502040204020203" pitchFamily="34" charset="0"/>
              </a:rPr>
              <a:t>服務</a:t>
            </a:r>
            <a:endParaRPr lang="en-US" sz="1200" dirty="0">
              <a:solidFill>
                <a:srgbClr val="000000"/>
              </a:solidFill>
              <a:cs typeface="Segoe UI Light" panose="020B0502040204020203" pitchFamily="34" charset="0"/>
            </a:endParaRPr>
          </a:p>
          <a:p>
            <a:pPr defTabSz="914367">
              <a:spcAft>
                <a:spcPts val="600"/>
              </a:spcAft>
            </a:pPr>
            <a:r>
              <a:rPr lang="en-US" sz="900" i="1" dirty="0">
                <a:solidFill>
                  <a:srgbClr val="000000"/>
                </a:solidFill>
                <a:cs typeface="Segoe UI Light" panose="020B0502040204020203" pitchFamily="34" charset="0"/>
              </a:rPr>
              <a:t>E.g. Azure SQL, Stream Analytics</a:t>
            </a:r>
          </a:p>
        </p:txBody>
      </p:sp>
      <p:sp>
        <p:nvSpPr>
          <p:cNvPr id="64" name="Oval 1083"/>
          <p:cNvSpPr/>
          <p:nvPr/>
        </p:nvSpPr>
        <p:spPr bwMode="auto">
          <a:xfrm>
            <a:off x="710585" y="3229313"/>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65" name="Group 379"/>
          <p:cNvGrpSpPr/>
          <p:nvPr/>
        </p:nvGrpSpPr>
        <p:grpSpPr>
          <a:xfrm>
            <a:off x="776785" y="3350016"/>
            <a:ext cx="233359" cy="162454"/>
            <a:chOff x="3543365" y="7242811"/>
            <a:chExt cx="1238250" cy="862013"/>
          </a:xfrm>
          <a:solidFill>
            <a:schemeClr val="tx1"/>
          </a:solidFill>
        </p:grpSpPr>
        <p:sp>
          <p:nvSpPr>
            <p:cNvPr id="66" name="Freeform 127"/>
            <p:cNvSpPr>
              <a:spLocks/>
            </p:cNvSpPr>
            <p:nvPr/>
          </p:nvSpPr>
          <p:spPr bwMode="auto">
            <a:xfrm>
              <a:off x="3617978" y="7911149"/>
              <a:ext cx="231775" cy="193675"/>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7" name="Freeform 128"/>
            <p:cNvSpPr>
              <a:spLocks/>
            </p:cNvSpPr>
            <p:nvPr/>
          </p:nvSpPr>
          <p:spPr bwMode="auto">
            <a:xfrm>
              <a:off x="3617978" y="7688899"/>
              <a:ext cx="231775" cy="192088"/>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8" name="Rectangle 129"/>
            <p:cNvSpPr>
              <a:spLocks noChangeArrowheads="1"/>
            </p:cNvSpPr>
            <p:nvPr/>
          </p:nvSpPr>
          <p:spPr bwMode="auto">
            <a:xfrm>
              <a:off x="3617978" y="74666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9" name="Rectangle 130"/>
            <p:cNvSpPr>
              <a:spLocks noChangeArrowheads="1"/>
            </p:cNvSpPr>
            <p:nvPr/>
          </p:nvSpPr>
          <p:spPr bwMode="auto">
            <a:xfrm>
              <a:off x="3617978" y="7242811"/>
              <a:ext cx="231775" cy="1952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0" name="Freeform 131"/>
            <p:cNvSpPr>
              <a:spLocks/>
            </p:cNvSpPr>
            <p:nvPr/>
          </p:nvSpPr>
          <p:spPr bwMode="auto">
            <a:xfrm>
              <a:off x="3895790" y="7911149"/>
              <a:ext cx="230188" cy="193675"/>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1" name="Freeform 132"/>
            <p:cNvSpPr>
              <a:spLocks/>
            </p:cNvSpPr>
            <p:nvPr/>
          </p:nvSpPr>
          <p:spPr bwMode="auto">
            <a:xfrm>
              <a:off x="4125978" y="7688899"/>
              <a:ext cx="0" cy="6350"/>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2" name="Freeform 133"/>
            <p:cNvSpPr>
              <a:spLocks/>
            </p:cNvSpPr>
            <p:nvPr/>
          </p:nvSpPr>
          <p:spPr bwMode="auto">
            <a:xfrm>
              <a:off x="3895790" y="7812724"/>
              <a:ext cx="219075" cy="69850"/>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3" name="Freeform 134"/>
            <p:cNvSpPr>
              <a:spLocks/>
            </p:cNvSpPr>
            <p:nvPr/>
          </p:nvSpPr>
          <p:spPr bwMode="auto">
            <a:xfrm>
              <a:off x="3895790" y="7466649"/>
              <a:ext cx="230188" cy="193675"/>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4" name="Freeform 135"/>
            <p:cNvSpPr>
              <a:spLocks/>
            </p:cNvSpPr>
            <p:nvPr/>
          </p:nvSpPr>
          <p:spPr bwMode="auto">
            <a:xfrm>
              <a:off x="4173603" y="7911149"/>
              <a:ext cx="230188" cy="193675"/>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5" name="Freeform 136"/>
            <p:cNvSpPr>
              <a:spLocks/>
            </p:cNvSpPr>
            <p:nvPr/>
          </p:nvSpPr>
          <p:spPr bwMode="auto">
            <a:xfrm>
              <a:off x="4173603" y="7688899"/>
              <a:ext cx="168275" cy="63500"/>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6" name="Freeform 137"/>
            <p:cNvSpPr>
              <a:spLocks/>
            </p:cNvSpPr>
            <p:nvPr/>
          </p:nvSpPr>
          <p:spPr bwMode="auto">
            <a:xfrm>
              <a:off x="4338703" y="7809549"/>
              <a:ext cx="65088" cy="73025"/>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7" name="Rectangle 138"/>
            <p:cNvSpPr>
              <a:spLocks noChangeArrowheads="1"/>
            </p:cNvSpPr>
            <p:nvPr/>
          </p:nvSpPr>
          <p:spPr bwMode="auto">
            <a:xfrm>
              <a:off x="4449828" y="79111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8" name="Freeform 139"/>
            <p:cNvSpPr>
              <a:spLocks/>
            </p:cNvSpPr>
            <p:nvPr/>
          </p:nvSpPr>
          <p:spPr bwMode="auto">
            <a:xfrm>
              <a:off x="4449828" y="7688899"/>
              <a:ext cx="231775" cy="193675"/>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9" name="Freeform 140"/>
            <p:cNvSpPr>
              <a:spLocks/>
            </p:cNvSpPr>
            <p:nvPr/>
          </p:nvSpPr>
          <p:spPr bwMode="auto">
            <a:xfrm>
              <a:off x="4600640" y="7622224"/>
              <a:ext cx="80963" cy="38100"/>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0" name="Freeform 141"/>
            <p:cNvSpPr>
              <a:spLocks/>
            </p:cNvSpPr>
            <p:nvPr/>
          </p:nvSpPr>
          <p:spPr bwMode="auto">
            <a:xfrm>
              <a:off x="4449828" y="7466649"/>
              <a:ext cx="119063" cy="139700"/>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1" name="Freeform 142"/>
            <p:cNvSpPr>
              <a:spLocks noEditPoints="1"/>
            </p:cNvSpPr>
            <p:nvPr/>
          </p:nvSpPr>
          <p:spPr bwMode="auto">
            <a:xfrm>
              <a:off x="3543365" y="7438074"/>
              <a:ext cx="1238250" cy="590550"/>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82" name="Rectangle 160"/>
          <p:cNvSpPr/>
          <p:nvPr/>
        </p:nvSpPr>
        <p:spPr bwMode="auto">
          <a:xfrm>
            <a:off x="1066059" y="3728698"/>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endParaRPr lang="en-IN" sz="1200" dirty="0">
              <a:solidFill>
                <a:srgbClr val="000000"/>
              </a:solidFill>
              <a:cs typeface="Segoe UI Light" panose="020B0502040204020203" pitchFamily="34" charset="0"/>
            </a:endParaRPr>
          </a:p>
          <a:p>
            <a:pPr defTabSz="914367"/>
            <a:r>
              <a:rPr lang="en-IN" sz="1200" dirty="0">
                <a:solidFill>
                  <a:srgbClr val="000000"/>
                </a:solidFill>
                <a:cs typeface="Segoe UI Light" panose="020B0502040204020203" pitchFamily="34" charset="0"/>
              </a:rPr>
              <a:t>Excel </a:t>
            </a:r>
            <a:r>
              <a:rPr lang="zh-TW" altLang="en-US" sz="1200" dirty="0">
                <a:solidFill>
                  <a:srgbClr val="000000"/>
                </a:solidFill>
                <a:cs typeface="Segoe UI Light" panose="020B0502040204020203" pitchFamily="34" charset="0"/>
              </a:rPr>
              <a:t>檔案</a:t>
            </a:r>
            <a:endParaRPr lang="en-IN" sz="1200" dirty="0">
              <a:solidFill>
                <a:srgbClr val="000000"/>
              </a:solidFill>
              <a:cs typeface="Segoe UI Light" panose="020B0502040204020203" pitchFamily="34" charset="0"/>
            </a:endParaRPr>
          </a:p>
          <a:p>
            <a:pPr defTabSz="914367"/>
            <a:r>
              <a:rPr lang="en-IN" sz="900" i="1" dirty="0">
                <a:solidFill>
                  <a:srgbClr val="000000"/>
                </a:solidFill>
                <a:cs typeface="Segoe UI Light" panose="020B0502040204020203" pitchFamily="34" charset="0"/>
              </a:rPr>
              <a:t>Workbook data and data models</a:t>
            </a:r>
          </a:p>
          <a:p>
            <a:pPr defTabSz="914367"/>
            <a:endParaRPr lang="en-IN" sz="1200" dirty="0">
              <a:solidFill>
                <a:srgbClr val="000000"/>
              </a:solidFill>
              <a:cs typeface="Segoe UI Light" panose="020B0502040204020203" pitchFamily="34" charset="0"/>
            </a:endParaRPr>
          </a:p>
        </p:txBody>
      </p:sp>
      <p:sp>
        <p:nvSpPr>
          <p:cNvPr id="83" name="Oval 162"/>
          <p:cNvSpPr/>
          <p:nvPr/>
        </p:nvSpPr>
        <p:spPr bwMode="auto">
          <a:xfrm>
            <a:off x="710585" y="3728698"/>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84" name="Straight Connector 83"/>
          <p:cNvCxnSpPr/>
          <p:nvPr/>
        </p:nvCxnSpPr>
        <p:spPr>
          <a:xfrm>
            <a:off x="1066059" y="4143673"/>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85" name="Oval 162"/>
          <p:cNvSpPr/>
          <p:nvPr/>
        </p:nvSpPr>
        <p:spPr bwMode="auto">
          <a:xfrm>
            <a:off x="710585" y="4237249"/>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sp>
        <p:nvSpPr>
          <p:cNvPr id="86" name="Rectangle 160"/>
          <p:cNvSpPr/>
          <p:nvPr/>
        </p:nvSpPr>
        <p:spPr bwMode="auto">
          <a:xfrm>
            <a:off x="1066059" y="4237249"/>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IN" sz="1200" dirty="0">
                <a:solidFill>
                  <a:srgbClr val="000000"/>
                </a:solidFill>
                <a:cs typeface="Segoe UI Light" panose="020B0502040204020203" pitchFamily="34" charset="0"/>
              </a:rPr>
              <a:t>Power BI Desktop </a:t>
            </a:r>
            <a:r>
              <a:rPr lang="zh-TW" altLang="en-US" sz="1200" dirty="0">
                <a:solidFill>
                  <a:srgbClr val="000000"/>
                </a:solidFill>
                <a:cs typeface="Segoe UI Light" panose="020B0502040204020203" pitchFamily="34" charset="0"/>
              </a:rPr>
              <a:t>檔案</a:t>
            </a:r>
            <a:endParaRPr lang="en-IN" sz="1200" dirty="0">
              <a:solidFill>
                <a:srgbClr val="000000"/>
              </a:solidFill>
              <a:cs typeface="Segoe UI Light" panose="020B0502040204020203" pitchFamily="34" charset="0"/>
            </a:endParaRPr>
          </a:p>
          <a:p>
            <a:pPr defTabSz="914367"/>
            <a:r>
              <a:rPr lang="en-IN" sz="900" i="1" dirty="0">
                <a:solidFill>
                  <a:srgbClr val="000000"/>
                </a:solidFill>
                <a:cs typeface="Segoe UI Light" panose="020B0502040204020203" pitchFamily="34" charset="0"/>
              </a:rPr>
              <a:t>Related data from files, databases, Azure, and other sources</a:t>
            </a:r>
          </a:p>
        </p:txBody>
      </p:sp>
      <p:sp>
        <p:nvSpPr>
          <p:cNvPr id="87" name="Isosceles Triangle 153"/>
          <p:cNvSpPr/>
          <p:nvPr/>
        </p:nvSpPr>
        <p:spPr bwMode="auto">
          <a:xfrm rot="5400000">
            <a:off x="1948830" y="2953999"/>
            <a:ext cx="2964025" cy="33399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endParaRPr lang="en-US" sz="900" i="1" dirty="0">
              <a:solidFill>
                <a:srgbClr val="FFFFFF"/>
              </a:solidFill>
              <a:cs typeface="Segoe UI Light" panose="020B0502040204020203" pitchFamily="34" charset="0"/>
            </a:endParaRPr>
          </a:p>
        </p:txBody>
      </p:sp>
      <p:pic>
        <p:nvPicPr>
          <p:cNvPr id="88" name="Picture 87"/>
          <p:cNvPicPr>
            <a:picLocks noChangeAspect="1"/>
          </p:cNvPicPr>
          <p:nvPr/>
        </p:nvPicPr>
        <p:blipFill>
          <a:blip r:embed="rId5" cstate="print">
            <a:biLevel thresh="75000"/>
            <a:extLst>
              <a:ext uri="{BEBA8EAE-BF5A-486C-A8C5-ECC9F3942E4B}">
                <a14:imgProps xmlns:a14="http://schemas.microsoft.com/office/drawing/2010/main">
                  <a14:imgLayer r:embed="rId6">
                    <a14:imgEffect>
                      <a14:artisticPaintBrush/>
                    </a14:imgEffect>
                  </a14:imgLayer>
                </a14:imgProps>
              </a:ext>
              <a:ext uri="{28A0092B-C50C-407E-A947-70E740481C1C}">
                <a14:useLocalDpi xmlns:a14="http://schemas.microsoft.com/office/drawing/2010/main" val="0"/>
              </a:ext>
            </a:extLst>
          </a:blip>
          <a:stretch>
            <a:fillRect/>
          </a:stretch>
        </p:blipFill>
        <p:spPr>
          <a:xfrm>
            <a:off x="776785" y="3797948"/>
            <a:ext cx="240145" cy="240145"/>
          </a:xfrm>
          <a:prstGeom prst="rect">
            <a:avLst/>
          </a:prstGeom>
          <a:solidFill>
            <a:srgbClr val="EDC30D"/>
          </a:solidFill>
        </p:spPr>
      </p:pic>
      <p:pic>
        <p:nvPicPr>
          <p:cNvPr id="89" name="Picture 88"/>
          <p:cNvPicPr>
            <a:picLocks noChangeAspect="1"/>
          </p:cNvPicPr>
          <p:nvPr/>
        </p:nvPicPr>
        <p:blipFill rotWithShape="1">
          <a:blip r:embed="rId7"/>
          <a:srcRect l="6503" t="21287" r="74698" b="20220"/>
          <a:stretch/>
        </p:blipFill>
        <p:spPr>
          <a:xfrm>
            <a:off x="790490" y="4302899"/>
            <a:ext cx="228600" cy="231962"/>
          </a:xfrm>
          <a:prstGeom prst="rect">
            <a:avLst/>
          </a:prstGeom>
        </p:spPr>
      </p:pic>
      <p:pic>
        <p:nvPicPr>
          <p:cNvPr id="90" name="Picture 89"/>
          <p:cNvPicPr>
            <a:picLocks noChangeAspect="1"/>
          </p:cNvPicPr>
          <p:nvPr/>
        </p:nvPicPr>
        <p:blipFill rotWithShape="1">
          <a:blip r:embed="rId7">
            <a:biLevel thresh="25000"/>
          </a:blip>
          <a:srcRect l="6503" t="21287" r="74698" b="20220"/>
          <a:stretch/>
        </p:blipFill>
        <p:spPr>
          <a:xfrm>
            <a:off x="664619" y="5840814"/>
            <a:ext cx="548640" cy="556709"/>
          </a:xfrm>
          <a:prstGeom prst="rect">
            <a:avLst/>
          </a:prstGeom>
        </p:spPr>
      </p:pic>
      <p:grpSp>
        <p:nvGrpSpPr>
          <p:cNvPr id="92" name="Group 91"/>
          <p:cNvGrpSpPr/>
          <p:nvPr/>
        </p:nvGrpSpPr>
        <p:grpSpPr>
          <a:xfrm>
            <a:off x="4305373" y="4648313"/>
            <a:ext cx="1087784" cy="274320"/>
            <a:chOff x="4306193" y="5441922"/>
            <a:chExt cx="1087784" cy="274320"/>
          </a:xfrm>
        </p:grpSpPr>
        <p:sp>
          <p:nvSpPr>
            <p:cNvPr id="93" name="TextBox 293"/>
            <p:cNvSpPr txBox="1"/>
            <p:nvPr/>
          </p:nvSpPr>
          <p:spPr>
            <a:xfrm>
              <a:off x="4675832" y="5472564"/>
              <a:ext cx="718145"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zh-TW" altLang="en-US" sz="1400" dirty="0">
                  <a:solidFill>
                    <a:srgbClr val="000000"/>
                  </a:solidFill>
                  <a:ea typeface="Segoe UI" pitchFamily="34" charset="0"/>
                  <a:cs typeface="Segoe UI" pitchFamily="34" charset="0"/>
                </a:rPr>
                <a:t>資料更新</a:t>
              </a:r>
              <a:endParaRPr lang="en-US" sz="1400" dirty="0">
                <a:solidFill>
                  <a:srgbClr val="000000"/>
                </a:solidFill>
                <a:ea typeface="Segoe UI" pitchFamily="34" charset="0"/>
                <a:cs typeface="Segoe UI" pitchFamily="34" charset="0"/>
              </a:endParaRPr>
            </a:p>
          </p:txBody>
        </p:sp>
        <p:sp>
          <p:nvSpPr>
            <p:cNvPr id="94" name="Freeform 122"/>
            <p:cNvSpPr>
              <a:spLocks/>
            </p:cNvSpPr>
            <p:nvPr/>
          </p:nvSpPr>
          <p:spPr bwMode="black">
            <a:xfrm>
              <a:off x="4306193" y="5441922"/>
              <a:ext cx="274320" cy="27432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rgbClr val="EDC30D"/>
            </a:solidFill>
            <a:ln>
              <a:noFill/>
            </a:ln>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grpSp>
      <p:grpSp>
        <p:nvGrpSpPr>
          <p:cNvPr id="95" name="Group 94"/>
          <p:cNvGrpSpPr/>
          <p:nvPr/>
        </p:nvGrpSpPr>
        <p:grpSpPr>
          <a:xfrm>
            <a:off x="4305373" y="2994407"/>
            <a:ext cx="908248" cy="268606"/>
            <a:chOff x="4306193" y="3788016"/>
            <a:chExt cx="908248" cy="268606"/>
          </a:xfrm>
        </p:grpSpPr>
        <p:sp>
          <p:nvSpPr>
            <p:cNvPr id="96" name="TextBox 293"/>
            <p:cNvSpPr txBox="1"/>
            <p:nvPr/>
          </p:nvSpPr>
          <p:spPr>
            <a:xfrm>
              <a:off x="4675832" y="3818658"/>
              <a:ext cx="538609"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zh-TW" altLang="en-US" sz="1400" dirty="0">
                  <a:solidFill>
                    <a:srgbClr val="000000"/>
                  </a:solidFill>
                  <a:ea typeface="Segoe UI" pitchFamily="34" charset="0"/>
                  <a:cs typeface="Segoe UI" pitchFamily="34" charset="0"/>
                </a:rPr>
                <a:t>視覺化</a:t>
              </a:r>
              <a:endParaRPr lang="en-US" sz="1200" dirty="0">
                <a:solidFill>
                  <a:srgbClr val="000000"/>
                </a:solidFill>
                <a:ea typeface="Segoe UI" pitchFamily="34" charset="0"/>
                <a:cs typeface="Segoe UI" pitchFamily="34" charset="0"/>
              </a:endParaRPr>
            </a:p>
          </p:txBody>
        </p:sp>
        <p:sp>
          <p:nvSpPr>
            <p:cNvPr id="97" name="Freeform 96"/>
            <p:cNvSpPr>
              <a:spLocks noChangeAspect="1"/>
            </p:cNvSpPr>
            <p:nvPr/>
          </p:nvSpPr>
          <p:spPr bwMode="black">
            <a:xfrm>
              <a:off x="4306193" y="3788016"/>
              <a:ext cx="274320" cy="268606"/>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98" name="Group 97"/>
          <p:cNvGrpSpPr/>
          <p:nvPr/>
        </p:nvGrpSpPr>
        <p:grpSpPr>
          <a:xfrm>
            <a:off x="4304777" y="2443105"/>
            <a:ext cx="1267917" cy="274320"/>
            <a:chOff x="4305597" y="3236714"/>
            <a:chExt cx="1267917" cy="274320"/>
          </a:xfrm>
        </p:grpSpPr>
        <p:sp>
          <p:nvSpPr>
            <p:cNvPr id="99" name="TextBox 293"/>
            <p:cNvSpPr txBox="1"/>
            <p:nvPr/>
          </p:nvSpPr>
          <p:spPr>
            <a:xfrm>
              <a:off x="4675832" y="3268771"/>
              <a:ext cx="897682"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zh-TW" altLang="en-US" sz="1400" dirty="0">
                  <a:solidFill>
                    <a:srgbClr val="000000"/>
                  </a:solidFill>
                  <a:ea typeface="Segoe UI" pitchFamily="34" charset="0"/>
                  <a:cs typeface="Segoe UI" pitchFamily="34" charset="0"/>
                </a:rPr>
                <a:t>即時儀表板</a:t>
              </a:r>
              <a:endParaRPr lang="en-US" sz="1400" dirty="0">
                <a:solidFill>
                  <a:srgbClr val="000000"/>
                </a:solidFill>
                <a:ea typeface="Segoe UI" pitchFamily="34" charset="0"/>
                <a:cs typeface="Segoe UI" pitchFamily="34" charset="0"/>
              </a:endParaRPr>
            </a:p>
          </p:txBody>
        </p:sp>
        <p:sp>
          <p:nvSpPr>
            <p:cNvPr id="100" name="Freeform 5"/>
            <p:cNvSpPr>
              <a:spLocks noChangeAspect="1" noEditPoints="1"/>
            </p:cNvSpPr>
            <p:nvPr/>
          </p:nvSpPr>
          <p:spPr bwMode="black">
            <a:xfrm>
              <a:off x="4305597" y="3236714"/>
              <a:ext cx="275513" cy="274320"/>
            </a:xfrm>
            <a:custGeom>
              <a:avLst/>
              <a:gdLst>
                <a:gd name="T0" fmla="*/ 402 w 1088"/>
                <a:gd name="T1" fmla="*/ 588 h 1090"/>
                <a:gd name="T2" fmla="*/ 502 w 1088"/>
                <a:gd name="T3" fmla="*/ 688 h 1090"/>
                <a:gd name="T4" fmla="*/ 502 w 1088"/>
                <a:gd name="T5" fmla="*/ 989 h 1090"/>
                <a:gd name="T6" fmla="*/ 402 w 1088"/>
                <a:gd name="T7" fmla="*/ 1090 h 1090"/>
                <a:gd name="T8" fmla="*/ 100 w 1088"/>
                <a:gd name="T9" fmla="*/ 1090 h 1090"/>
                <a:gd name="T10" fmla="*/ 0 w 1088"/>
                <a:gd name="T11" fmla="*/ 989 h 1090"/>
                <a:gd name="T12" fmla="*/ 0 w 1088"/>
                <a:gd name="T13" fmla="*/ 688 h 1090"/>
                <a:gd name="T14" fmla="*/ 100 w 1088"/>
                <a:gd name="T15" fmla="*/ 588 h 1090"/>
                <a:gd name="T16" fmla="*/ 402 w 1088"/>
                <a:gd name="T17" fmla="*/ 588 h 1090"/>
                <a:gd name="T18" fmla="*/ 402 w 1088"/>
                <a:gd name="T19" fmla="*/ 588 h 1090"/>
                <a:gd name="T20" fmla="*/ 402 w 1088"/>
                <a:gd name="T21" fmla="*/ 2 h 1090"/>
                <a:gd name="T22" fmla="*/ 402 w 1088"/>
                <a:gd name="T23" fmla="*/ 2 h 1090"/>
                <a:gd name="T24" fmla="*/ 100 w 1088"/>
                <a:gd name="T25" fmla="*/ 2 h 1090"/>
                <a:gd name="T26" fmla="*/ 0 w 1088"/>
                <a:gd name="T27" fmla="*/ 103 h 1090"/>
                <a:gd name="T28" fmla="*/ 0 w 1088"/>
                <a:gd name="T29" fmla="*/ 403 h 1090"/>
                <a:gd name="T30" fmla="*/ 100 w 1088"/>
                <a:gd name="T31" fmla="*/ 504 h 1090"/>
                <a:gd name="T32" fmla="*/ 402 w 1088"/>
                <a:gd name="T33" fmla="*/ 504 h 1090"/>
                <a:gd name="T34" fmla="*/ 502 w 1088"/>
                <a:gd name="T35" fmla="*/ 403 h 1090"/>
                <a:gd name="T36" fmla="*/ 502 w 1088"/>
                <a:gd name="T37" fmla="*/ 103 h 1090"/>
                <a:gd name="T38" fmla="*/ 402 w 1088"/>
                <a:gd name="T39" fmla="*/ 2 h 1090"/>
                <a:gd name="T40" fmla="*/ 966 w 1088"/>
                <a:gd name="T41" fmla="*/ 0 h 1090"/>
                <a:gd name="T42" fmla="*/ 1088 w 1088"/>
                <a:gd name="T43" fmla="*/ 121 h 1090"/>
                <a:gd name="T44" fmla="*/ 1088 w 1088"/>
                <a:gd name="T45" fmla="*/ 383 h 1090"/>
                <a:gd name="T46" fmla="*/ 966 w 1088"/>
                <a:gd name="T47" fmla="*/ 504 h 1090"/>
                <a:gd name="T48" fmla="*/ 704 w 1088"/>
                <a:gd name="T49" fmla="*/ 504 h 1090"/>
                <a:gd name="T50" fmla="*/ 583 w 1088"/>
                <a:gd name="T51" fmla="*/ 383 h 1090"/>
                <a:gd name="T52" fmla="*/ 583 w 1088"/>
                <a:gd name="T53" fmla="*/ 121 h 1090"/>
                <a:gd name="T54" fmla="*/ 704 w 1088"/>
                <a:gd name="T55" fmla="*/ 0 h 1090"/>
                <a:gd name="T56" fmla="*/ 966 w 1088"/>
                <a:gd name="T57" fmla="*/ 0 h 1090"/>
                <a:gd name="T58" fmla="*/ 1020 w 1088"/>
                <a:gd name="T59" fmla="*/ 383 h 1090"/>
                <a:gd name="T60" fmla="*/ 1020 w 1088"/>
                <a:gd name="T61" fmla="*/ 383 h 1090"/>
                <a:gd name="T62" fmla="*/ 1020 w 1088"/>
                <a:gd name="T63" fmla="*/ 121 h 1090"/>
                <a:gd name="T64" fmla="*/ 966 w 1088"/>
                <a:gd name="T65" fmla="*/ 67 h 1090"/>
                <a:gd name="T66" fmla="*/ 704 w 1088"/>
                <a:gd name="T67" fmla="*/ 67 h 1090"/>
                <a:gd name="T68" fmla="*/ 650 w 1088"/>
                <a:gd name="T69" fmla="*/ 121 h 1090"/>
                <a:gd name="T70" fmla="*/ 650 w 1088"/>
                <a:gd name="T71" fmla="*/ 383 h 1090"/>
                <a:gd name="T72" fmla="*/ 704 w 1088"/>
                <a:gd name="T73" fmla="*/ 437 h 1090"/>
                <a:gd name="T74" fmla="*/ 966 w 1088"/>
                <a:gd name="T75" fmla="*/ 437 h 1090"/>
                <a:gd name="T76" fmla="*/ 1020 w 1088"/>
                <a:gd name="T77" fmla="*/ 383 h 1090"/>
                <a:gd name="T78" fmla="*/ 584 w 1088"/>
                <a:gd name="T79" fmla="*/ 688 h 1090"/>
                <a:gd name="T80" fmla="*/ 584 w 1088"/>
                <a:gd name="T81" fmla="*/ 688 h 1090"/>
                <a:gd name="T82" fmla="*/ 584 w 1088"/>
                <a:gd name="T83" fmla="*/ 989 h 1090"/>
                <a:gd name="T84" fmla="*/ 686 w 1088"/>
                <a:gd name="T85" fmla="*/ 1090 h 1090"/>
                <a:gd name="T86" fmla="*/ 987 w 1088"/>
                <a:gd name="T87" fmla="*/ 1090 h 1090"/>
                <a:gd name="T88" fmla="*/ 1088 w 1088"/>
                <a:gd name="T89" fmla="*/ 989 h 1090"/>
                <a:gd name="T90" fmla="*/ 1088 w 1088"/>
                <a:gd name="T91" fmla="*/ 688 h 1090"/>
                <a:gd name="T92" fmla="*/ 987 w 1088"/>
                <a:gd name="T93" fmla="*/ 588 h 1090"/>
                <a:gd name="T94" fmla="*/ 686 w 1088"/>
                <a:gd name="T95" fmla="*/ 588 h 1090"/>
                <a:gd name="T96" fmla="*/ 584 w 1088"/>
                <a:gd name="T97" fmla="*/ 688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8" h="1090">
                  <a:moveTo>
                    <a:pt x="402" y="588"/>
                  </a:moveTo>
                  <a:cubicBezTo>
                    <a:pt x="469" y="588"/>
                    <a:pt x="502" y="621"/>
                    <a:pt x="502" y="688"/>
                  </a:cubicBezTo>
                  <a:cubicBezTo>
                    <a:pt x="502" y="989"/>
                    <a:pt x="502" y="989"/>
                    <a:pt x="502" y="989"/>
                  </a:cubicBezTo>
                  <a:cubicBezTo>
                    <a:pt x="502" y="1056"/>
                    <a:pt x="469" y="1090"/>
                    <a:pt x="402" y="1090"/>
                  </a:cubicBezTo>
                  <a:cubicBezTo>
                    <a:pt x="100" y="1090"/>
                    <a:pt x="100" y="1090"/>
                    <a:pt x="100" y="1090"/>
                  </a:cubicBezTo>
                  <a:cubicBezTo>
                    <a:pt x="33" y="1090"/>
                    <a:pt x="0" y="1056"/>
                    <a:pt x="0" y="989"/>
                  </a:cubicBezTo>
                  <a:cubicBezTo>
                    <a:pt x="0" y="688"/>
                    <a:pt x="0" y="688"/>
                    <a:pt x="0" y="688"/>
                  </a:cubicBezTo>
                  <a:cubicBezTo>
                    <a:pt x="0" y="621"/>
                    <a:pt x="33" y="588"/>
                    <a:pt x="100" y="588"/>
                  </a:cubicBezTo>
                  <a:cubicBezTo>
                    <a:pt x="402" y="588"/>
                    <a:pt x="402" y="588"/>
                    <a:pt x="402" y="588"/>
                  </a:cubicBezTo>
                  <a:cubicBezTo>
                    <a:pt x="402" y="588"/>
                    <a:pt x="402" y="588"/>
                    <a:pt x="402" y="588"/>
                  </a:cubicBezTo>
                  <a:close/>
                  <a:moveTo>
                    <a:pt x="402" y="2"/>
                  </a:moveTo>
                  <a:cubicBezTo>
                    <a:pt x="402" y="2"/>
                    <a:pt x="402" y="2"/>
                    <a:pt x="402" y="2"/>
                  </a:cubicBezTo>
                  <a:cubicBezTo>
                    <a:pt x="100" y="2"/>
                    <a:pt x="100" y="2"/>
                    <a:pt x="100" y="2"/>
                  </a:cubicBezTo>
                  <a:cubicBezTo>
                    <a:pt x="33" y="2"/>
                    <a:pt x="0" y="36"/>
                    <a:pt x="0" y="103"/>
                  </a:cubicBezTo>
                  <a:cubicBezTo>
                    <a:pt x="0" y="103"/>
                    <a:pt x="0" y="103"/>
                    <a:pt x="0" y="403"/>
                  </a:cubicBezTo>
                  <a:cubicBezTo>
                    <a:pt x="0" y="471"/>
                    <a:pt x="33" y="504"/>
                    <a:pt x="100" y="504"/>
                  </a:cubicBezTo>
                  <a:cubicBezTo>
                    <a:pt x="100" y="504"/>
                    <a:pt x="100" y="504"/>
                    <a:pt x="402" y="504"/>
                  </a:cubicBezTo>
                  <a:cubicBezTo>
                    <a:pt x="469" y="504"/>
                    <a:pt x="502" y="471"/>
                    <a:pt x="502" y="403"/>
                  </a:cubicBezTo>
                  <a:cubicBezTo>
                    <a:pt x="502" y="403"/>
                    <a:pt x="502" y="403"/>
                    <a:pt x="502" y="103"/>
                  </a:cubicBezTo>
                  <a:cubicBezTo>
                    <a:pt x="502" y="36"/>
                    <a:pt x="469" y="2"/>
                    <a:pt x="402" y="2"/>
                  </a:cubicBezTo>
                  <a:close/>
                  <a:moveTo>
                    <a:pt x="966" y="0"/>
                  </a:moveTo>
                  <a:cubicBezTo>
                    <a:pt x="1048" y="0"/>
                    <a:pt x="1088" y="40"/>
                    <a:pt x="1088" y="121"/>
                  </a:cubicBezTo>
                  <a:cubicBezTo>
                    <a:pt x="1088" y="121"/>
                    <a:pt x="1088" y="121"/>
                    <a:pt x="1088" y="383"/>
                  </a:cubicBezTo>
                  <a:cubicBezTo>
                    <a:pt x="1088" y="464"/>
                    <a:pt x="1048" y="504"/>
                    <a:pt x="966" y="504"/>
                  </a:cubicBezTo>
                  <a:cubicBezTo>
                    <a:pt x="966" y="504"/>
                    <a:pt x="966" y="504"/>
                    <a:pt x="704" y="504"/>
                  </a:cubicBezTo>
                  <a:cubicBezTo>
                    <a:pt x="623" y="504"/>
                    <a:pt x="583" y="464"/>
                    <a:pt x="583" y="383"/>
                  </a:cubicBezTo>
                  <a:cubicBezTo>
                    <a:pt x="583" y="383"/>
                    <a:pt x="583" y="383"/>
                    <a:pt x="583" y="121"/>
                  </a:cubicBezTo>
                  <a:cubicBezTo>
                    <a:pt x="583" y="40"/>
                    <a:pt x="623" y="0"/>
                    <a:pt x="704" y="0"/>
                  </a:cubicBezTo>
                  <a:cubicBezTo>
                    <a:pt x="704" y="0"/>
                    <a:pt x="704" y="0"/>
                    <a:pt x="966" y="0"/>
                  </a:cubicBezTo>
                  <a:close/>
                  <a:moveTo>
                    <a:pt x="1020" y="383"/>
                  </a:moveTo>
                  <a:cubicBezTo>
                    <a:pt x="1020" y="383"/>
                    <a:pt x="1020" y="383"/>
                    <a:pt x="1020" y="383"/>
                  </a:cubicBezTo>
                  <a:cubicBezTo>
                    <a:pt x="1020" y="121"/>
                    <a:pt x="1020" y="121"/>
                    <a:pt x="1020" y="121"/>
                  </a:cubicBezTo>
                  <a:cubicBezTo>
                    <a:pt x="1020" y="85"/>
                    <a:pt x="1002" y="67"/>
                    <a:pt x="966" y="67"/>
                  </a:cubicBezTo>
                  <a:cubicBezTo>
                    <a:pt x="966" y="67"/>
                    <a:pt x="966" y="67"/>
                    <a:pt x="704" y="67"/>
                  </a:cubicBezTo>
                  <a:cubicBezTo>
                    <a:pt x="668" y="67"/>
                    <a:pt x="650" y="85"/>
                    <a:pt x="650" y="121"/>
                  </a:cubicBezTo>
                  <a:cubicBezTo>
                    <a:pt x="650" y="121"/>
                    <a:pt x="650" y="121"/>
                    <a:pt x="650" y="383"/>
                  </a:cubicBezTo>
                  <a:cubicBezTo>
                    <a:pt x="650" y="419"/>
                    <a:pt x="668" y="437"/>
                    <a:pt x="704" y="437"/>
                  </a:cubicBezTo>
                  <a:cubicBezTo>
                    <a:pt x="704" y="437"/>
                    <a:pt x="704" y="437"/>
                    <a:pt x="966" y="437"/>
                  </a:cubicBezTo>
                  <a:cubicBezTo>
                    <a:pt x="1002" y="437"/>
                    <a:pt x="1020" y="419"/>
                    <a:pt x="1020" y="383"/>
                  </a:cubicBezTo>
                  <a:close/>
                  <a:moveTo>
                    <a:pt x="584" y="688"/>
                  </a:moveTo>
                  <a:cubicBezTo>
                    <a:pt x="584" y="688"/>
                    <a:pt x="584" y="688"/>
                    <a:pt x="584" y="688"/>
                  </a:cubicBezTo>
                  <a:cubicBezTo>
                    <a:pt x="584" y="989"/>
                    <a:pt x="584" y="989"/>
                    <a:pt x="584" y="989"/>
                  </a:cubicBezTo>
                  <a:cubicBezTo>
                    <a:pt x="584" y="1056"/>
                    <a:pt x="619" y="1090"/>
                    <a:pt x="686" y="1090"/>
                  </a:cubicBezTo>
                  <a:cubicBezTo>
                    <a:pt x="686" y="1090"/>
                    <a:pt x="686" y="1090"/>
                    <a:pt x="987" y="1090"/>
                  </a:cubicBezTo>
                  <a:cubicBezTo>
                    <a:pt x="1054" y="1090"/>
                    <a:pt x="1088" y="1056"/>
                    <a:pt x="1088" y="989"/>
                  </a:cubicBezTo>
                  <a:cubicBezTo>
                    <a:pt x="1088" y="989"/>
                    <a:pt x="1088" y="989"/>
                    <a:pt x="1088" y="688"/>
                  </a:cubicBezTo>
                  <a:cubicBezTo>
                    <a:pt x="1088" y="621"/>
                    <a:pt x="1054" y="588"/>
                    <a:pt x="987" y="588"/>
                  </a:cubicBezTo>
                  <a:cubicBezTo>
                    <a:pt x="987" y="588"/>
                    <a:pt x="987" y="588"/>
                    <a:pt x="686" y="588"/>
                  </a:cubicBezTo>
                  <a:cubicBezTo>
                    <a:pt x="619" y="588"/>
                    <a:pt x="584" y="621"/>
                    <a:pt x="584" y="688"/>
                  </a:cubicBezTo>
                  <a:close/>
                </a:path>
              </a:pathLst>
            </a:custGeom>
            <a:solidFill>
              <a:srgbClr val="EDC30D"/>
            </a:solidFill>
            <a:ln>
              <a:noFill/>
            </a:ln>
          </p:spPr>
          <p:txBody>
            <a:bodyPr vert="horz" wrap="square" lIns="68574" tIns="34287" rIns="68574" bIns="34287" numCol="1" anchor="t" anchorCtr="0" compatLnSpc="1">
              <a:prstTxWarp prst="textNoShape">
                <a:avLst/>
              </a:prstTxWarp>
            </a:bodyPr>
            <a:lstStyle/>
            <a:p>
              <a:endParaRPr lang="en-US" sz="1350" dirty="0">
                <a:solidFill>
                  <a:srgbClr val="000000"/>
                </a:solidFill>
              </a:endParaRPr>
            </a:p>
          </p:txBody>
        </p:sp>
      </p:grpSp>
      <p:grpSp>
        <p:nvGrpSpPr>
          <p:cNvPr id="101" name="Group 100"/>
          <p:cNvGrpSpPr/>
          <p:nvPr/>
        </p:nvGrpSpPr>
        <p:grpSpPr>
          <a:xfrm>
            <a:off x="4305373" y="1840773"/>
            <a:ext cx="1087784" cy="290409"/>
            <a:chOff x="4306193" y="2634382"/>
            <a:chExt cx="1087784" cy="290409"/>
          </a:xfrm>
        </p:grpSpPr>
        <p:sp>
          <p:nvSpPr>
            <p:cNvPr id="102" name="Freeform 101"/>
            <p:cNvSpPr>
              <a:spLocks noChangeAspect="1"/>
            </p:cNvSpPr>
            <p:nvPr/>
          </p:nvSpPr>
          <p:spPr bwMode="black">
            <a:xfrm>
              <a:off x="4306193" y="2634382"/>
              <a:ext cx="274320" cy="290409"/>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1177" tIns="56942" rIns="71177" bIns="56942"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362895" fontAlgn="base">
                <a:lnSpc>
                  <a:spcPct val="90000"/>
                </a:lnSpc>
                <a:spcBef>
                  <a:spcPct val="0"/>
                </a:spcBef>
                <a:spcAft>
                  <a:spcPct val="0"/>
                </a:spcAft>
              </a:pPr>
              <a:endParaRPr lang="en-US" sz="934" dirty="0">
                <a:gradFill>
                  <a:gsLst>
                    <a:gs pos="0">
                      <a:srgbClr val="FFFFFF"/>
                    </a:gs>
                    <a:gs pos="100000">
                      <a:srgbClr val="FFFFFF"/>
                    </a:gs>
                  </a:gsLst>
                  <a:lin ang="5400000" scaled="0"/>
                </a:gradFill>
                <a:ea typeface="Segoe UI" pitchFamily="34" charset="0"/>
                <a:cs typeface="Segoe UI" pitchFamily="34" charset="0"/>
              </a:endParaRPr>
            </a:p>
          </p:txBody>
        </p:sp>
        <p:sp>
          <p:nvSpPr>
            <p:cNvPr id="103" name="TextBox 293"/>
            <p:cNvSpPr txBox="1"/>
            <p:nvPr/>
          </p:nvSpPr>
          <p:spPr>
            <a:xfrm>
              <a:off x="4675832" y="2664610"/>
              <a:ext cx="718145"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zh-TW" altLang="en-US" sz="1400" dirty="0">
                  <a:solidFill>
                    <a:srgbClr val="000000"/>
                  </a:solidFill>
                  <a:ea typeface="Segoe UI" pitchFamily="34" charset="0"/>
                  <a:cs typeface="Segoe UI" pitchFamily="34" charset="0"/>
                </a:rPr>
                <a:t>內容套件</a:t>
              </a:r>
              <a:endParaRPr lang="en-US" sz="1400" dirty="0">
                <a:solidFill>
                  <a:srgbClr val="000000"/>
                </a:solidFill>
                <a:ea typeface="Segoe UI" pitchFamily="34" charset="0"/>
                <a:cs typeface="Segoe UI" pitchFamily="34" charset="0"/>
              </a:endParaRPr>
            </a:p>
          </p:txBody>
        </p:sp>
      </p:grpSp>
      <p:sp>
        <p:nvSpPr>
          <p:cNvPr id="104" name="Left Bracket 103"/>
          <p:cNvSpPr/>
          <p:nvPr/>
        </p:nvSpPr>
        <p:spPr>
          <a:xfrm>
            <a:off x="4132939" y="2017790"/>
            <a:ext cx="170037" cy="2994038"/>
          </a:xfrm>
          <a:prstGeom prst="leftBracket">
            <a:avLst/>
          </a:prstGeom>
          <a:noFill/>
          <a:ln w="28575">
            <a:solidFill>
              <a:srgbClr val="EDC30D"/>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000000"/>
              </a:solidFill>
            </a:endParaRPr>
          </a:p>
        </p:txBody>
      </p:sp>
      <p:grpSp>
        <p:nvGrpSpPr>
          <p:cNvPr id="105" name="Group 104"/>
          <p:cNvGrpSpPr/>
          <p:nvPr/>
        </p:nvGrpSpPr>
        <p:grpSpPr>
          <a:xfrm>
            <a:off x="9010981" y="1865110"/>
            <a:ext cx="1267574" cy="274320"/>
            <a:chOff x="9011801" y="2831439"/>
            <a:chExt cx="1267574" cy="274320"/>
          </a:xfrm>
        </p:grpSpPr>
        <p:sp>
          <p:nvSpPr>
            <p:cNvPr id="106" name="TextBox 293"/>
            <p:cNvSpPr txBox="1"/>
            <p:nvPr/>
          </p:nvSpPr>
          <p:spPr>
            <a:xfrm>
              <a:off x="9381693" y="2847432"/>
              <a:ext cx="897682"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zh-TW" altLang="en-US" sz="1400" dirty="0">
                  <a:solidFill>
                    <a:srgbClr val="000000"/>
                  </a:solidFill>
                  <a:ea typeface="Segoe UI" pitchFamily="34" charset="0"/>
                  <a:cs typeface="Segoe UI" pitchFamily="34" charset="0"/>
                </a:rPr>
                <a:t>分享與協作</a:t>
              </a:r>
              <a:endParaRPr lang="en-US" sz="1400" dirty="0">
                <a:solidFill>
                  <a:srgbClr val="000000"/>
                </a:solidFill>
                <a:ea typeface="Segoe UI" pitchFamily="34" charset="0"/>
                <a:cs typeface="Segoe UI" pitchFamily="34" charset="0"/>
              </a:endParaRPr>
            </a:p>
          </p:txBody>
        </p:sp>
        <p:sp>
          <p:nvSpPr>
            <p:cNvPr id="107" name="Freeform 106"/>
            <p:cNvSpPr>
              <a:spLocks noChangeAspect="1"/>
            </p:cNvSpPr>
            <p:nvPr/>
          </p:nvSpPr>
          <p:spPr bwMode="black">
            <a:xfrm>
              <a:off x="9011801" y="2831439"/>
              <a:ext cx="312642" cy="274320"/>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rgbClr val="EDC30D"/>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8" name="Group 107"/>
          <p:cNvGrpSpPr/>
          <p:nvPr/>
        </p:nvGrpSpPr>
        <p:grpSpPr>
          <a:xfrm>
            <a:off x="6395147" y="1868690"/>
            <a:ext cx="1425472" cy="232779"/>
            <a:chOff x="6395967" y="2662299"/>
            <a:chExt cx="1425472" cy="232779"/>
          </a:xfrm>
        </p:grpSpPr>
        <p:sp>
          <p:nvSpPr>
            <p:cNvPr id="109" name="TextBox 293"/>
            <p:cNvSpPr txBox="1"/>
            <p:nvPr/>
          </p:nvSpPr>
          <p:spPr>
            <a:xfrm>
              <a:off x="6744221" y="2679634"/>
              <a:ext cx="1077218"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zh-TW" altLang="en-US" sz="1400" dirty="0">
                  <a:solidFill>
                    <a:srgbClr val="000000"/>
                  </a:solidFill>
                  <a:ea typeface="Segoe UI" pitchFamily="34" charset="0"/>
                  <a:cs typeface="Segoe UI" pitchFamily="34" charset="0"/>
                </a:rPr>
                <a:t>自然語言查詢</a:t>
              </a:r>
              <a:endParaRPr lang="en-US" sz="1400" dirty="0">
                <a:solidFill>
                  <a:srgbClr val="000000"/>
                </a:solidFill>
                <a:ea typeface="Segoe UI" pitchFamily="34" charset="0"/>
                <a:cs typeface="Segoe UI" pitchFamily="34" charset="0"/>
              </a:endParaRPr>
            </a:p>
          </p:txBody>
        </p:sp>
        <p:sp>
          <p:nvSpPr>
            <p:cNvPr id="110" name="Oval Callout 109"/>
            <p:cNvSpPr/>
            <p:nvPr/>
          </p:nvSpPr>
          <p:spPr bwMode="auto">
            <a:xfrm>
              <a:off x="6395967" y="2662299"/>
              <a:ext cx="274320" cy="228600"/>
            </a:xfrm>
            <a:prstGeom prst="wedgeEllipseCallout">
              <a:avLst>
                <a:gd name="adj1" fmla="val -59325"/>
                <a:gd name="adj2" fmla="val 71225"/>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800" b="1" dirty="0">
                <a:solidFill>
                  <a:srgbClr val="000000"/>
                </a:solidFill>
                <a:ea typeface="Segoe UI" pitchFamily="34" charset="0"/>
                <a:cs typeface="Segoe UI" pitchFamily="34" charset="0"/>
              </a:endParaRPr>
            </a:p>
          </p:txBody>
        </p:sp>
      </p:grpSp>
      <p:grpSp>
        <p:nvGrpSpPr>
          <p:cNvPr id="111" name="Group 110"/>
          <p:cNvGrpSpPr/>
          <p:nvPr/>
        </p:nvGrpSpPr>
        <p:grpSpPr>
          <a:xfrm>
            <a:off x="4305373" y="3571065"/>
            <a:ext cx="728712" cy="311845"/>
            <a:chOff x="4306193" y="4364674"/>
            <a:chExt cx="728712" cy="311845"/>
          </a:xfrm>
        </p:grpSpPr>
        <p:sp>
          <p:nvSpPr>
            <p:cNvPr id="112" name="TextBox 293"/>
            <p:cNvSpPr txBox="1"/>
            <p:nvPr/>
          </p:nvSpPr>
          <p:spPr>
            <a:xfrm>
              <a:off x="4675832" y="4391568"/>
              <a:ext cx="359073"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zh-TW" altLang="en-US" sz="1400" dirty="0">
                  <a:solidFill>
                    <a:srgbClr val="000000"/>
                  </a:solidFill>
                  <a:ea typeface="Segoe UI" pitchFamily="34" charset="0"/>
                  <a:cs typeface="Segoe UI" pitchFamily="34" charset="0"/>
                </a:rPr>
                <a:t>報表</a:t>
              </a:r>
              <a:endParaRPr lang="en-US" sz="1200" dirty="0">
                <a:solidFill>
                  <a:srgbClr val="000000"/>
                </a:solidFill>
                <a:ea typeface="Segoe UI" pitchFamily="34" charset="0"/>
                <a:cs typeface="Segoe UI" pitchFamily="34" charset="0"/>
              </a:endParaRPr>
            </a:p>
          </p:txBody>
        </p:sp>
        <p:sp>
          <p:nvSpPr>
            <p:cNvPr id="113" name="Flowchart: Document 112"/>
            <p:cNvSpPr/>
            <p:nvPr/>
          </p:nvSpPr>
          <p:spPr bwMode="auto">
            <a:xfrm>
              <a:off x="4306193" y="4364674"/>
              <a:ext cx="274320" cy="311845"/>
            </a:xfrm>
            <a:prstGeom prst="flowChartDocument">
              <a:avLst/>
            </a:prstGeom>
            <a:noFill/>
            <a:ln w="28575">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14" name="Group 113"/>
          <p:cNvGrpSpPr/>
          <p:nvPr/>
        </p:nvGrpSpPr>
        <p:grpSpPr>
          <a:xfrm>
            <a:off x="3978610" y="3977909"/>
            <a:ext cx="1235011" cy="572464"/>
            <a:chOff x="3979430" y="4771518"/>
            <a:chExt cx="1235011" cy="572464"/>
          </a:xfrm>
        </p:grpSpPr>
        <p:sp>
          <p:nvSpPr>
            <p:cNvPr id="115" name="TextBox 293"/>
            <p:cNvSpPr txBox="1"/>
            <p:nvPr/>
          </p:nvSpPr>
          <p:spPr>
            <a:xfrm>
              <a:off x="4675832" y="4921262"/>
              <a:ext cx="538609"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zh-TW" altLang="en-US" sz="1400" dirty="0">
                  <a:solidFill>
                    <a:srgbClr val="000000"/>
                  </a:solidFill>
                  <a:ea typeface="Segoe UI" pitchFamily="34" charset="0"/>
                  <a:cs typeface="Segoe UI" pitchFamily="34" charset="0"/>
                </a:rPr>
                <a:t>資料集</a:t>
              </a:r>
              <a:endParaRPr lang="en-US" sz="1400" dirty="0">
                <a:solidFill>
                  <a:srgbClr val="000000"/>
                </a:solidFill>
                <a:ea typeface="Segoe UI" pitchFamily="34" charset="0"/>
                <a:cs typeface="Segoe UI" pitchFamily="34" charset="0"/>
              </a:endParaRPr>
            </a:p>
          </p:txBody>
        </p:sp>
        <p:sp>
          <p:nvSpPr>
            <p:cNvPr id="116" name="TextBox 115"/>
            <p:cNvSpPr txBox="1"/>
            <p:nvPr/>
          </p:nvSpPr>
          <p:spPr>
            <a:xfrm>
              <a:off x="3979430" y="4771518"/>
              <a:ext cx="927847" cy="572464"/>
            </a:xfrm>
            <a:prstGeom prst="rect">
              <a:avLst/>
            </a:prstGeom>
            <a:noFill/>
          </p:spPr>
          <p:txBody>
            <a:bodyPr wrap="square" lIns="182880" tIns="146304" rIns="182880" bIns="146304" rtlCol="0">
              <a:spAutoFit/>
            </a:bodyPr>
            <a:lstStyle/>
            <a:p>
              <a:pPr algn="ctr"/>
              <a:r>
                <a:rPr lang="en-US" sz="900" b="1" dirty="0">
                  <a:solidFill>
                    <a:srgbClr val="F2C812"/>
                  </a:solidFill>
                </a:rPr>
                <a:t>01001</a:t>
              </a:r>
            </a:p>
            <a:p>
              <a:pPr algn="ctr"/>
              <a:r>
                <a:rPr lang="en-US" sz="900" b="1" dirty="0">
                  <a:solidFill>
                    <a:srgbClr val="F2C812"/>
                  </a:solidFill>
                </a:rPr>
                <a:t>10101</a:t>
              </a:r>
            </a:p>
          </p:txBody>
        </p:sp>
      </p:grpSp>
      <p:grpSp>
        <p:nvGrpSpPr>
          <p:cNvPr id="117" name="Group 116"/>
          <p:cNvGrpSpPr/>
          <p:nvPr/>
        </p:nvGrpSpPr>
        <p:grpSpPr>
          <a:xfrm>
            <a:off x="6090065" y="2359348"/>
            <a:ext cx="5059237" cy="2459479"/>
            <a:chOff x="7018864" y="2257415"/>
            <a:chExt cx="5059237" cy="2459479"/>
          </a:xfrm>
        </p:grpSpPr>
        <p:grpSp>
          <p:nvGrpSpPr>
            <p:cNvPr id="118" name="Group 117"/>
            <p:cNvGrpSpPr/>
            <p:nvPr/>
          </p:nvGrpSpPr>
          <p:grpSpPr>
            <a:xfrm>
              <a:off x="7018864" y="2257415"/>
              <a:ext cx="5059237" cy="2459479"/>
              <a:chOff x="7018864" y="2257415"/>
              <a:chExt cx="5059237" cy="2459479"/>
            </a:xfrm>
          </p:grpSpPr>
          <p:grpSp>
            <p:nvGrpSpPr>
              <p:cNvPr id="120" name="Group 119"/>
              <p:cNvGrpSpPr>
                <a:grpSpLocks noChangeAspect="1"/>
              </p:cNvGrpSpPr>
              <p:nvPr/>
            </p:nvGrpSpPr>
            <p:grpSpPr>
              <a:xfrm>
                <a:off x="10432181" y="2257415"/>
                <a:ext cx="548640" cy="1042085"/>
                <a:chOff x="10286449" y="1529656"/>
                <a:chExt cx="917410" cy="1742525"/>
              </a:xfrm>
            </p:grpSpPr>
            <p:sp>
              <p:nvSpPr>
                <p:cNvPr id="131" name="Rounded Rectangle 130"/>
                <p:cNvSpPr/>
                <p:nvPr/>
              </p:nvSpPr>
              <p:spPr bwMode="auto">
                <a:xfrm>
                  <a:off x="10493458" y="1529656"/>
                  <a:ext cx="489183" cy="1739862"/>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132" name="Picture 131"/>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10372236" y="1690687"/>
                  <a:ext cx="745838" cy="1344992"/>
                </a:xfrm>
                <a:prstGeom prst="rect">
                  <a:avLst/>
                </a:prstGeom>
                <a:noFill/>
                <a:ln>
                  <a:noFill/>
                </a:ln>
              </p:spPr>
            </p:pic>
            <p:pic>
              <p:nvPicPr>
                <p:cNvPr id="133" name="Picture 132"/>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10372230" y="1818052"/>
                  <a:ext cx="745838" cy="1112933"/>
                </a:xfrm>
                <a:prstGeom prst="rect">
                  <a:avLst/>
                </a:prstGeom>
              </p:spPr>
            </p:pic>
            <p:sp>
              <p:nvSpPr>
                <p:cNvPr id="134" name="Rounded Rectangle 223"/>
                <p:cNvSpPr/>
                <p:nvPr/>
              </p:nvSpPr>
              <p:spPr bwMode="auto">
                <a:xfrm>
                  <a:off x="10286449" y="1529656"/>
                  <a:ext cx="917410" cy="1742525"/>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800" spc="-49" dirty="0">
                    <a:solidFill>
                      <a:srgbClr val="68217A"/>
                    </a:solidFill>
                    <a:ea typeface="Segoe UI" pitchFamily="34" charset="0"/>
                    <a:cs typeface="Segoe UI" pitchFamily="34" charset="0"/>
                  </a:endParaRPr>
                </a:p>
              </p:txBody>
            </p:sp>
          </p:grpSp>
          <p:sp>
            <p:nvSpPr>
              <p:cNvPr id="121" name="Freeform 1383"/>
              <p:cNvSpPr>
                <a:spLocks noChangeAspect="1" noEditPoints="1"/>
              </p:cNvSpPr>
              <p:nvPr/>
            </p:nvSpPr>
            <p:spPr bwMode="auto">
              <a:xfrm>
                <a:off x="7018864" y="2534980"/>
                <a:ext cx="3840480" cy="2181914"/>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chemeClr val="accent3">
                  <a:lumMod val="50000"/>
                </a:schemeClr>
              </a:solidFill>
              <a:ln w="9525">
                <a:solidFill>
                  <a:schemeClr val="bg1"/>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600" dirty="0">
                  <a:solidFill>
                    <a:srgbClr val="000000"/>
                  </a:solidFill>
                </a:endParaRPr>
              </a:p>
            </p:txBody>
          </p:sp>
          <p:grpSp>
            <p:nvGrpSpPr>
              <p:cNvPr id="122" name="Group 121"/>
              <p:cNvGrpSpPr>
                <a:grpSpLocks noChangeAspect="1"/>
              </p:cNvGrpSpPr>
              <p:nvPr/>
            </p:nvGrpSpPr>
            <p:grpSpPr>
              <a:xfrm>
                <a:off x="10432181" y="3352369"/>
                <a:ext cx="1645920" cy="1132186"/>
                <a:chOff x="1117586" y="1978512"/>
                <a:chExt cx="2372574" cy="1629558"/>
              </a:xfrm>
            </p:grpSpPr>
            <p:pic>
              <p:nvPicPr>
                <p:cNvPr id="123" name="Picture 122"/>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1309718" y="2130700"/>
                  <a:ext cx="1845671" cy="1326874"/>
                </a:xfrm>
                <a:prstGeom prst="rect">
                  <a:avLst/>
                </a:prstGeom>
                <a:noFill/>
                <a:ln>
                  <a:noFill/>
                </a:ln>
              </p:spPr>
            </p:pic>
            <p:grpSp>
              <p:nvGrpSpPr>
                <p:cNvPr id="124" name="Group 123"/>
                <p:cNvGrpSpPr/>
                <p:nvPr/>
              </p:nvGrpSpPr>
              <p:grpSpPr>
                <a:xfrm>
                  <a:off x="1307936" y="2212479"/>
                  <a:ext cx="1844519" cy="1136088"/>
                  <a:chOff x="1276066" y="3677905"/>
                  <a:chExt cx="2524835" cy="1555113"/>
                </a:xfrm>
              </p:grpSpPr>
              <p:pic>
                <p:nvPicPr>
                  <p:cNvPr id="129" name="Picture 128"/>
                  <p:cNvPicPr>
                    <a:picLocks noChangeAspect="1"/>
                  </p:cNvPicPr>
                  <p:nvPr/>
                </p:nvPicPr>
                <p:blipFill rotWithShape="1">
                  <a:blip r:embed="rId11" cstate="print">
                    <a:extLst>
                      <a:ext uri="{28A0092B-C50C-407E-A947-70E740481C1C}">
                        <a14:useLocalDpi xmlns:a14="http://schemas.microsoft.com/office/drawing/2010/main" val="0"/>
                      </a:ext>
                    </a:extLst>
                  </a:blip>
                  <a:srcRect/>
                  <a:stretch/>
                </p:blipFill>
                <p:spPr>
                  <a:xfrm>
                    <a:off x="1276066" y="3677905"/>
                    <a:ext cx="2524835" cy="1555113"/>
                  </a:xfrm>
                  <a:prstGeom prst="rect">
                    <a:avLst/>
                  </a:prstGeom>
                </p:spPr>
              </p:pic>
              <p:pic>
                <p:nvPicPr>
                  <p:cNvPr id="130" name="Picture 129"/>
                  <p:cNvPicPr>
                    <a:picLocks noChangeAspect="1"/>
                  </p:cNvPicPr>
                  <p:nvPr/>
                </p:nvPicPr>
                <p:blipFill rotWithShape="1">
                  <a:blip r:embed="rId12" cstate="print">
                    <a:extLst>
                      <a:ext uri="{28A0092B-C50C-407E-A947-70E740481C1C}">
                        <a14:useLocalDpi xmlns:a14="http://schemas.microsoft.com/office/drawing/2010/main" val="0"/>
                      </a:ext>
                    </a:extLst>
                  </a:blip>
                  <a:srcRect/>
                  <a:stretch/>
                </p:blipFill>
                <p:spPr>
                  <a:xfrm>
                    <a:off x="2524585" y="4449793"/>
                    <a:ext cx="1269242" cy="783225"/>
                  </a:xfrm>
                  <a:prstGeom prst="rect">
                    <a:avLst/>
                  </a:prstGeom>
                </p:spPr>
              </p:pic>
            </p:grpSp>
            <p:grpSp>
              <p:nvGrpSpPr>
                <p:cNvPr id="125" name="Group 124"/>
                <p:cNvGrpSpPr/>
                <p:nvPr/>
              </p:nvGrpSpPr>
              <p:grpSpPr>
                <a:xfrm>
                  <a:off x="1117586" y="1978512"/>
                  <a:ext cx="2372574" cy="1629558"/>
                  <a:chOff x="1117586" y="1978512"/>
                  <a:chExt cx="2372574" cy="1629558"/>
                </a:xfrm>
              </p:grpSpPr>
              <p:sp>
                <p:nvSpPr>
                  <p:cNvPr id="126" name="Rounded Rectangle 89"/>
                  <p:cNvSpPr>
                    <a:spLocks noChangeAspect="1"/>
                  </p:cNvSpPr>
                  <p:nvPr/>
                </p:nvSpPr>
                <p:spPr bwMode="auto">
                  <a:xfrm rot="16200000">
                    <a:off x="1489094" y="1607004"/>
                    <a:ext cx="1629558" cy="2372574"/>
                  </a:xfrm>
                  <a:custGeom>
                    <a:avLst/>
                    <a:gdLst/>
                    <a:ahLst/>
                    <a:cxnLst/>
                    <a:rect l="l" t="t" r="r" b="b"/>
                    <a:pathLst>
                      <a:path w="3265981" h="3654426">
                        <a:moveTo>
                          <a:pt x="2686301" y="3311991"/>
                        </a:moveTo>
                        <a:cubicBezTo>
                          <a:pt x="2647724" y="3311991"/>
                          <a:pt x="2616451" y="3343264"/>
                          <a:pt x="2616451" y="3381841"/>
                        </a:cubicBezTo>
                        <a:cubicBezTo>
                          <a:pt x="2616451" y="3420417"/>
                          <a:pt x="2647724" y="3451690"/>
                          <a:pt x="2686301" y="3451690"/>
                        </a:cubicBezTo>
                        <a:lnTo>
                          <a:pt x="2698749" y="3451691"/>
                        </a:lnTo>
                        <a:cubicBezTo>
                          <a:pt x="2737326" y="3451691"/>
                          <a:pt x="2768599" y="3420418"/>
                          <a:pt x="2768599" y="3381841"/>
                        </a:cubicBezTo>
                        <a:lnTo>
                          <a:pt x="2768600" y="3381841"/>
                        </a:lnTo>
                        <a:cubicBezTo>
                          <a:pt x="2768600" y="3343264"/>
                          <a:pt x="2737327" y="3311991"/>
                          <a:pt x="2698750" y="3311991"/>
                        </a:cubicBezTo>
                        <a:close/>
                        <a:moveTo>
                          <a:pt x="2477370" y="3311991"/>
                        </a:moveTo>
                        <a:cubicBezTo>
                          <a:pt x="2438793" y="3311991"/>
                          <a:pt x="2407520" y="3343264"/>
                          <a:pt x="2407520" y="3381841"/>
                        </a:cubicBezTo>
                        <a:cubicBezTo>
                          <a:pt x="2407520" y="3420417"/>
                          <a:pt x="2438793" y="3451690"/>
                          <a:pt x="2477370" y="3451690"/>
                        </a:cubicBezTo>
                        <a:lnTo>
                          <a:pt x="2490960" y="3451691"/>
                        </a:lnTo>
                        <a:cubicBezTo>
                          <a:pt x="2529537" y="3451691"/>
                          <a:pt x="2560810" y="3420418"/>
                          <a:pt x="2560810" y="3381841"/>
                        </a:cubicBezTo>
                        <a:lnTo>
                          <a:pt x="2560811" y="3381841"/>
                        </a:lnTo>
                        <a:cubicBezTo>
                          <a:pt x="2560811" y="3343264"/>
                          <a:pt x="2529538" y="3311991"/>
                          <a:pt x="2490961" y="3311991"/>
                        </a:cubicBezTo>
                        <a:close/>
                        <a:moveTo>
                          <a:pt x="1951037" y="3311991"/>
                        </a:moveTo>
                        <a:cubicBezTo>
                          <a:pt x="1912460" y="3311991"/>
                          <a:pt x="1881187" y="3343264"/>
                          <a:pt x="1881187" y="3381841"/>
                        </a:cubicBezTo>
                        <a:cubicBezTo>
                          <a:pt x="1881187" y="3420417"/>
                          <a:pt x="1912460" y="3451690"/>
                          <a:pt x="1951037" y="3451690"/>
                        </a:cubicBezTo>
                        <a:lnTo>
                          <a:pt x="2282030" y="3451691"/>
                        </a:lnTo>
                        <a:cubicBezTo>
                          <a:pt x="2320607" y="3451691"/>
                          <a:pt x="2351880" y="3420418"/>
                          <a:pt x="2351880" y="3381841"/>
                        </a:cubicBezTo>
                        <a:lnTo>
                          <a:pt x="2351881" y="3381841"/>
                        </a:lnTo>
                        <a:cubicBezTo>
                          <a:pt x="2351881" y="3343264"/>
                          <a:pt x="2320608" y="3311991"/>
                          <a:pt x="2282031" y="3311991"/>
                        </a:cubicBezTo>
                        <a:close/>
                        <a:moveTo>
                          <a:pt x="299489" y="299430"/>
                        </a:moveTo>
                        <a:lnTo>
                          <a:pt x="299489" y="3141056"/>
                        </a:lnTo>
                        <a:lnTo>
                          <a:pt x="2966489" y="3141056"/>
                        </a:lnTo>
                        <a:lnTo>
                          <a:pt x="2966489" y="299430"/>
                        </a:lnTo>
                        <a:close/>
                        <a:moveTo>
                          <a:pt x="134787" y="0"/>
                        </a:moveTo>
                        <a:lnTo>
                          <a:pt x="3131194" y="0"/>
                        </a:lnTo>
                        <a:cubicBezTo>
                          <a:pt x="3205635" y="0"/>
                          <a:pt x="3265981" y="60346"/>
                          <a:pt x="3265981" y="134787"/>
                        </a:cubicBezTo>
                        <a:lnTo>
                          <a:pt x="3265981" y="3519639"/>
                        </a:lnTo>
                        <a:cubicBezTo>
                          <a:pt x="3265981" y="3594080"/>
                          <a:pt x="3205635" y="3654426"/>
                          <a:pt x="3131194" y="3654426"/>
                        </a:cubicBezTo>
                        <a:lnTo>
                          <a:pt x="134787" y="3654426"/>
                        </a:lnTo>
                        <a:cubicBezTo>
                          <a:pt x="60346" y="3654426"/>
                          <a:pt x="0" y="3594080"/>
                          <a:pt x="0" y="3519639"/>
                        </a:cubicBezTo>
                        <a:lnTo>
                          <a:pt x="0" y="134787"/>
                        </a:lnTo>
                        <a:cubicBezTo>
                          <a:pt x="0" y="60346"/>
                          <a:pt x="60346" y="0"/>
                          <a:pt x="134787"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800" spc="-49" dirty="0">
                      <a:solidFill>
                        <a:srgbClr val="68217A"/>
                      </a:solidFill>
                      <a:ea typeface="Segoe UI" pitchFamily="34" charset="0"/>
                      <a:cs typeface="Segoe UI" pitchFamily="34" charset="0"/>
                    </a:endParaRPr>
                  </a:p>
                </p:txBody>
              </p:sp>
              <p:sp>
                <p:nvSpPr>
                  <p:cNvPr id="127" name="Rectangle 126"/>
                  <p:cNvSpPr/>
                  <p:nvPr/>
                </p:nvSpPr>
                <p:spPr bwMode="auto">
                  <a:xfrm>
                    <a:off x="3172854" y="2198842"/>
                    <a:ext cx="307998" cy="808750"/>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128" name="Picture 127"/>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3229523" y="2739186"/>
                    <a:ext cx="195334" cy="108208"/>
                  </a:xfrm>
                  <a:prstGeom prst="rect">
                    <a:avLst/>
                  </a:prstGeom>
                </p:spPr>
              </p:pic>
            </p:grpSp>
          </p:grpSp>
        </p:grpSp>
        <p:pic>
          <p:nvPicPr>
            <p:cNvPr id="119" name="Picture 118"/>
            <p:cNvPicPr>
              <a:picLocks noChangeAspect="1"/>
            </p:cNvPicPr>
            <p:nvPr/>
          </p:nvPicPr>
          <p:blipFill>
            <a:blip r:embed="rId14"/>
            <a:stretch>
              <a:fillRect/>
            </a:stretch>
          </p:blipFill>
          <p:spPr>
            <a:xfrm>
              <a:off x="7626151" y="2638675"/>
              <a:ext cx="2647950" cy="1733550"/>
            </a:xfrm>
            <a:prstGeom prst="rect">
              <a:avLst/>
            </a:prstGeom>
          </p:spPr>
        </p:pic>
      </p:grpSp>
    </p:spTree>
    <p:extLst>
      <p:ext uri="{BB962C8B-B14F-4D97-AF65-F5344CB8AC3E}">
        <p14:creationId xmlns:p14="http://schemas.microsoft.com/office/powerpoint/2010/main" val="1638832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p:cNvSpPr>
            <a:spLocks noGrp="1"/>
          </p:cNvSpPr>
          <p:nvPr>
            <p:ph type="title"/>
          </p:nvPr>
        </p:nvSpPr>
        <p:spPr/>
        <p:txBody>
          <a:bodyPr/>
          <a:lstStyle/>
          <a:p>
            <a:r>
              <a:rPr lang="zh-TW" altLang="en-US" dirty="0"/>
              <a:t>輕鬆嵌入視覺化圖表</a:t>
            </a:r>
          </a:p>
        </p:txBody>
      </p:sp>
      <p:sp>
        <p:nvSpPr>
          <p:cNvPr id="5" name="內容版面配置區 4"/>
          <p:cNvSpPr>
            <a:spLocks noGrp="1"/>
          </p:cNvSpPr>
          <p:nvPr>
            <p:ph sz="quarter" idx="10"/>
          </p:nvPr>
        </p:nvSpPr>
        <p:spPr/>
        <p:txBody>
          <a:bodyPr/>
          <a:lstStyle/>
          <a:p>
            <a:r>
              <a:rPr lang="zh-TW" altLang="en-US" dirty="0"/>
              <a:t>適用於任何裝置、迅速提升價值</a:t>
            </a:r>
          </a:p>
        </p:txBody>
      </p:sp>
      <p:sp>
        <p:nvSpPr>
          <p:cNvPr id="6" name="文字版面配置區 5"/>
          <p:cNvSpPr>
            <a:spLocks noGrp="1"/>
          </p:cNvSpPr>
          <p:nvPr>
            <p:ph type="body" sz="quarter" idx="11"/>
          </p:nvPr>
        </p:nvSpPr>
        <p:spPr/>
        <p:txBody>
          <a:bodyPr>
            <a:normAutofit/>
          </a:bodyPr>
          <a:lstStyle/>
          <a:p>
            <a:pPr marL="571500" indent="-571500">
              <a:buFont typeface="Arial" panose="020B0604020202020204" pitchFamily="34" charset="0"/>
              <a:buChar char="•"/>
            </a:pPr>
            <a:r>
              <a:rPr lang="zh-TW" altLang="en-US" dirty="0"/>
              <a:t>輕鬆在您的應用程式中，透過 </a:t>
            </a:r>
            <a:r>
              <a:rPr lang="en-US" altLang="zh-TW" dirty="0"/>
              <a:t>REST APIs </a:t>
            </a:r>
            <a:r>
              <a:rPr lang="zh-TW" altLang="en-US" dirty="0"/>
              <a:t>以及 </a:t>
            </a:r>
            <a:r>
              <a:rPr lang="en-US" altLang="zh-TW" dirty="0"/>
              <a:t>Power BI SDK </a:t>
            </a:r>
            <a:r>
              <a:rPr lang="zh-TW" altLang="en-US" dirty="0"/>
              <a:t>內嵌互動式視覺化圖表</a:t>
            </a:r>
            <a:endParaRPr lang="en-US" altLang="zh-TW" dirty="0"/>
          </a:p>
          <a:p>
            <a:pPr marL="571500" indent="-571500">
              <a:buFont typeface="Arial" panose="020B0604020202020204" pitchFamily="34" charset="0"/>
              <a:buChar char="•"/>
            </a:pPr>
            <a:r>
              <a:rPr lang="zh-TW" altLang="en-US" dirty="0"/>
              <a:t>確保在跨裝置間一致性、不失真的資料體驗</a:t>
            </a:r>
            <a:endParaRPr lang="en-US" altLang="zh-TW" dirty="0"/>
          </a:p>
          <a:p>
            <a:pPr marL="571500" indent="-571500">
              <a:buFont typeface="Arial" panose="020B0604020202020204" pitchFamily="34" charset="0"/>
              <a:buChar char="•"/>
            </a:pPr>
            <a:r>
              <a:rPr lang="zh-TW" altLang="en-US" dirty="0"/>
              <a:t>提供順暢的身份驗證與授權流程</a:t>
            </a:r>
            <a:endParaRPr lang="en-US" altLang="zh-TW" dirty="0"/>
          </a:p>
          <a:p>
            <a:pPr marL="571500" indent="-571500">
              <a:buFont typeface="Arial" panose="020B0604020202020204" pitchFamily="34" charset="0"/>
              <a:buChar char="•"/>
            </a:pPr>
            <a:r>
              <a:rPr lang="en-US" altLang="zh-TW" dirty="0"/>
              <a:t>Realize faster time-to-value without redesigning your app </a:t>
            </a:r>
          </a:p>
        </p:txBody>
      </p:sp>
      <p:grpSp>
        <p:nvGrpSpPr>
          <p:cNvPr id="7" name="Group 4"/>
          <p:cNvGrpSpPr/>
          <p:nvPr/>
        </p:nvGrpSpPr>
        <p:grpSpPr>
          <a:xfrm>
            <a:off x="9962800" y="66148"/>
            <a:ext cx="1225900" cy="917989"/>
            <a:chOff x="5423966" y="4106181"/>
            <a:chExt cx="1344068" cy="1006476"/>
          </a:xfrm>
        </p:grpSpPr>
        <p:sp>
          <p:nvSpPr>
            <p:cNvPr id="8" name="Freeform 6"/>
            <p:cNvSpPr/>
            <p:nvPr/>
          </p:nvSpPr>
          <p:spPr>
            <a:xfrm>
              <a:off x="5423966" y="4106181"/>
              <a:ext cx="1344068" cy="1006476"/>
            </a:xfrm>
            <a:custGeom>
              <a:avLst/>
              <a:gdLst>
                <a:gd name="connsiteX0" fmla="*/ 95091 w 1344068"/>
                <a:gd name="connsiteY0" fmla="*/ 183749 h 1006476"/>
                <a:gd name="connsiteX1" fmla="*/ 1234463 w 1344068"/>
                <a:gd name="connsiteY1" fmla="*/ 183749 h 1006476"/>
                <a:gd name="connsiteX2" fmla="*/ 1234463 w 1344068"/>
                <a:gd name="connsiteY2" fmla="*/ 912133 h 1006476"/>
                <a:gd name="connsiteX3" fmla="*/ 95091 w 1344068"/>
                <a:gd name="connsiteY3" fmla="*/ 912133 h 1006476"/>
                <a:gd name="connsiteX4" fmla="*/ 36697 w 1344068"/>
                <a:gd name="connsiteY4" fmla="*/ 138779 h 1006476"/>
                <a:gd name="connsiteX5" fmla="*/ 36697 w 1344068"/>
                <a:gd name="connsiteY5" fmla="*/ 979442 h 1006476"/>
                <a:gd name="connsiteX6" fmla="*/ 1307371 w 1344068"/>
                <a:gd name="connsiteY6" fmla="*/ 979442 h 1006476"/>
                <a:gd name="connsiteX7" fmla="*/ 1307371 w 1344068"/>
                <a:gd name="connsiteY7" fmla="*/ 138779 h 1006476"/>
                <a:gd name="connsiteX8" fmla="*/ 1239333 w 1344068"/>
                <a:gd name="connsiteY8" fmla="*/ 37932 h 1006476"/>
                <a:gd name="connsiteX9" fmla="*/ 1239333 w 1344068"/>
                <a:gd name="connsiteY9" fmla="*/ 105968 h 1006476"/>
                <a:gd name="connsiteX10" fmla="*/ 1307371 w 1344068"/>
                <a:gd name="connsiteY10" fmla="*/ 105968 h 1006476"/>
                <a:gd name="connsiteX11" fmla="*/ 1307371 w 1344068"/>
                <a:gd name="connsiteY11" fmla="*/ 37932 h 1006476"/>
                <a:gd name="connsiteX12" fmla="*/ 839679 w 1344068"/>
                <a:gd name="connsiteY12" fmla="*/ 37932 h 1006476"/>
                <a:gd name="connsiteX13" fmla="*/ 839679 w 1344068"/>
                <a:gd name="connsiteY13" fmla="*/ 105968 h 1006476"/>
                <a:gd name="connsiteX14" fmla="*/ 1173745 w 1344068"/>
                <a:gd name="connsiteY14" fmla="*/ 105968 h 1006476"/>
                <a:gd name="connsiteX15" fmla="*/ 1173745 w 1344068"/>
                <a:gd name="connsiteY15" fmla="*/ 37932 h 1006476"/>
                <a:gd name="connsiteX16" fmla="*/ 170323 w 1344068"/>
                <a:gd name="connsiteY16" fmla="*/ 37932 h 1006476"/>
                <a:gd name="connsiteX17" fmla="*/ 170323 w 1344068"/>
                <a:gd name="connsiteY17" fmla="*/ 105968 h 1006476"/>
                <a:gd name="connsiteX18" fmla="*/ 504389 w 1344068"/>
                <a:gd name="connsiteY18" fmla="*/ 105968 h 1006476"/>
                <a:gd name="connsiteX19" fmla="*/ 504389 w 1344068"/>
                <a:gd name="connsiteY19" fmla="*/ 37932 h 1006476"/>
                <a:gd name="connsiteX20" fmla="*/ 36697 w 1344068"/>
                <a:gd name="connsiteY20" fmla="*/ 37932 h 1006476"/>
                <a:gd name="connsiteX21" fmla="*/ 36697 w 1344068"/>
                <a:gd name="connsiteY21" fmla="*/ 105968 h 1006476"/>
                <a:gd name="connsiteX22" fmla="*/ 104736 w 1344068"/>
                <a:gd name="connsiteY22" fmla="*/ 105968 h 1006476"/>
                <a:gd name="connsiteX23" fmla="*/ 104736 w 1344068"/>
                <a:gd name="connsiteY23" fmla="*/ 37932 h 1006476"/>
                <a:gd name="connsiteX24" fmla="*/ 0 w 1344068"/>
                <a:gd name="connsiteY24" fmla="*/ 0 h 1006476"/>
                <a:gd name="connsiteX25" fmla="*/ 1344068 w 1344068"/>
                <a:gd name="connsiteY25" fmla="*/ 0 h 1006476"/>
                <a:gd name="connsiteX26" fmla="*/ 1344068 w 1344068"/>
                <a:gd name="connsiteY26" fmla="*/ 1006476 h 1006476"/>
                <a:gd name="connsiteX27" fmla="*/ 0 w 1344068"/>
                <a:gd name="connsiteY27" fmla="*/ 1006476 h 1006476"/>
                <a:gd name="connsiteX0" fmla="*/ 95091 w 1344068"/>
                <a:gd name="connsiteY0" fmla="*/ 912133 h 1006476"/>
                <a:gd name="connsiteX1" fmla="*/ 1234463 w 1344068"/>
                <a:gd name="connsiteY1" fmla="*/ 183749 h 1006476"/>
                <a:gd name="connsiteX2" fmla="*/ 1234463 w 1344068"/>
                <a:gd name="connsiteY2" fmla="*/ 912133 h 1006476"/>
                <a:gd name="connsiteX3" fmla="*/ 95091 w 1344068"/>
                <a:gd name="connsiteY3" fmla="*/ 912133 h 1006476"/>
                <a:gd name="connsiteX4" fmla="*/ 36697 w 1344068"/>
                <a:gd name="connsiteY4" fmla="*/ 138779 h 1006476"/>
                <a:gd name="connsiteX5" fmla="*/ 36697 w 1344068"/>
                <a:gd name="connsiteY5" fmla="*/ 979442 h 1006476"/>
                <a:gd name="connsiteX6" fmla="*/ 1307371 w 1344068"/>
                <a:gd name="connsiteY6" fmla="*/ 979442 h 1006476"/>
                <a:gd name="connsiteX7" fmla="*/ 1307371 w 1344068"/>
                <a:gd name="connsiteY7" fmla="*/ 138779 h 1006476"/>
                <a:gd name="connsiteX8" fmla="*/ 36697 w 1344068"/>
                <a:gd name="connsiteY8" fmla="*/ 138779 h 1006476"/>
                <a:gd name="connsiteX9" fmla="*/ 1239333 w 1344068"/>
                <a:gd name="connsiteY9" fmla="*/ 37932 h 1006476"/>
                <a:gd name="connsiteX10" fmla="*/ 1239333 w 1344068"/>
                <a:gd name="connsiteY10" fmla="*/ 105968 h 1006476"/>
                <a:gd name="connsiteX11" fmla="*/ 1307371 w 1344068"/>
                <a:gd name="connsiteY11" fmla="*/ 105968 h 1006476"/>
                <a:gd name="connsiteX12" fmla="*/ 1307371 w 1344068"/>
                <a:gd name="connsiteY12" fmla="*/ 37932 h 1006476"/>
                <a:gd name="connsiteX13" fmla="*/ 1239333 w 1344068"/>
                <a:gd name="connsiteY13" fmla="*/ 37932 h 1006476"/>
                <a:gd name="connsiteX14" fmla="*/ 839679 w 1344068"/>
                <a:gd name="connsiteY14" fmla="*/ 37932 h 1006476"/>
                <a:gd name="connsiteX15" fmla="*/ 839679 w 1344068"/>
                <a:gd name="connsiteY15" fmla="*/ 105968 h 1006476"/>
                <a:gd name="connsiteX16" fmla="*/ 1173745 w 1344068"/>
                <a:gd name="connsiteY16" fmla="*/ 105968 h 1006476"/>
                <a:gd name="connsiteX17" fmla="*/ 1173745 w 1344068"/>
                <a:gd name="connsiteY17" fmla="*/ 37932 h 1006476"/>
                <a:gd name="connsiteX18" fmla="*/ 839679 w 1344068"/>
                <a:gd name="connsiteY18" fmla="*/ 37932 h 1006476"/>
                <a:gd name="connsiteX19" fmla="*/ 170323 w 1344068"/>
                <a:gd name="connsiteY19" fmla="*/ 37932 h 1006476"/>
                <a:gd name="connsiteX20" fmla="*/ 170323 w 1344068"/>
                <a:gd name="connsiteY20" fmla="*/ 105968 h 1006476"/>
                <a:gd name="connsiteX21" fmla="*/ 504389 w 1344068"/>
                <a:gd name="connsiteY21" fmla="*/ 105968 h 1006476"/>
                <a:gd name="connsiteX22" fmla="*/ 504389 w 1344068"/>
                <a:gd name="connsiteY22" fmla="*/ 37932 h 1006476"/>
                <a:gd name="connsiteX23" fmla="*/ 170323 w 1344068"/>
                <a:gd name="connsiteY23" fmla="*/ 37932 h 1006476"/>
                <a:gd name="connsiteX24" fmla="*/ 36697 w 1344068"/>
                <a:gd name="connsiteY24" fmla="*/ 37932 h 1006476"/>
                <a:gd name="connsiteX25" fmla="*/ 36697 w 1344068"/>
                <a:gd name="connsiteY25" fmla="*/ 105968 h 1006476"/>
                <a:gd name="connsiteX26" fmla="*/ 104736 w 1344068"/>
                <a:gd name="connsiteY26" fmla="*/ 105968 h 1006476"/>
                <a:gd name="connsiteX27" fmla="*/ 104736 w 1344068"/>
                <a:gd name="connsiteY27" fmla="*/ 37932 h 1006476"/>
                <a:gd name="connsiteX28" fmla="*/ 36697 w 1344068"/>
                <a:gd name="connsiteY28" fmla="*/ 37932 h 1006476"/>
                <a:gd name="connsiteX29" fmla="*/ 0 w 1344068"/>
                <a:gd name="connsiteY29" fmla="*/ 0 h 1006476"/>
                <a:gd name="connsiteX30" fmla="*/ 1344068 w 1344068"/>
                <a:gd name="connsiteY30" fmla="*/ 0 h 1006476"/>
                <a:gd name="connsiteX31" fmla="*/ 1344068 w 1344068"/>
                <a:gd name="connsiteY31" fmla="*/ 1006476 h 1006476"/>
                <a:gd name="connsiteX32" fmla="*/ 0 w 1344068"/>
                <a:gd name="connsiteY32" fmla="*/ 1006476 h 1006476"/>
                <a:gd name="connsiteX33" fmla="*/ 0 w 1344068"/>
                <a:gd name="connsiteY33" fmla="*/ 0 h 1006476"/>
                <a:gd name="connsiteX0" fmla="*/ 1234463 w 1344068"/>
                <a:gd name="connsiteY0" fmla="*/ 912133 h 1006476"/>
                <a:gd name="connsiteX1" fmla="*/ 1234463 w 1344068"/>
                <a:gd name="connsiteY1" fmla="*/ 183749 h 1006476"/>
                <a:gd name="connsiteX2" fmla="*/ 1234463 w 1344068"/>
                <a:gd name="connsiteY2" fmla="*/ 912133 h 1006476"/>
                <a:gd name="connsiteX3" fmla="*/ 36697 w 1344068"/>
                <a:gd name="connsiteY3" fmla="*/ 138779 h 1006476"/>
                <a:gd name="connsiteX4" fmla="*/ 36697 w 1344068"/>
                <a:gd name="connsiteY4" fmla="*/ 979442 h 1006476"/>
                <a:gd name="connsiteX5" fmla="*/ 1307371 w 1344068"/>
                <a:gd name="connsiteY5" fmla="*/ 979442 h 1006476"/>
                <a:gd name="connsiteX6" fmla="*/ 1307371 w 1344068"/>
                <a:gd name="connsiteY6" fmla="*/ 138779 h 1006476"/>
                <a:gd name="connsiteX7" fmla="*/ 36697 w 1344068"/>
                <a:gd name="connsiteY7" fmla="*/ 138779 h 1006476"/>
                <a:gd name="connsiteX8" fmla="*/ 1239333 w 1344068"/>
                <a:gd name="connsiteY8" fmla="*/ 37932 h 1006476"/>
                <a:gd name="connsiteX9" fmla="*/ 1239333 w 1344068"/>
                <a:gd name="connsiteY9" fmla="*/ 105968 h 1006476"/>
                <a:gd name="connsiteX10" fmla="*/ 1307371 w 1344068"/>
                <a:gd name="connsiteY10" fmla="*/ 105968 h 1006476"/>
                <a:gd name="connsiteX11" fmla="*/ 1307371 w 1344068"/>
                <a:gd name="connsiteY11" fmla="*/ 37932 h 1006476"/>
                <a:gd name="connsiteX12" fmla="*/ 1239333 w 1344068"/>
                <a:gd name="connsiteY12" fmla="*/ 37932 h 1006476"/>
                <a:gd name="connsiteX13" fmla="*/ 839679 w 1344068"/>
                <a:gd name="connsiteY13" fmla="*/ 37932 h 1006476"/>
                <a:gd name="connsiteX14" fmla="*/ 839679 w 1344068"/>
                <a:gd name="connsiteY14" fmla="*/ 105968 h 1006476"/>
                <a:gd name="connsiteX15" fmla="*/ 1173745 w 1344068"/>
                <a:gd name="connsiteY15" fmla="*/ 105968 h 1006476"/>
                <a:gd name="connsiteX16" fmla="*/ 1173745 w 1344068"/>
                <a:gd name="connsiteY16" fmla="*/ 37932 h 1006476"/>
                <a:gd name="connsiteX17" fmla="*/ 839679 w 1344068"/>
                <a:gd name="connsiteY17" fmla="*/ 37932 h 1006476"/>
                <a:gd name="connsiteX18" fmla="*/ 170323 w 1344068"/>
                <a:gd name="connsiteY18" fmla="*/ 37932 h 1006476"/>
                <a:gd name="connsiteX19" fmla="*/ 170323 w 1344068"/>
                <a:gd name="connsiteY19" fmla="*/ 105968 h 1006476"/>
                <a:gd name="connsiteX20" fmla="*/ 504389 w 1344068"/>
                <a:gd name="connsiteY20" fmla="*/ 105968 h 1006476"/>
                <a:gd name="connsiteX21" fmla="*/ 504389 w 1344068"/>
                <a:gd name="connsiteY21" fmla="*/ 37932 h 1006476"/>
                <a:gd name="connsiteX22" fmla="*/ 170323 w 1344068"/>
                <a:gd name="connsiteY22" fmla="*/ 37932 h 1006476"/>
                <a:gd name="connsiteX23" fmla="*/ 36697 w 1344068"/>
                <a:gd name="connsiteY23" fmla="*/ 37932 h 1006476"/>
                <a:gd name="connsiteX24" fmla="*/ 36697 w 1344068"/>
                <a:gd name="connsiteY24" fmla="*/ 105968 h 1006476"/>
                <a:gd name="connsiteX25" fmla="*/ 104736 w 1344068"/>
                <a:gd name="connsiteY25" fmla="*/ 105968 h 1006476"/>
                <a:gd name="connsiteX26" fmla="*/ 104736 w 1344068"/>
                <a:gd name="connsiteY26" fmla="*/ 37932 h 1006476"/>
                <a:gd name="connsiteX27" fmla="*/ 36697 w 1344068"/>
                <a:gd name="connsiteY27" fmla="*/ 37932 h 1006476"/>
                <a:gd name="connsiteX28" fmla="*/ 0 w 1344068"/>
                <a:gd name="connsiteY28" fmla="*/ 0 h 1006476"/>
                <a:gd name="connsiteX29" fmla="*/ 1344068 w 1344068"/>
                <a:gd name="connsiteY29" fmla="*/ 0 h 1006476"/>
                <a:gd name="connsiteX30" fmla="*/ 1344068 w 1344068"/>
                <a:gd name="connsiteY30" fmla="*/ 1006476 h 1006476"/>
                <a:gd name="connsiteX31" fmla="*/ 0 w 1344068"/>
                <a:gd name="connsiteY31" fmla="*/ 1006476 h 1006476"/>
                <a:gd name="connsiteX32" fmla="*/ 0 w 1344068"/>
                <a:gd name="connsiteY32" fmla="*/ 0 h 1006476"/>
                <a:gd name="connsiteX0" fmla="*/ 36697 w 1344068"/>
                <a:gd name="connsiteY0" fmla="*/ 138779 h 1006476"/>
                <a:gd name="connsiteX1" fmla="*/ 36697 w 1344068"/>
                <a:gd name="connsiteY1" fmla="*/ 979442 h 1006476"/>
                <a:gd name="connsiteX2" fmla="*/ 1307371 w 1344068"/>
                <a:gd name="connsiteY2" fmla="*/ 979442 h 1006476"/>
                <a:gd name="connsiteX3" fmla="*/ 1307371 w 1344068"/>
                <a:gd name="connsiteY3" fmla="*/ 138779 h 1006476"/>
                <a:gd name="connsiteX4" fmla="*/ 36697 w 1344068"/>
                <a:gd name="connsiteY4" fmla="*/ 138779 h 1006476"/>
                <a:gd name="connsiteX5" fmla="*/ 1239333 w 1344068"/>
                <a:gd name="connsiteY5" fmla="*/ 37932 h 1006476"/>
                <a:gd name="connsiteX6" fmla="*/ 1239333 w 1344068"/>
                <a:gd name="connsiteY6" fmla="*/ 105968 h 1006476"/>
                <a:gd name="connsiteX7" fmla="*/ 1307371 w 1344068"/>
                <a:gd name="connsiteY7" fmla="*/ 105968 h 1006476"/>
                <a:gd name="connsiteX8" fmla="*/ 1307371 w 1344068"/>
                <a:gd name="connsiteY8" fmla="*/ 37932 h 1006476"/>
                <a:gd name="connsiteX9" fmla="*/ 1239333 w 1344068"/>
                <a:gd name="connsiteY9" fmla="*/ 37932 h 1006476"/>
                <a:gd name="connsiteX10" fmla="*/ 839679 w 1344068"/>
                <a:gd name="connsiteY10" fmla="*/ 37932 h 1006476"/>
                <a:gd name="connsiteX11" fmla="*/ 839679 w 1344068"/>
                <a:gd name="connsiteY11" fmla="*/ 105968 h 1006476"/>
                <a:gd name="connsiteX12" fmla="*/ 1173745 w 1344068"/>
                <a:gd name="connsiteY12" fmla="*/ 105968 h 1006476"/>
                <a:gd name="connsiteX13" fmla="*/ 1173745 w 1344068"/>
                <a:gd name="connsiteY13" fmla="*/ 37932 h 1006476"/>
                <a:gd name="connsiteX14" fmla="*/ 839679 w 1344068"/>
                <a:gd name="connsiteY14" fmla="*/ 37932 h 1006476"/>
                <a:gd name="connsiteX15" fmla="*/ 170323 w 1344068"/>
                <a:gd name="connsiteY15" fmla="*/ 37932 h 1006476"/>
                <a:gd name="connsiteX16" fmla="*/ 170323 w 1344068"/>
                <a:gd name="connsiteY16" fmla="*/ 105968 h 1006476"/>
                <a:gd name="connsiteX17" fmla="*/ 504389 w 1344068"/>
                <a:gd name="connsiteY17" fmla="*/ 105968 h 1006476"/>
                <a:gd name="connsiteX18" fmla="*/ 504389 w 1344068"/>
                <a:gd name="connsiteY18" fmla="*/ 37932 h 1006476"/>
                <a:gd name="connsiteX19" fmla="*/ 170323 w 1344068"/>
                <a:gd name="connsiteY19" fmla="*/ 37932 h 1006476"/>
                <a:gd name="connsiteX20" fmla="*/ 36697 w 1344068"/>
                <a:gd name="connsiteY20" fmla="*/ 37932 h 1006476"/>
                <a:gd name="connsiteX21" fmla="*/ 36697 w 1344068"/>
                <a:gd name="connsiteY21" fmla="*/ 105968 h 1006476"/>
                <a:gd name="connsiteX22" fmla="*/ 104736 w 1344068"/>
                <a:gd name="connsiteY22" fmla="*/ 105968 h 1006476"/>
                <a:gd name="connsiteX23" fmla="*/ 104736 w 1344068"/>
                <a:gd name="connsiteY23" fmla="*/ 37932 h 1006476"/>
                <a:gd name="connsiteX24" fmla="*/ 36697 w 1344068"/>
                <a:gd name="connsiteY24" fmla="*/ 37932 h 1006476"/>
                <a:gd name="connsiteX25" fmla="*/ 0 w 1344068"/>
                <a:gd name="connsiteY25" fmla="*/ 0 h 1006476"/>
                <a:gd name="connsiteX26" fmla="*/ 1344068 w 1344068"/>
                <a:gd name="connsiteY26" fmla="*/ 0 h 1006476"/>
                <a:gd name="connsiteX27" fmla="*/ 1344068 w 1344068"/>
                <a:gd name="connsiteY27" fmla="*/ 1006476 h 1006476"/>
                <a:gd name="connsiteX28" fmla="*/ 0 w 1344068"/>
                <a:gd name="connsiteY28" fmla="*/ 1006476 h 1006476"/>
                <a:gd name="connsiteX29" fmla="*/ 0 w 1344068"/>
                <a:gd name="connsiteY29" fmla="*/ 0 h 1006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344068" h="1006476">
                  <a:moveTo>
                    <a:pt x="36697" y="138779"/>
                  </a:moveTo>
                  <a:lnTo>
                    <a:pt x="36697" y="979442"/>
                  </a:lnTo>
                  <a:lnTo>
                    <a:pt x="1307371" y="979442"/>
                  </a:lnTo>
                  <a:lnTo>
                    <a:pt x="1307371" y="138779"/>
                  </a:lnTo>
                  <a:lnTo>
                    <a:pt x="36697" y="138779"/>
                  </a:lnTo>
                  <a:close/>
                  <a:moveTo>
                    <a:pt x="1239333" y="37932"/>
                  </a:moveTo>
                  <a:lnTo>
                    <a:pt x="1239333" y="105968"/>
                  </a:lnTo>
                  <a:lnTo>
                    <a:pt x="1307371" y="105968"/>
                  </a:lnTo>
                  <a:lnTo>
                    <a:pt x="1307371" y="37932"/>
                  </a:lnTo>
                  <a:lnTo>
                    <a:pt x="1239333" y="37932"/>
                  </a:lnTo>
                  <a:close/>
                  <a:moveTo>
                    <a:pt x="839679" y="37932"/>
                  </a:moveTo>
                  <a:lnTo>
                    <a:pt x="839679" y="105968"/>
                  </a:lnTo>
                  <a:lnTo>
                    <a:pt x="1173745" y="105968"/>
                  </a:lnTo>
                  <a:lnTo>
                    <a:pt x="1173745" y="37932"/>
                  </a:lnTo>
                  <a:lnTo>
                    <a:pt x="839679" y="37932"/>
                  </a:lnTo>
                  <a:close/>
                  <a:moveTo>
                    <a:pt x="170323" y="37932"/>
                  </a:moveTo>
                  <a:lnTo>
                    <a:pt x="170323" y="105968"/>
                  </a:lnTo>
                  <a:lnTo>
                    <a:pt x="504389" y="105968"/>
                  </a:lnTo>
                  <a:lnTo>
                    <a:pt x="504389" y="37932"/>
                  </a:lnTo>
                  <a:lnTo>
                    <a:pt x="170323" y="37932"/>
                  </a:lnTo>
                  <a:close/>
                  <a:moveTo>
                    <a:pt x="36697" y="37932"/>
                  </a:moveTo>
                  <a:lnTo>
                    <a:pt x="36697" y="105968"/>
                  </a:lnTo>
                  <a:lnTo>
                    <a:pt x="104736" y="105968"/>
                  </a:lnTo>
                  <a:lnTo>
                    <a:pt x="104736" y="37932"/>
                  </a:lnTo>
                  <a:lnTo>
                    <a:pt x="36697" y="37932"/>
                  </a:lnTo>
                  <a:close/>
                  <a:moveTo>
                    <a:pt x="0" y="0"/>
                  </a:moveTo>
                  <a:lnTo>
                    <a:pt x="1344068" y="0"/>
                  </a:lnTo>
                  <a:lnTo>
                    <a:pt x="1344068" y="1006476"/>
                  </a:lnTo>
                  <a:lnTo>
                    <a:pt x="0" y="1006476"/>
                  </a:lnTo>
                  <a:lnTo>
                    <a:pt x="0" y="0"/>
                  </a:lnTo>
                  <a:close/>
                </a:path>
              </a:pathLst>
            </a:custGeom>
            <a:solidFill>
              <a:srgbClr val="EDC30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9" name="Freeform 7"/>
            <p:cNvSpPr/>
            <p:nvPr/>
          </p:nvSpPr>
          <p:spPr>
            <a:xfrm>
              <a:off x="5639221" y="4443616"/>
              <a:ext cx="913557" cy="477780"/>
            </a:xfrm>
            <a:custGeom>
              <a:avLst/>
              <a:gdLst/>
              <a:ahLst/>
              <a:cxnLst/>
              <a:rect l="l" t="t" r="r" b="b"/>
              <a:pathLst>
                <a:path w="356853" h="186630">
                  <a:moveTo>
                    <a:pt x="99678" y="37393"/>
                  </a:moveTo>
                  <a:lnTo>
                    <a:pt x="99678" y="58601"/>
                  </a:lnTo>
                  <a:lnTo>
                    <a:pt x="26789" y="94766"/>
                  </a:lnTo>
                  <a:lnTo>
                    <a:pt x="26789" y="95212"/>
                  </a:lnTo>
                  <a:lnTo>
                    <a:pt x="99678" y="128029"/>
                  </a:lnTo>
                  <a:lnTo>
                    <a:pt x="99678" y="149125"/>
                  </a:lnTo>
                  <a:lnTo>
                    <a:pt x="0" y="101240"/>
                  </a:lnTo>
                  <a:lnTo>
                    <a:pt x="0" y="89408"/>
                  </a:lnTo>
                  <a:close/>
                  <a:moveTo>
                    <a:pt x="257175" y="36835"/>
                  </a:moveTo>
                  <a:lnTo>
                    <a:pt x="356853" y="88738"/>
                  </a:lnTo>
                  <a:lnTo>
                    <a:pt x="356853" y="100570"/>
                  </a:lnTo>
                  <a:lnTo>
                    <a:pt x="257175" y="148456"/>
                  </a:lnTo>
                  <a:lnTo>
                    <a:pt x="257175" y="127359"/>
                  </a:lnTo>
                  <a:lnTo>
                    <a:pt x="330175" y="94878"/>
                  </a:lnTo>
                  <a:lnTo>
                    <a:pt x="330175" y="94208"/>
                  </a:lnTo>
                  <a:lnTo>
                    <a:pt x="257175" y="58043"/>
                  </a:lnTo>
                  <a:close/>
                  <a:moveTo>
                    <a:pt x="205122" y="0"/>
                  </a:moveTo>
                  <a:lnTo>
                    <a:pt x="229009" y="0"/>
                  </a:lnTo>
                  <a:lnTo>
                    <a:pt x="151656" y="186630"/>
                  </a:lnTo>
                  <a:lnTo>
                    <a:pt x="128104" y="186630"/>
                  </a:lnTo>
                  <a:close/>
                </a:path>
              </a:pathLst>
            </a:custGeom>
            <a:solidFill>
              <a:srgbClr val="EDC30D"/>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dirty="0">
                <a:ln>
                  <a:noFill/>
                </a:ln>
                <a:solidFill>
                  <a:srgbClr val="EDC30D"/>
                </a:solidFill>
                <a:effectLst/>
                <a:uLnTx/>
                <a:uFillTx/>
                <a:latin typeface="Segoe UI Semibold" panose="020B0702040204020203" pitchFamily="34" charset="0"/>
                <a:ea typeface="Segoe UI Historic" panose="020B0502040204020203" pitchFamily="34" charset="0"/>
                <a:cs typeface="Segoe UI Semibold" panose="020B0702040204020203" pitchFamily="34" charset="0"/>
              </a:endParaRPr>
            </a:p>
          </p:txBody>
        </p:sp>
      </p:grpSp>
    </p:spTree>
    <p:extLst>
      <p:ext uri="{BB962C8B-B14F-4D97-AF65-F5344CB8AC3E}">
        <p14:creationId xmlns:p14="http://schemas.microsoft.com/office/powerpoint/2010/main" val="3548547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dirty="0"/>
              <a:t>Power BI Embedded </a:t>
            </a:r>
            <a:r>
              <a:rPr lang="zh-TW" altLang="en-US" dirty="0"/>
              <a:t>定位</a:t>
            </a:r>
          </a:p>
        </p:txBody>
      </p:sp>
      <p:sp>
        <p:nvSpPr>
          <p:cNvPr id="5" name="TextBox 37"/>
          <p:cNvSpPr txBox="1"/>
          <p:nvPr/>
        </p:nvSpPr>
        <p:spPr>
          <a:xfrm>
            <a:off x="3517385" y="4381463"/>
            <a:ext cx="2476152" cy="1477328"/>
          </a:xfrm>
          <a:prstGeom prst="rect">
            <a:avLst/>
          </a:prstGeom>
          <a:noFill/>
        </p:spPr>
        <p:txBody>
          <a:bodyPr wrap="square" rtlCol="0">
            <a:spAutoFit/>
          </a:bodyPr>
          <a:lstStyle>
            <a:defPPr>
              <a:defRPr lang="en-US"/>
            </a:defPPr>
            <a:lvl1pPr marL="182880" marR="0" lvl="0" indent="-91440" fontAlgn="auto">
              <a:lnSpc>
                <a:spcPct val="100000"/>
              </a:lnSpc>
              <a:spcBef>
                <a:spcPts val="0"/>
              </a:spcBef>
              <a:spcAft>
                <a:spcPts val="600"/>
              </a:spcAft>
              <a:buClrTx/>
              <a:buSzTx/>
              <a:buFont typeface="Arial" panose="020B0604020202020204" pitchFamily="34" charset="0"/>
              <a:buChar char="•"/>
              <a:tabLst/>
              <a:defRPr kumimoji="0" sz="1200" i="0" u="none" strike="noStrike" kern="0" cap="none" spc="0" normalizeH="0" baseline="0">
                <a:ln>
                  <a:noFill/>
                </a:ln>
                <a:solidFill>
                  <a:sysClr val="windowText" lastClr="000000"/>
                </a:solidFill>
                <a:effectLst/>
                <a:uLnTx/>
                <a:uFillTx/>
                <a:latin typeface="Segoe UI" panose="020B0502040204020203" pitchFamily="34" charset="0"/>
                <a:cs typeface="Segoe UI" panose="020B0502040204020203" pitchFamily="34" charset="0"/>
              </a:defRPr>
            </a:lvl1pPr>
          </a:lstStyle>
          <a:p>
            <a:r>
              <a:rPr lang="en-US" sz="1400" b="1" dirty="0">
                <a:solidFill>
                  <a:srgbClr val="282828"/>
                </a:solidFill>
                <a:latin typeface="Segoe UI Black" panose="020B0A02040204020203" pitchFamily="34" charset="0"/>
                <a:ea typeface="Segoe UI Black" panose="020B0A02040204020203" pitchFamily="34" charset="0"/>
                <a:cs typeface="Segoe UI Black" panose="020B0A02040204020203" pitchFamily="34" charset="0"/>
              </a:rPr>
              <a:t>Power BI Embedded</a:t>
            </a:r>
          </a:p>
          <a:p>
            <a:r>
              <a:rPr lang="en-US" sz="1400" dirty="0">
                <a:solidFill>
                  <a:srgbClr val="282828"/>
                </a:solidFill>
              </a:rPr>
              <a:t>Data Lake Analytics</a:t>
            </a:r>
          </a:p>
          <a:p>
            <a:r>
              <a:rPr lang="en-US" sz="1400" dirty="0">
                <a:solidFill>
                  <a:srgbClr val="282828"/>
                </a:solidFill>
              </a:rPr>
              <a:t>Data Lake Store</a:t>
            </a:r>
          </a:p>
          <a:p>
            <a:r>
              <a:rPr lang="en-US" sz="1400" dirty="0">
                <a:solidFill>
                  <a:srgbClr val="282828"/>
                </a:solidFill>
              </a:rPr>
              <a:t>HDInsight</a:t>
            </a:r>
          </a:p>
          <a:p>
            <a:r>
              <a:rPr lang="en-US" sz="1400" dirty="0">
                <a:solidFill>
                  <a:srgbClr val="282828"/>
                </a:solidFill>
              </a:rPr>
              <a:t>Stream Analytics</a:t>
            </a:r>
          </a:p>
        </p:txBody>
      </p:sp>
      <p:grpSp>
        <p:nvGrpSpPr>
          <p:cNvPr id="6" name="Group 42"/>
          <p:cNvGrpSpPr/>
          <p:nvPr/>
        </p:nvGrpSpPr>
        <p:grpSpPr>
          <a:xfrm>
            <a:off x="5627543" y="1519926"/>
            <a:ext cx="1004386" cy="752113"/>
            <a:chOff x="10467794" y="2369307"/>
            <a:chExt cx="1004386" cy="752113"/>
          </a:xfrm>
          <a:solidFill>
            <a:srgbClr val="282828"/>
          </a:solidFill>
        </p:grpSpPr>
        <p:sp>
          <p:nvSpPr>
            <p:cNvPr id="7" name="Freeform 43"/>
            <p:cNvSpPr>
              <a:spLocks noChangeAspect="1"/>
            </p:cNvSpPr>
            <p:nvPr/>
          </p:nvSpPr>
          <p:spPr bwMode="auto">
            <a:xfrm>
              <a:off x="10768048" y="2628306"/>
              <a:ext cx="375318" cy="374098"/>
            </a:xfrm>
            <a:custGeom>
              <a:avLst/>
              <a:gdLst>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72174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179572 w 1481959"/>
                <a:gd name="connsiteY24" fmla="*/ 228919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179572 w 1481959"/>
                <a:gd name="connsiteY28" fmla="*/ 228919 h 962317"/>
                <a:gd name="connsiteX29" fmla="*/ 65620 w 1481959"/>
                <a:gd name="connsiteY29" fmla="*/ 0 h 962317"/>
                <a:gd name="connsiteX30" fmla="*/ 1416339 w 1481959"/>
                <a:gd name="connsiteY30" fmla="*/ 0 h 962317"/>
                <a:gd name="connsiteX31" fmla="*/ 1481959 w 1481959"/>
                <a:gd name="connsiteY31" fmla="*/ 65621 h 962317"/>
                <a:gd name="connsiteX32" fmla="*/ 1481959 w 1481959"/>
                <a:gd name="connsiteY32" fmla="*/ 896697 h 962317"/>
                <a:gd name="connsiteX33" fmla="*/ 1416339 w 1481959"/>
                <a:gd name="connsiteY33" fmla="*/ 962317 h 962317"/>
                <a:gd name="connsiteX34" fmla="*/ 65620 w 1481959"/>
                <a:gd name="connsiteY34" fmla="*/ 962317 h 962317"/>
                <a:gd name="connsiteX35" fmla="*/ 0 w 1481959"/>
                <a:gd name="connsiteY35" fmla="*/ 896697 h 962317"/>
                <a:gd name="connsiteX36" fmla="*/ 0 w 1481959"/>
                <a:gd name="connsiteY36" fmla="*/ 65621 h 962317"/>
                <a:gd name="connsiteX37" fmla="*/ 65620 w 1481959"/>
                <a:gd name="connsiteY37" fmla="*/ 0 h 962317"/>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1402569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 name="connsiteX0" fmla="*/ 678350 w 1481959"/>
                <a:gd name="connsiteY0" fmla="*/ 282422 h 985749"/>
                <a:gd name="connsiteX1" fmla="*/ 688805 w 1481959"/>
                <a:gd name="connsiteY1" fmla="*/ 282656 h 985749"/>
                <a:gd name="connsiteX2" fmla="*/ 971484 w 1481959"/>
                <a:gd name="connsiteY2" fmla="*/ 282656 h 985749"/>
                <a:gd name="connsiteX3" fmla="*/ 1006067 w 1481959"/>
                <a:gd name="connsiteY3" fmla="*/ 315737 h 985749"/>
                <a:gd name="connsiteX4" fmla="*/ 1006067 w 1481959"/>
                <a:gd name="connsiteY4" fmla="*/ 599920 h 985749"/>
                <a:gd name="connsiteX5" fmla="*/ 1004269 w 1481959"/>
                <a:gd name="connsiteY5" fmla="*/ 618617 h 985749"/>
                <a:gd name="connsiteX6" fmla="*/ 996845 w 1481959"/>
                <a:gd name="connsiteY6" fmla="*/ 620135 h 985749"/>
                <a:gd name="connsiteX7" fmla="*/ 946477 w 1481959"/>
                <a:gd name="connsiteY7" fmla="*/ 570273 h 985749"/>
                <a:gd name="connsiteX8" fmla="*/ 903068 w 1481959"/>
                <a:gd name="connsiteY8" fmla="*/ 570491 h 985749"/>
                <a:gd name="connsiteX9" fmla="*/ 711725 w 1481959"/>
                <a:gd name="connsiteY9" fmla="*/ 763776 h 985749"/>
                <a:gd name="connsiteX10" fmla="*/ 661739 w 1481959"/>
                <a:gd name="connsiteY10" fmla="*/ 742764 h 985749"/>
                <a:gd name="connsiteX11" fmla="*/ 535436 w 1481959"/>
                <a:gd name="connsiteY11" fmla="*/ 616460 h 985749"/>
                <a:gd name="connsiteX12" fmla="*/ 520710 w 1481959"/>
                <a:gd name="connsiteY12" fmla="*/ 581034 h 985749"/>
                <a:gd name="connsiteX13" fmla="*/ 597984 w 1481959"/>
                <a:gd name="connsiteY13" fmla="*/ 502258 h 985749"/>
                <a:gd name="connsiteX14" fmla="*/ 709855 w 1481959"/>
                <a:gd name="connsiteY14" fmla="*/ 392420 h 985749"/>
                <a:gd name="connsiteX15" fmla="*/ 720565 w 1481959"/>
                <a:gd name="connsiteY15" fmla="*/ 374487 h 985749"/>
                <a:gd name="connsiteX16" fmla="*/ 722022 w 1481959"/>
                <a:gd name="connsiteY16" fmla="*/ 371349 h 985749"/>
                <a:gd name="connsiteX17" fmla="*/ 723721 w 1481959"/>
                <a:gd name="connsiteY17" fmla="*/ 362150 h 985749"/>
                <a:gd name="connsiteX18" fmla="*/ 723262 w 1481959"/>
                <a:gd name="connsiteY18" fmla="*/ 357770 h 985749"/>
                <a:gd name="connsiteX19" fmla="*/ 723111 w 1481959"/>
                <a:gd name="connsiteY19" fmla="*/ 357034 h 985749"/>
                <a:gd name="connsiteX20" fmla="*/ 714729 w 1481959"/>
                <a:gd name="connsiteY20" fmla="*/ 339411 h 985749"/>
                <a:gd name="connsiteX21" fmla="*/ 678087 w 1481959"/>
                <a:gd name="connsiteY21" fmla="*/ 303467 h 985749"/>
                <a:gd name="connsiteX22" fmla="*/ 668098 w 1481959"/>
                <a:gd name="connsiteY22" fmla="*/ 285733 h 985749"/>
                <a:gd name="connsiteX23" fmla="*/ 678350 w 1481959"/>
                <a:gd name="connsiteY23" fmla="*/ 282422 h 985749"/>
                <a:gd name="connsiteX24" fmla="*/ 1402569 w 1481959"/>
                <a:gd name="connsiteY24" fmla="*/ 95606 h 985749"/>
                <a:gd name="connsiteX25" fmla="*/ 72174 w 1481959"/>
                <a:gd name="connsiteY25" fmla="*/ 911169 h 985749"/>
                <a:gd name="connsiteX26" fmla="*/ 1402569 w 1481959"/>
                <a:gd name="connsiteY26" fmla="*/ 911169 h 985749"/>
                <a:gd name="connsiteX27" fmla="*/ 1402569 w 1481959"/>
                <a:gd name="connsiteY27" fmla="*/ 95606 h 985749"/>
                <a:gd name="connsiteX28" fmla="*/ 0 w 1481959"/>
                <a:gd name="connsiteY28" fmla="*/ 89053 h 985749"/>
                <a:gd name="connsiteX29" fmla="*/ 1416339 w 1481959"/>
                <a:gd name="connsiteY29" fmla="*/ 23432 h 985749"/>
                <a:gd name="connsiteX30" fmla="*/ 1481959 w 1481959"/>
                <a:gd name="connsiteY30" fmla="*/ 89053 h 985749"/>
                <a:gd name="connsiteX31" fmla="*/ 1481959 w 1481959"/>
                <a:gd name="connsiteY31" fmla="*/ 920129 h 985749"/>
                <a:gd name="connsiteX32" fmla="*/ 1416339 w 1481959"/>
                <a:gd name="connsiteY32" fmla="*/ 985749 h 985749"/>
                <a:gd name="connsiteX33" fmla="*/ 65620 w 1481959"/>
                <a:gd name="connsiteY33" fmla="*/ 985749 h 985749"/>
                <a:gd name="connsiteX34" fmla="*/ 0 w 1481959"/>
                <a:gd name="connsiteY34" fmla="*/ 920129 h 985749"/>
                <a:gd name="connsiteX35" fmla="*/ 0 w 1481959"/>
                <a:gd name="connsiteY35" fmla="*/ 89053 h 985749"/>
                <a:gd name="connsiteX0" fmla="*/ 701571 w 1505180"/>
                <a:gd name="connsiteY0" fmla="*/ 282422 h 985749"/>
                <a:gd name="connsiteX1" fmla="*/ 712026 w 1505180"/>
                <a:gd name="connsiteY1" fmla="*/ 282656 h 985749"/>
                <a:gd name="connsiteX2" fmla="*/ 994705 w 1505180"/>
                <a:gd name="connsiteY2" fmla="*/ 282656 h 985749"/>
                <a:gd name="connsiteX3" fmla="*/ 1029288 w 1505180"/>
                <a:gd name="connsiteY3" fmla="*/ 315737 h 985749"/>
                <a:gd name="connsiteX4" fmla="*/ 1029288 w 1505180"/>
                <a:gd name="connsiteY4" fmla="*/ 599920 h 985749"/>
                <a:gd name="connsiteX5" fmla="*/ 1027490 w 1505180"/>
                <a:gd name="connsiteY5" fmla="*/ 618617 h 985749"/>
                <a:gd name="connsiteX6" fmla="*/ 1020066 w 1505180"/>
                <a:gd name="connsiteY6" fmla="*/ 620135 h 985749"/>
                <a:gd name="connsiteX7" fmla="*/ 969698 w 1505180"/>
                <a:gd name="connsiteY7" fmla="*/ 570273 h 985749"/>
                <a:gd name="connsiteX8" fmla="*/ 926289 w 1505180"/>
                <a:gd name="connsiteY8" fmla="*/ 570491 h 985749"/>
                <a:gd name="connsiteX9" fmla="*/ 734946 w 1505180"/>
                <a:gd name="connsiteY9" fmla="*/ 763776 h 985749"/>
                <a:gd name="connsiteX10" fmla="*/ 684960 w 1505180"/>
                <a:gd name="connsiteY10" fmla="*/ 742764 h 985749"/>
                <a:gd name="connsiteX11" fmla="*/ 558657 w 1505180"/>
                <a:gd name="connsiteY11" fmla="*/ 616460 h 985749"/>
                <a:gd name="connsiteX12" fmla="*/ 543931 w 1505180"/>
                <a:gd name="connsiteY12" fmla="*/ 581034 h 985749"/>
                <a:gd name="connsiteX13" fmla="*/ 621205 w 1505180"/>
                <a:gd name="connsiteY13" fmla="*/ 502258 h 985749"/>
                <a:gd name="connsiteX14" fmla="*/ 733076 w 1505180"/>
                <a:gd name="connsiteY14" fmla="*/ 392420 h 985749"/>
                <a:gd name="connsiteX15" fmla="*/ 743786 w 1505180"/>
                <a:gd name="connsiteY15" fmla="*/ 374487 h 985749"/>
                <a:gd name="connsiteX16" fmla="*/ 745243 w 1505180"/>
                <a:gd name="connsiteY16" fmla="*/ 371349 h 985749"/>
                <a:gd name="connsiteX17" fmla="*/ 746942 w 1505180"/>
                <a:gd name="connsiteY17" fmla="*/ 362150 h 985749"/>
                <a:gd name="connsiteX18" fmla="*/ 746483 w 1505180"/>
                <a:gd name="connsiteY18" fmla="*/ 357770 h 985749"/>
                <a:gd name="connsiteX19" fmla="*/ 746332 w 1505180"/>
                <a:gd name="connsiteY19" fmla="*/ 357034 h 985749"/>
                <a:gd name="connsiteX20" fmla="*/ 737950 w 1505180"/>
                <a:gd name="connsiteY20" fmla="*/ 339411 h 985749"/>
                <a:gd name="connsiteX21" fmla="*/ 701308 w 1505180"/>
                <a:gd name="connsiteY21" fmla="*/ 303467 h 985749"/>
                <a:gd name="connsiteX22" fmla="*/ 691319 w 1505180"/>
                <a:gd name="connsiteY22" fmla="*/ 285733 h 985749"/>
                <a:gd name="connsiteX23" fmla="*/ 701571 w 1505180"/>
                <a:gd name="connsiteY23" fmla="*/ 282422 h 985749"/>
                <a:gd name="connsiteX24" fmla="*/ 1425790 w 1505180"/>
                <a:gd name="connsiteY24" fmla="*/ 95606 h 985749"/>
                <a:gd name="connsiteX25" fmla="*/ 95395 w 1505180"/>
                <a:gd name="connsiteY25" fmla="*/ 911169 h 985749"/>
                <a:gd name="connsiteX26" fmla="*/ 1425790 w 1505180"/>
                <a:gd name="connsiteY26" fmla="*/ 911169 h 985749"/>
                <a:gd name="connsiteX27" fmla="*/ 1425790 w 1505180"/>
                <a:gd name="connsiteY27" fmla="*/ 95606 h 985749"/>
                <a:gd name="connsiteX28" fmla="*/ 0 w 1505180"/>
                <a:gd name="connsiteY28" fmla="*/ 89053 h 985749"/>
                <a:gd name="connsiteX29" fmla="*/ 1439560 w 1505180"/>
                <a:gd name="connsiteY29" fmla="*/ 23432 h 985749"/>
                <a:gd name="connsiteX30" fmla="*/ 1505180 w 1505180"/>
                <a:gd name="connsiteY30" fmla="*/ 89053 h 985749"/>
                <a:gd name="connsiteX31" fmla="*/ 1505180 w 1505180"/>
                <a:gd name="connsiteY31" fmla="*/ 920129 h 985749"/>
                <a:gd name="connsiteX32" fmla="*/ 1439560 w 1505180"/>
                <a:gd name="connsiteY32" fmla="*/ 985749 h 985749"/>
                <a:gd name="connsiteX33" fmla="*/ 88841 w 1505180"/>
                <a:gd name="connsiteY33" fmla="*/ 985749 h 985749"/>
                <a:gd name="connsiteX34" fmla="*/ 23221 w 1505180"/>
                <a:gd name="connsiteY34" fmla="*/ 920129 h 985749"/>
                <a:gd name="connsiteX35" fmla="*/ 0 w 1505180"/>
                <a:gd name="connsiteY35" fmla="*/ 89053 h 985749"/>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1402569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0 w 1481959"/>
                <a:gd name="connsiteY28" fmla="*/ 896697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0" fmla="*/ 678350 w 1519998"/>
                <a:gd name="connsiteY0" fmla="*/ 325515 h 1028842"/>
                <a:gd name="connsiteX1" fmla="*/ 688805 w 1519998"/>
                <a:gd name="connsiteY1" fmla="*/ 325749 h 1028842"/>
                <a:gd name="connsiteX2" fmla="*/ 971484 w 1519998"/>
                <a:gd name="connsiteY2" fmla="*/ 325749 h 1028842"/>
                <a:gd name="connsiteX3" fmla="*/ 1006067 w 1519998"/>
                <a:gd name="connsiteY3" fmla="*/ 358830 h 1028842"/>
                <a:gd name="connsiteX4" fmla="*/ 1006067 w 1519998"/>
                <a:gd name="connsiteY4" fmla="*/ 643013 h 1028842"/>
                <a:gd name="connsiteX5" fmla="*/ 1004269 w 1519998"/>
                <a:gd name="connsiteY5" fmla="*/ 661710 h 1028842"/>
                <a:gd name="connsiteX6" fmla="*/ 996845 w 1519998"/>
                <a:gd name="connsiteY6" fmla="*/ 663228 h 1028842"/>
                <a:gd name="connsiteX7" fmla="*/ 946477 w 1519998"/>
                <a:gd name="connsiteY7" fmla="*/ 613366 h 1028842"/>
                <a:gd name="connsiteX8" fmla="*/ 903068 w 1519998"/>
                <a:gd name="connsiteY8" fmla="*/ 613584 h 1028842"/>
                <a:gd name="connsiteX9" fmla="*/ 711725 w 1519998"/>
                <a:gd name="connsiteY9" fmla="*/ 806869 h 1028842"/>
                <a:gd name="connsiteX10" fmla="*/ 661739 w 1519998"/>
                <a:gd name="connsiteY10" fmla="*/ 785857 h 1028842"/>
                <a:gd name="connsiteX11" fmla="*/ 535436 w 1519998"/>
                <a:gd name="connsiteY11" fmla="*/ 659553 h 1028842"/>
                <a:gd name="connsiteX12" fmla="*/ 520710 w 1519998"/>
                <a:gd name="connsiteY12" fmla="*/ 624127 h 1028842"/>
                <a:gd name="connsiteX13" fmla="*/ 597984 w 1519998"/>
                <a:gd name="connsiteY13" fmla="*/ 545351 h 1028842"/>
                <a:gd name="connsiteX14" fmla="*/ 709855 w 1519998"/>
                <a:gd name="connsiteY14" fmla="*/ 435513 h 1028842"/>
                <a:gd name="connsiteX15" fmla="*/ 720565 w 1519998"/>
                <a:gd name="connsiteY15" fmla="*/ 417580 h 1028842"/>
                <a:gd name="connsiteX16" fmla="*/ 722022 w 1519998"/>
                <a:gd name="connsiteY16" fmla="*/ 414442 h 1028842"/>
                <a:gd name="connsiteX17" fmla="*/ 723721 w 1519998"/>
                <a:gd name="connsiteY17" fmla="*/ 405243 h 1028842"/>
                <a:gd name="connsiteX18" fmla="*/ 723262 w 1519998"/>
                <a:gd name="connsiteY18" fmla="*/ 400863 h 1028842"/>
                <a:gd name="connsiteX19" fmla="*/ 723111 w 1519998"/>
                <a:gd name="connsiteY19" fmla="*/ 400127 h 1028842"/>
                <a:gd name="connsiteX20" fmla="*/ 714729 w 1519998"/>
                <a:gd name="connsiteY20" fmla="*/ 382504 h 1028842"/>
                <a:gd name="connsiteX21" fmla="*/ 678087 w 1519998"/>
                <a:gd name="connsiteY21" fmla="*/ 346560 h 1028842"/>
                <a:gd name="connsiteX22" fmla="*/ 668098 w 1519998"/>
                <a:gd name="connsiteY22" fmla="*/ 328826 h 1028842"/>
                <a:gd name="connsiteX23" fmla="*/ 678350 w 1519998"/>
                <a:gd name="connsiteY23" fmla="*/ 325515 h 1028842"/>
                <a:gd name="connsiteX24" fmla="*/ 1402569 w 1519998"/>
                <a:gd name="connsiteY24" fmla="*/ 138699 h 1028842"/>
                <a:gd name="connsiteX25" fmla="*/ 72174 w 1519998"/>
                <a:gd name="connsiteY25" fmla="*/ 954262 h 1028842"/>
                <a:gd name="connsiteX26" fmla="*/ 1402569 w 1519998"/>
                <a:gd name="connsiteY26" fmla="*/ 954262 h 1028842"/>
                <a:gd name="connsiteX27" fmla="*/ 1402569 w 1519998"/>
                <a:gd name="connsiteY27" fmla="*/ 138699 h 1028842"/>
                <a:gd name="connsiteX28" fmla="*/ 0 w 1519998"/>
                <a:gd name="connsiteY28" fmla="*/ 963222 h 1028842"/>
                <a:gd name="connsiteX29" fmla="*/ 1416339 w 1519998"/>
                <a:gd name="connsiteY29" fmla="*/ 66525 h 1028842"/>
                <a:gd name="connsiteX30" fmla="*/ 1419830 w 1519998"/>
                <a:gd name="connsiteY30" fmla="*/ 73512 h 1028842"/>
                <a:gd name="connsiteX31" fmla="*/ 1481959 w 1519998"/>
                <a:gd name="connsiteY31" fmla="*/ 132146 h 1028842"/>
                <a:gd name="connsiteX32" fmla="*/ 1481959 w 1519998"/>
                <a:gd name="connsiteY32" fmla="*/ 963222 h 1028842"/>
                <a:gd name="connsiteX33" fmla="*/ 1416339 w 1519998"/>
                <a:gd name="connsiteY33" fmla="*/ 1028842 h 1028842"/>
                <a:gd name="connsiteX34" fmla="*/ 65620 w 1519998"/>
                <a:gd name="connsiteY34" fmla="*/ 1028842 h 1028842"/>
                <a:gd name="connsiteX35" fmla="*/ 0 w 1519998"/>
                <a:gd name="connsiteY35" fmla="*/ 963222 h 1028842"/>
                <a:gd name="connsiteX0" fmla="*/ 678350 w 1520000"/>
                <a:gd name="connsiteY0" fmla="*/ 367198 h 1070525"/>
                <a:gd name="connsiteX1" fmla="*/ 688805 w 1520000"/>
                <a:gd name="connsiteY1" fmla="*/ 367432 h 1070525"/>
                <a:gd name="connsiteX2" fmla="*/ 971484 w 1520000"/>
                <a:gd name="connsiteY2" fmla="*/ 367432 h 1070525"/>
                <a:gd name="connsiteX3" fmla="*/ 1006067 w 1520000"/>
                <a:gd name="connsiteY3" fmla="*/ 400513 h 1070525"/>
                <a:gd name="connsiteX4" fmla="*/ 1006067 w 1520000"/>
                <a:gd name="connsiteY4" fmla="*/ 684696 h 1070525"/>
                <a:gd name="connsiteX5" fmla="*/ 1004269 w 1520000"/>
                <a:gd name="connsiteY5" fmla="*/ 703393 h 1070525"/>
                <a:gd name="connsiteX6" fmla="*/ 996845 w 1520000"/>
                <a:gd name="connsiteY6" fmla="*/ 704911 h 1070525"/>
                <a:gd name="connsiteX7" fmla="*/ 946477 w 1520000"/>
                <a:gd name="connsiteY7" fmla="*/ 655049 h 1070525"/>
                <a:gd name="connsiteX8" fmla="*/ 903068 w 1520000"/>
                <a:gd name="connsiteY8" fmla="*/ 655267 h 1070525"/>
                <a:gd name="connsiteX9" fmla="*/ 711725 w 1520000"/>
                <a:gd name="connsiteY9" fmla="*/ 848552 h 1070525"/>
                <a:gd name="connsiteX10" fmla="*/ 661739 w 1520000"/>
                <a:gd name="connsiteY10" fmla="*/ 827540 h 1070525"/>
                <a:gd name="connsiteX11" fmla="*/ 535436 w 1520000"/>
                <a:gd name="connsiteY11" fmla="*/ 701236 h 1070525"/>
                <a:gd name="connsiteX12" fmla="*/ 520710 w 1520000"/>
                <a:gd name="connsiteY12" fmla="*/ 665810 h 1070525"/>
                <a:gd name="connsiteX13" fmla="*/ 597984 w 1520000"/>
                <a:gd name="connsiteY13" fmla="*/ 587034 h 1070525"/>
                <a:gd name="connsiteX14" fmla="*/ 709855 w 1520000"/>
                <a:gd name="connsiteY14" fmla="*/ 477196 h 1070525"/>
                <a:gd name="connsiteX15" fmla="*/ 720565 w 1520000"/>
                <a:gd name="connsiteY15" fmla="*/ 459263 h 1070525"/>
                <a:gd name="connsiteX16" fmla="*/ 722022 w 1520000"/>
                <a:gd name="connsiteY16" fmla="*/ 456125 h 1070525"/>
                <a:gd name="connsiteX17" fmla="*/ 723721 w 1520000"/>
                <a:gd name="connsiteY17" fmla="*/ 446926 h 1070525"/>
                <a:gd name="connsiteX18" fmla="*/ 723262 w 1520000"/>
                <a:gd name="connsiteY18" fmla="*/ 442546 h 1070525"/>
                <a:gd name="connsiteX19" fmla="*/ 723111 w 1520000"/>
                <a:gd name="connsiteY19" fmla="*/ 441810 h 1070525"/>
                <a:gd name="connsiteX20" fmla="*/ 714729 w 1520000"/>
                <a:gd name="connsiteY20" fmla="*/ 424187 h 1070525"/>
                <a:gd name="connsiteX21" fmla="*/ 678087 w 1520000"/>
                <a:gd name="connsiteY21" fmla="*/ 388243 h 1070525"/>
                <a:gd name="connsiteX22" fmla="*/ 668098 w 1520000"/>
                <a:gd name="connsiteY22" fmla="*/ 370509 h 1070525"/>
                <a:gd name="connsiteX23" fmla="*/ 678350 w 1520000"/>
                <a:gd name="connsiteY23" fmla="*/ 367198 h 1070525"/>
                <a:gd name="connsiteX24" fmla="*/ 1402569 w 1520000"/>
                <a:gd name="connsiteY24" fmla="*/ 180382 h 1070525"/>
                <a:gd name="connsiteX25" fmla="*/ 72174 w 1520000"/>
                <a:gd name="connsiteY25" fmla="*/ 995945 h 1070525"/>
                <a:gd name="connsiteX26" fmla="*/ 1402569 w 1520000"/>
                <a:gd name="connsiteY26" fmla="*/ 995945 h 1070525"/>
                <a:gd name="connsiteX27" fmla="*/ 1402569 w 1520000"/>
                <a:gd name="connsiteY27" fmla="*/ 180382 h 1070525"/>
                <a:gd name="connsiteX28" fmla="*/ 0 w 1520000"/>
                <a:gd name="connsiteY28" fmla="*/ 1004905 h 1070525"/>
                <a:gd name="connsiteX29" fmla="*/ 1416339 w 1520000"/>
                <a:gd name="connsiteY29" fmla="*/ 108208 h 1070525"/>
                <a:gd name="connsiteX30" fmla="*/ 1419830 w 1520000"/>
                <a:gd name="connsiteY30" fmla="*/ 115195 h 1070525"/>
                <a:gd name="connsiteX31" fmla="*/ 1481959 w 1520000"/>
                <a:gd name="connsiteY31" fmla="*/ 1004905 h 1070525"/>
                <a:gd name="connsiteX32" fmla="*/ 1416339 w 1520000"/>
                <a:gd name="connsiteY32" fmla="*/ 1070525 h 1070525"/>
                <a:gd name="connsiteX33" fmla="*/ 65620 w 1520000"/>
                <a:gd name="connsiteY33" fmla="*/ 1070525 h 1070525"/>
                <a:gd name="connsiteX34" fmla="*/ 0 w 1520000"/>
                <a:gd name="connsiteY34" fmla="*/ 1004905 h 1070525"/>
                <a:gd name="connsiteX0" fmla="*/ 678350 w 1546152"/>
                <a:gd name="connsiteY0" fmla="*/ 258990 h 962317"/>
                <a:gd name="connsiteX1" fmla="*/ 688805 w 1546152"/>
                <a:gd name="connsiteY1" fmla="*/ 259224 h 962317"/>
                <a:gd name="connsiteX2" fmla="*/ 971484 w 1546152"/>
                <a:gd name="connsiteY2" fmla="*/ 259224 h 962317"/>
                <a:gd name="connsiteX3" fmla="*/ 1006067 w 1546152"/>
                <a:gd name="connsiteY3" fmla="*/ 292305 h 962317"/>
                <a:gd name="connsiteX4" fmla="*/ 1006067 w 1546152"/>
                <a:gd name="connsiteY4" fmla="*/ 576488 h 962317"/>
                <a:gd name="connsiteX5" fmla="*/ 1004269 w 1546152"/>
                <a:gd name="connsiteY5" fmla="*/ 595185 h 962317"/>
                <a:gd name="connsiteX6" fmla="*/ 996845 w 1546152"/>
                <a:gd name="connsiteY6" fmla="*/ 596703 h 962317"/>
                <a:gd name="connsiteX7" fmla="*/ 946477 w 1546152"/>
                <a:gd name="connsiteY7" fmla="*/ 546841 h 962317"/>
                <a:gd name="connsiteX8" fmla="*/ 903068 w 1546152"/>
                <a:gd name="connsiteY8" fmla="*/ 547059 h 962317"/>
                <a:gd name="connsiteX9" fmla="*/ 711725 w 1546152"/>
                <a:gd name="connsiteY9" fmla="*/ 740344 h 962317"/>
                <a:gd name="connsiteX10" fmla="*/ 661739 w 1546152"/>
                <a:gd name="connsiteY10" fmla="*/ 719332 h 962317"/>
                <a:gd name="connsiteX11" fmla="*/ 535436 w 1546152"/>
                <a:gd name="connsiteY11" fmla="*/ 593028 h 962317"/>
                <a:gd name="connsiteX12" fmla="*/ 520710 w 1546152"/>
                <a:gd name="connsiteY12" fmla="*/ 557602 h 962317"/>
                <a:gd name="connsiteX13" fmla="*/ 597984 w 1546152"/>
                <a:gd name="connsiteY13" fmla="*/ 478826 h 962317"/>
                <a:gd name="connsiteX14" fmla="*/ 709855 w 1546152"/>
                <a:gd name="connsiteY14" fmla="*/ 368988 h 962317"/>
                <a:gd name="connsiteX15" fmla="*/ 720565 w 1546152"/>
                <a:gd name="connsiteY15" fmla="*/ 351055 h 962317"/>
                <a:gd name="connsiteX16" fmla="*/ 722022 w 1546152"/>
                <a:gd name="connsiteY16" fmla="*/ 347917 h 962317"/>
                <a:gd name="connsiteX17" fmla="*/ 723721 w 1546152"/>
                <a:gd name="connsiteY17" fmla="*/ 338718 h 962317"/>
                <a:gd name="connsiteX18" fmla="*/ 723262 w 1546152"/>
                <a:gd name="connsiteY18" fmla="*/ 334338 h 962317"/>
                <a:gd name="connsiteX19" fmla="*/ 723111 w 1546152"/>
                <a:gd name="connsiteY19" fmla="*/ 333602 h 962317"/>
                <a:gd name="connsiteX20" fmla="*/ 714729 w 1546152"/>
                <a:gd name="connsiteY20" fmla="*/ 315979 h 962317"/>
                <a:gd name="connsiteX21" fmla="*/ 678087 w 1546152"/>
                <a:gd name="connsiteY21" fmla="*/ 280035 h 962317"/>
                <a:gd name="connsiteX22" fmla="*/ 668098 w 1546152"/>
                <a:gd name="connsiteY22" fmla="*/ 262301 h 962317"/>
                <a:gd name="connsiteX23" fmla="*/ 678350 w 1546152"/>
                <a:gd name="connsiteY23" fmla="*/ 258990 h 962317"/>
                <a:gd name="connsiteX24" fmla="*/ 1402569 w 1546152"/>
                <a:gd name="connsiteY24" fmla="*/ 72174 h 962317"/>
                <a:gd name="connsiteX25" fmla="*/ 72174 w 1546152"/>
                <a:gd name="connsiteY25" fmla="*/ 887737 h 962317"/>
                <a:gd name="connsiteX26" fmla="*/ 1402569 w 1546152"/>
                <a:gd name="connsiteY26" fmla="*/ 887737 h 962317"/>
                <a:gd name="connsiteX27" fmla="*/ 1402569 w 1546152"/>
                <a:gd name="connsiteY27" fmla="*/ 72174 h 962317"/>
                <a:gd name="connsiteX28" fmla="*/ 0 w 1546152"/>
                <a:gd name="connsiteY28" fmla="*/ 896697 h 962317"/>
                <a:gd name="connsiteX29" fmla="*/ 1416339 w 1546152"/>
                <a:gd name="connsiteY29" fmla="*/ 0 h 962317"/>
                <a:gd name="connsiteX30" fmla="*/ 1481959 w 1546152"/>
                <a:gd name="connsiteY30" fmla="*/ 896697 h 962317"/>
                <a:gd name="connsiteX31" fmla="*/ 1416339 w 1546152"/>
                <a:gd name="connsiteY31" fmla="*/ 962317 h 962317"/>
                <a:gd name="connsiteX32" fmla="*/ 65620 w 1546152"/>
                <a:gd name="connsiteY32" fmla="*/ 962317 h 962317"/>
                <a:gd name="connsiteX33" fmla="*/ 0 w 1546152"/>
                <a:gd name="connsiteY33" fmla="*/ 896697 h 962317"/>
                <a:gd name="connsiteX0" fmla="*/ 678350 w 1481959"/>
                <a:gd name="connsiteY0" fmla="*/ 186815 h 890142"/>
                <a:gd name="connsiteX1" fmla="*/ 688805 w 1481959"/>
                <a:gd name="connsiteY1" fmla="*/ 187049 h 890142"/>
                <a:gd name="connsiteX2" fmla="*/ 971484 w 1481959"/>
                <a:gd name="connsiteY2" fmla="*/ 187049 h 890142"/>
                <a:gd name="connsiteX3" fmla="*/ 1006067 w 1481959"/>
                <a:gd name="connsiteY3" fmla="*/ 220130 h 890142"/>
                <a:gd name="connsiteX4" fmla="*/ 1006067 w 1481959"/>
                <a:gd name="connsiteY4" fmla="*/ 504313 h 890142"/>
                <a:gd name="connsiteX5" fmla="*/ 1004269 w 1481959"/>
                <a:gd name="connsiteY5" fmla="*/ 523010 h 890142"/>
                <a:gd name="connsiteX6" fmla="*/ 996845 w 1481959"/>
                <a:gd name="connsiteY6" fmla="*/ 524528 h 890142"/>
                <a:gd name="connsiteX7" fmla="*/ 946477 w 1481959"/>
                <a:gd name="connsiteY7" fmla="*/ 474666 h 890142"/>
                <a:gd name="connsiteX8" fmla="*/ 903068 w 1481959"/>
                <a:gd name="connsiteY8" fmla="*/ 474884 h 890142"/>
                <a:gd name="connsiteX9" fmla="*/ 711725 w 1481959"/>
                <a:gd name="connsiteY9" fmla="*/ 668169 h 890142"/>
                <a:gd name="connsiteX10" fmla="*/ 661739 w 1481959"/>
                <a:gd name="connsiteY10" fmla="*/ 647157 h 890142"/>
                <a:gd name="connsiteX11" fmla="*/ 535436 w 1481959"/>
                <a:gd name="connsiteY11" fmla="*/ 520853 h 890142"/>
                <a:gd name="connsiteX12" fmla="*/ 520710 w 1481959"/>
                <a:gd name="connsiteY12" fmla="*/ 485427 h 890142"/>
                <a:gd name="connsiteX13" fmla="*/ 597984 w 1481959"/>
                <a:gd name="connsiteY13" fmla="*/ 406651 h 890142"/>
                <a:gd name="connsiteX14" fmla="*/ 709855 w 1481959"/>
                <a:gd name="connsiteY14" fmla="*/ 296813 h 890142"/>
                <a:gd name="connsiteX15" fmla="*/ 720565 w 1481959"/>
                <a:gd name="connsiteY15" fmla="*/ 278880 h 890142"/>
                <a:gd name="connsiteX16" fmla="*/ 722022 w 1481959"/>
                <a:gd name="connsiteY16" fmla="*/ 275742 h 890142"/>
                <a:gd name="connsiteX17" fmla="*/ 723721 w 1481959"/>
                <a:gd name="connsiteY17" fmla="*/ 266543 h 890142"/>
                <a:gd name="connsiteX18" fmla="*/ 723262 w 1481959"/>
                <a:gd name="connsiteY18" fmla="*/ 262163 h 890142"/>
                <a:gd name="connsiteX19" fmla="*/ 723111 w 1481959"/>
                <a:gd name="connsiteY19" fmla="*/ 261427 h 890142"/>
                <a:gd name="connsiteX20" fmla="*/ 714729 w 1481959"/>
                <a:gd name="connsiteY20" fmla="*/ 243804 h 890142"/>
                <a:gd name="connsiteX21" fmla="*/ 678087 w 1481959"/>
                <a:gd name="connsiteY21" fmla="*/ 207860 h 890142"/>
                <a:gd name="connsiteX22" fmla="*/ 668098 w 1481959"/>
                <a:gd name="connsiteY22" fmla="*/ 190126 h 890142"/>
                <a:gd name="connsiteX23" fmla="*/ 678350 w 1481959"/>
                <a:gd name="connsiteY23" fmla="*/ 186815 h 890142"/>
                <a:gd name="connsiteX24" fmla="*/ 1402569 w 1481959"/>
                <a:gd name="connsiteY24" fmla="*/ -1 h 890142"/>
                <a:gd name="connsiteX25" fmla="*/ 72174 w 1481959"/>
                <a:gd name="connsiteY25" fmla="*/ 815562 h 890142"/>
                <a:gd name="connsiteX26" fmla="*/ 1402569 w 1481959"/>
                <a:gd name="connsiteY26" fmla="*/ 815562 h 890142"/>
                <a:gd name="connsiteX27" fmla="*/ 1402569 w 1481959"/>
                <a:gd name="connsiteY27" fmla="*/ -1 h 890142"/>
                <a:gd name="connsiteX28" fmla="*/ 0 w 1481959"/>
                <a:gd name="connsiteY28" fmla="*/ 824522 h 890142"/>
                <a:gd name="connsiteX29" fmla="*/ 1481959 w 1481959"/>
                <a:gd name="connsiteY29" fmla="*/ 824522 h 890142"/>
                <a:gd name="connsiteX30" fmla="*/ 1416339 w 1481959"/>
                <a:gd name="connsiteY30" fmla="*/ 890142 h 890142"/>
                <a:gd name="connsiteX31" fmla="*/ 65620 w 1481959"/>
                <a:gd name="connsiteY31" fmla="*/ 890142 h 890142"/>
                <a:gd name="connsiteX32" fmla="*/ 0 w 1481959"/>
                <a:gd name="connsiteY32" fmla="*/ 824522 h 890142"/>
                <a:gd name="connsiteX0" fmla="*/ 678350 w 1481959"/>
                <a:gd name="connsiteY0" fmla="*/ 55 h 703382"/>
                <a:gd name="connsiteX1" fmla="*/ 688805 w 1481959"/>
                <a:gd name="connsiteY1" fmla="*/ 289 h 703382"/>
                <a:gd name="connsiteX2" fmla="*/ 971484 w 1481959"/>
                <a:gd name="connsiteY2" fmla="*/ 289 h 703382"/>
                <a:gd name="connsiteX3" fmla="*/ 1006067 w 1481959"/>
                <a:gd name="connsiteY3" fmla="*/ 33370 h 703382"/>
                <a:gd name="connsiteX4" fmla="*/ 1006067 w 1481959"/>
                <a:gd name="connsiteY4" fmla="*/ 317553 h 703382"/>
                <a:gd name="connsiteX5" fmla="*/ 1004269 w 1481959"/>
                <a:gd name="connsiteY5" fmla="*/ 336250 h 703382"/>
                <a:gd name="connsiteX6" fmla="*/ 996845 w 1481959"/>
                <a:gd name="connsiteY6" fmla="*/ 337768 h 703382"/>
                <a:gd name="connsiteX7" fmla="*/ 946477 w 1481959"/>
                <a:gd name="connsiteY7" fmla="*/ 287906 h 703382"/>
                <a:gd name="connsiteX8" fmla="*/ 903068 w 1481959"/>
                <a:gd name="connsiteY8" fmla="*/ 288124 h 703382"/>
                <a:gd name="connsiteX9" fmla="*/ 711725 w 1481959"/>
                <a:gd name="connsiteY9" fmla="*/ 481409 h 703382"/>
                <a:gd name="connsiteX10" fmla="*/ 661739 w 1481959"/>
                <a:gd name="connsiteY10" fmla="*/ 460397 h 703382"/>
                <a:gd name="connsiteX11" fmla="*/ 535436 w 1481959"/>
                <a:gd name="connsiteY11" fmla="*/ 334093 h 703382"/>
                <a:gd name="connsiteX12" fmla="*/ 520710 w 1481959"/>
                <a:gd name="connsiteY12" fmla="*/ 298667 h 703382"/>
                <a:gd name="connsiteX13" fmla="*/ 597984 w 1481959"/>
                <a:gd name="connsiteY13" fmla="*/ 219891 h 703382"/>
                <a:gd name="connsiteX14" fmla="*/ 709855 w 1481959"/>
                <a:gd name="connsiteY14" fmla="*/ 110053 h 703382"/>
                <a:gd name="connsiteX15" fmla="*/ 720565 w 1481959"/>
                <a:gd name="connsiteY15" fmla="*/ 92120 h 703382"/>
                <a:gd name="connsiteX16" fmla="*/ 722022 w 1481959"/>
                <a:gd name="connsiteY16" fmla="*/ 88982 h 703382"/>
                <a:gd name="connsiteX17" fmla="*/ 723721 w 1481959"/>
                <a:gd name="connsiteY17" fmla="*/ 79783 h 703382"/>
                <a:gd name="connsiteX18" fmla="*/ 723262 w 1481959"/>
                <a:gd name="connsiteY18" fmla="*/ 75403 h 703382"/>
                <a:gd name="connsiteX19" fmla="*/ 723111 w 1481959"/>
                <a:gd name="connsiteY19" fmla="*/ 74667 h 703382"/>
                <a:gd name="connsiteX20" fmla="*/ 714729 w 1481959"/>
                <a:gd name="connsiteY20" fmla="*/ 57044 h 703382"/>
                <a:gd name="connsiteX21" fmla="*/ 678087 w 1481959"/>
                <a:gd name="connsiteY21" fmla="*/ 21100 h 703382"/>
                <a:gd name="connsiteX22" fmla="*/ 668098 w 1481959"/>
                <a:gd name="connsiteY22" fmla="*/ 3366 h 703382"/>
                <a:gd name="connsiteX23" fmla="*/ 678350 w 1481959"/>
                <a:gd name="connsiteY23" fmla="*/ 55 h 703382"/>
                <a:gd name="connsiteX24" fmla="*/ 1402569 w 1481959"/>
                <a:gd name="connsiteY24" fmla="*/ 628802 h 703382"/>
                <a:gd name="connsiteX25" fmla="*/ 72174 w 1481959"/>
                <a:gd name="connsiteY25" fmla="*/ 628802 h 703382"/>
                <a:gd name="connsiteX26" fmla="*/ 1402569 w 1481959"/>
                <a:gd name="connsiteY26" fmla="*/ 628802 h 703382"/>
                <a:gd name="connsiteX27" fmla="*/ 0 w 1481959"/>
                <a:gd name="connsiteY27" fmla="*/ 637762 h 703382"/>
                <a:gd name="connsiteX28" fmla="*/ 1481959 w 1481959"/>
                <a:gd name="connsiteY28" fmla="*/ 637762 h 703382"/>
                <a:gd name="connsiteX29" fmla="*/ 1416339 w 1481959"/>
                <a:gd name="connsiteY29" fmla="*/ 703382 h 703382"/>
                <a:gd name="connsiteX30" fmla="*/ 65620 w 1481959"/>
                <a:gd name="connsiteY30" fmla="*/ 703382 h 703382"/>
                <a:gd name="connsiteX31" fmla="*/ 0 w 1481959"/>
                <a:gd name="connsiteY31" fmla="*/ 637762 h 703382"/>
                <a:gd name="connsiteX0" fmla="*/ 678350 w 1481959"/>
                <a:gd name="connsiteY0" fmla="*/ 55 h 703382"/>
                <a:gd name="connsiteX1" fmla="*/ 688805 w 1481959"/>
                <a:gd name="connsiteY1" fmla="*/ 289 h 703382"/>
                <a:gd name="connsiteX2" fmla="*/ 971484 w 1481959"/>
                <a:gd name="connsiteY2" fmla="*/ 289 h 703382"/>
                <a:gd name="connsiteX3" fmla="*/ 1006067 w 1481959"/>
                <a:gd name="connsiteY3" fmla="*/ 33370 h 703382"/>
                <a:gd name="connsiteX4" fmla="*/ 1006067 w 1481959"/>
                <a:gd name="connsiteY4" fmla="*/ 317553 h 703382"/>
                <a:gd name="connsiteX5" fmla="*/ 1004269 w 1481959"/>
                <a:gd name="connsiteY5" fmla="*/ 336250 h 703382"/>
                <a:gd name="connsiteX6" fmla="*/ 996845 w 1481959"/>
                <a:gd name="connsiteY6" fmla="*/ 337768 h 703382"/>
                <a:gd name="connsiteX7" fmla="*/ 946477 w 1481959"/>
                <a:gd name="connsiteY7" fmla="*/ 287906 h 703382"/>
                <a:gd name="connsiteX8" fmla="*/ 903068 w 1481959"/>
                <a:gd name="connsiteY8" fmla="*/ 288124 h 703382"/>
                <a:gd name="connsiteX9" fmla="*/ 711725 w 1481959"/>
                <a:gd name="connsiteY9" fmla="*/ 481409 h 703382"/>
                <a:gd name="connsiteX10" fmla="*/ 661739 w 1481959"/>
                <a:gd name="connsiteY10" fmla="*/ 460397 h 703382"/>
                <a:gd name="connsiteX11" fmla="*/ 535436 w 1481959"/>
                <a:gd name="connsiteY11" fmla="*/ 334093 h 703382"/>
                <a:gd name="connsiteX12" fmla="*/ 520710 w 1481959"/>
                <a:gd name="connsiteY12" fmla="*/ 298667 h 703382"/>
                <a:gd name="connsiteX13" fmla="*/ 597984 w 1481959"/>
                <a:gd name="connsiteY13" fmla="*/ 219891 h 703382"/>
                <a:gd name="connsiteX14" fmla="*/ 709855 w 1481959"/>
                <a:gd name="connsiteY14" fmla="*/ 110053 h 703382"/>
                <a:gd name="connsiteX15" fmla="*/ 720565 w 1481959"/>
                <a:gd name="connsiteY15" fmla="*/ 92120 h 703382"/>
                <a:gd name="connsiteX16" fmla="*/ 722022 w 1481959"/>
                <a:gd name="connsiteY16" fmla="*/ 88982 h 703382"/>
                <a:gd name="connsiteX17" fmla="*/ 723721 w 1481959"/>
                <a:gd name="connsiteY17" fmla="*/ 79783 h 703382"/>
                <a:gd name="connsiteX18" fmla="*/ 723262 w 1481959"/>
                <a:gd name="connsiteY18" fmla="*/ 75403 h 703382"/>
                <a:gd name="connsiteX19" fmla="*/ 723111 w 1481959"/>
                <a:gd name="connsiteY19" fmla="*/ 74667 h 703382"/>
                <a:gd name="connsiteX20" fmla="*/ 714729 w 1481959"/>
                <a:gd name="connsiteY20" fmla="*/ 57044 h 703382"/>
                <a:gd name="connsiteX21" fmla="*/ 678087 w 1481959"/>
                <a:gd name="connsiteY21" fmla="*/ 21100 h 703382"/>
                <a:gd name="connsiteX22" fmla="*/ 668098 w 1481959"/>
                <a:gd name="connsiteY22" fmla="*/ 3366 h 703382"/>
                <a:gd name="connsiteX23" fmla="*/ 678350 w 1481959"/>
                <a:gd name="connsiteY23" fmla="*/ 55 h 703382"/>
                <a:gd name="connsiteX24" fmla="*/ 0 w 1481959"/>
                <a:gd name="connsiteY24" fmla="*/ 637762 h 703382"/>
                <a:gd name="connsiteX25" fmla="*/ 1481959 w 1481959"/>
                <a:gd name="connsiteY25" fmla="*/ 637762 h 703382"/>
                <a:gd name="connsiteX26" fmla="*/ 1416339 w 1481959"/>
                <a:gd name="connsiteY26" fmla="*/ 703382 h 703382"/>
                <a:gd name="connsiteX27" fmla="*/ 65620 w 1481959"/>
                <a:gd name="connsiteY27" fmla="*/ 703382 h 703382"/>
                <a:gd name="connsiteX28" fmla="*/ 0 w 1481959"/>
                <a:gd name="connsiteY28" fmla="*/ 637762 h 703382"/>
                <a:gd name="connsiteX0" fmla="*/ 678350 w 1481959"/>
                <a:gd name="connsiteY0" fmla="*/ 55 h 703382"/>
                <a:gd name="connsiteX1" fmla="*/ 688805 w 1481959"/>
                <a:gd name="connsiteY1" fmla="*/ 289 h 703382"/>
                <a:gd name="connsiteX2" fmla="*/ 971484 w 1481959"/>
                <a:gd name="connsiteY2" fmla="*/ 289 h 703382"/>
                <a:gd name="connsiteX3" fmla="*/ 1006067 w 1481959"/>
                <a:gd name="connsiteY3" fmla="*/ 33370 h 703382"/>
                <a:gd name="connsiteX4" fmla="*/ 1006067 w 1481959"/>
                <a:gd name="connsiteY4" fmla="*/ 317553 h 703382"/>
                <a:gd name="connsiteX5" fmla="*/ 1004269 w 1481959"/>
                <a:gd name="connsiteY5" fmla="*/ 336250 h 703382"/>
                <a:gd name="connsiteX6" fmla="*/ 996845 w 1481959"/>
                <a:gd name="connsiteY6" fmla="*/ 337768 h 703382"/>
                <a:gd name="connsiteX7" fmla="*/ 946477 w 1481959"/>
                <a:gd name="connsiteY7" fmla="*/ 287906 h 703382"/>
                <a:gd name="connsiteX8" fmla="*/ 903068 w 1481959"/>
                <a:gd name="connsiteY8" fmla="*/ 288124 h 703382"/>
                <a:gd name="connsiteX9" fmla="*/ 711725 w 1481959"/>
                <a:gd name="connsiteY9" fmla="*/ 481409 h 703382"/>
                <a:gd name="connsiteX10" fmla="*/ 661739 w 1481959"/>
                <a:gd name="connsiteY10" fmla="*/ 460397 h 703382"/>
                <a:gd name="connsiteX11" fmla="*/ 535436 w 1481959"/>
                <a:gd name="connsiteY11" fmla="*/ 334093 h 703382"/>
                <a:gd name="connsiteX12" fmla="*/ 520710 w 1481959"/>
                <a:gd name="connsiteY12" fmla="*/ 298667 h 703382"/>
                <a:gd name="connsiteX13" fmla="*/ 597984 w 1481959"/>
                <a:gd name="connsiteY13" fmla="*/ 219891 h 703382"/>
                <a:gd name="connsiteX14" fmla="*/ 709855 w 1481959"/>
                <a:gd name="connsiteY14" fmla="*/ 110053 h 703382"/>
                <a:gd name="connsiteX15" fmla="*/ 720565 w 1481959"/>
                <a:gd name="connsiteY15" fmla="*/ 92120 h 703382"/>
                <a:gd name="connsiteX16" fmla="*/ 722022 w 1481959"/>
                <a:gd name="connsiteY16" fmla="*/ 88982 h 703382"/>
                <a:gd name="connsiteX17" fmla="*/ 723721 w 1481959"/>
                <a:gd name="connsiteY17" fmla="*/ 79783 h 703382"/>
                <a:gd name="connsiteX18" fmla="*/ 723262 w 1481959"/>
                <a:gd name="connsiteY18" fmla="*/ 75403 h 703382"/>
                <a:gd name="connsiteX19" fmla="*/ 723111 w 1481959"/>
                <a:gd name="connsiteY19" fmla="*/ 74667 h 703382"/>
                <a:gd name="connsiteX20" fmla="*/ 714729 w 1481959"/>
                <a:gd name="connsiteY20" fmla="*/ 57044 h 703382"/>
                <a:gd name="connsiteX21" fmla="*/ 678087 w 1481959"/>
                <a:gd name="connsiteY21" fmla="*/ 21100 h 703382"/>
                <a:gd name="connsiteX22" fmla="*/ 668098 w 1481959"/>
                <a:gd name="connsiteY22" fmla="*/ 3366 h 703382"/>
                <a:gd name="connsiteX23" fmla="*/ 678350 w 1481959"/>
                <a:gd name="connsiteY23" fmla="*/ 55 h 703382"/>
                <a:gd name="connsiteX24" fmla="*/ 0 w 1481959"/>
                <a:gd name="connsiteY24" fmla="*/ 637762 h 703382"/>
                <a:gd name="connsiteX25" fmla="*/ 1481959 w 1481959"/>
                <a:gd name="connsiteY25" fmla="*/ 637762 h 703382"/>
                <a:gd name="connsiteX26" fmla="*/ 1416339 w 1481959"/>
                <a:gd name="connsiteY26" fmla="*/ 703382 h 703382"/>
                <a:gd name="connsiteX27" fmla="*/ 0 w 1481959"/>
                <a:gd name="connsiteY27" fmla="*/ 637762 h 703382"/>
                <a:gd name="connsiteX0" fmla="*/ 158632 w 962241"/>
                <a:gd name="connsiteY0" fmla="*/ 55 h 703382"/>
                <a:gd name="connsiteX1" fmla="*/ 169087 w 962241"/>
                <a:gd name="connsiteY1" fmla="*/ 289 h 703382"/>
                <a:gd name="connsiteX2" fmla="*/ 451766 w 962241"/>
                <a:gd name="connsiteY2" fmla="*/ 289 h 703382"/>
                <a:gd name="connsiteX3" fmla="*/ 486349 w 962241"/>
                <a:gd name="connsiteY3" fmla="*/ 33370 h 703382"/>
                <a:gd name="connsiteX4" fmla="*/ 486349 w 962241"/>
                <a:gd name="connsiteY4" fmla="*/ 317553 h 703382"/>
                <a:gd name="connsiteX5" fmla="*/ 484551 w 962241"/>
                <a:gd name="connsiteY5" fmla="*/ 336250 h 703382"/>
                <a:gd name="connsiteX6" fmla="*/ 477127 w 962241"/>
                <a:gd name="connsiteY6" fmla="*/ 337768 h 703382"/>
                <a:gd name="connsiteX7" fmla="*/ 426759 w 962241"/>
                <a:gd name="connsiteY7" fmla="*/ 287906 h 703382"/>
                <a:gd name="connsiteX8" fmla="*/ 383350 w 962241"/>
                <a:gd name="connsiteY8" fmla="*/ 288124 h 703382"/>
                <a:gd name="connsiteX9" fmla="*/ 192007 w 962241"/>
                <a:gd name="connsiteY9" fmla="*/ 481409 h 703382"/>
                <a:gd name="connsiteX10" fmla="*/ 142021 w 962241"/>
                <a:gd name="connsiteY10" fmla="*/ 460397 h 703382"/>
                <a:gd name="connsiteX11" fmla="*/ 15718 w 962241"/>
                <a:gd name="connsiteY11" fmla="*/ 334093 h 703382"/>
                <a:gd name="connsiteX12" fmla="*/ 992 w 962241"/>
                <a:gd name="connsiteY12" fmla="*/ 298667 h 703382"/>
                <a:gd name="connsiteX13" fmla="*/ 78266 w 962241"/>
                <a:gd name="connsiteY13" fmla="*/ 219891 h 703382"/>
                <a:gd name="connsiteX14" fmla="*/ 190137 w 962241"/>
                <a:gd name="connsiteY14" fmla="*/ 110053 h 703382"/>
                <a:gd name="connsiteX15" fmla="*/ 200847 w 962241"/>
                <a:gd name="connsiteY15" fmla="*/ 92120 h 703382"/>
                <a:gd name="connsiteX16" fmla="*/ 202304 w 962241"/>
                <a:gd name="connsiteY16" fmla="*/ 88982 h 703382"/>
                <a:gd name="connsiteX17" fmla="*/ 204003 w 962241"/>
                <a:gd name="connsiteY17" fmla="*/ 79783 h 703382"/>
                <a:gd name="connsiteX18" fmla="*/ 203544 w 962241"/>
                <a:gd name="connsiteY18" fmla="*/ 75403 h 703382"/>
                <a:gd name="connsiteX19" fmla="*/ 203393 w 962241"/>
                <a:gd name="connsiteY19" fmla="*/ 74667 h 703382"/>
                <a:gd name="connsiteX20" fmla="*/ 195011 w 962241"/>
                <a:gd name="connsiteY20" fmla="*/ 57044 h 703382"/>
                <a:gd name="connsiteX21" fmla="*/ 158369 w 962241"/>
                <a:gd name="connsiteY21" fmla="*/ 21100 h 703382"/>
                <a:gd name="connsiteX22" fmla="*/ 148380 w 962241"/>
                <a:gd name="connsiteY22" fmla="*/ 3366 h 703382"/>
                <a:gd name="connsiteX23" fmla="*/ 158632 w 962241"/>
                <a:gd name="connsiteY23" fmla="*/ 55 h 703382"/>
                <a:gd name="connsiteX24" fmla="*/ 896621 w 962241"/>
                <a:gd name="connsiteY24" fmla="*/ 703382 h 703382"/>
                <a:gd name="connsiteX25" fmla="*/ 962241 w 962241"/>
                <a:gd name="connsiteY25" fmla="*/ 637762 h 703382"/>
                <a:gd name="connsiteX26" fmla="*/ 896621 w 962241"/>
                <a:gd name="connsiteY26" fmla="*/ 703382 h 703382"/>
                <a:gd name="connsiteX0" fmla="*/ 158632 w 486646"/>
                <a:gd name="connsiteY0" fmla="*/ 55 h 485065"/>
                <a:gd name="connsiteX1" fmla="*/ 169087 w 486646"/>
                <a:gd name="connsiteY1" fmla="*/ 289 h 485065"/>
                <a:gd name="connsiteX2" fmla="*/ 451766 w 486646"/>
                <a:gd name="connsiteY2" fmla="*/ 289 h 485065"/>
                <a:gd name="connsiteX3" fmla="*/ 486349 w 486646"/>
                <a:gd name="connsiteY3" fmla="*/ 33370 h 485065"/>
                <a:gd name="connsiteX4" fmla="*/ 486349 w 486646"/>
                <a:gd name="connsiteY4" fmla="*/ 317553 h 485065"/>
                <a:gd name="connsiteX5" fmla="*/ 484551 w 486646"/>
                <a:gd name="connsiteY5" fmla="*/ 336250 h 485065"/>
                <a:gd name="connsiteX6" fmla="*/ 477127 w 486646"/>
                <a:gd name="connsiteY6" fmla="*/ 337768 h 485065"/>
                <a:gd name="connsiteX7" fmla="*/ 426759 w 486646"/>
                <a:gd name="connsiteY7" fmla="*/ 287906 h 485065"/>
                <a:gd name="connsiteX8" fmla="*/ 383350 w 486646"/>
                <a:gd name="connsiteY8" fmla="*/ 288124 h 485065"/>
                <a:gd name="connsiteX9" fmla="*/ 192007 w 486646"/>
                <a:gd name="connsiteY9" fmla="*/ 481409 h 485065"/>
                <a:gd name="connsiteX10" fmla="*/ 142021 w 486646"/>
                <a:gd name="connsiteY10" fmla="*/ 460397 h 485065"/>
                <a:gd name="connsiteX11" fmla="*/ 15718 w 486646"/>
                <a:gd name="connsiteY11" fmla="*/ 334093 h 485065"/>
                <a:gd name="connsiteX12" fmla="*/ 992 w 486646"/>
                <a:gd name="connsiteY12" fmla="*/ 298667 h 485065"/>
                <a:gd name="connsiteX13" fmla="*/ 78266 w 486646"/>
                <a:gd name="connsiteY13" fmla="*/ 219891 h 485065"/>
                <a:gd name="connsiteX14" fmla="*/ 190137 w 486646"/>
                <a:gd name="connsiteY14" fmla="*/ 110053 h 485065"/>
                <a:gd name="connsiteX15" fmla="*/ 200847 w 486646"/>
                <a:gd name="connsiteY15" fmla="*/ 92120 h 485065"/>
                <a:gd name="connsiteX16" fmla="*/ 202304 w 486646"/>
                <a:gd name="connsiteY16" fmla="*/ 88982 h 485065"/>
                <a:gd name="connsiteX17" fmla="*/ 204003 w 486646"/>
                <a:gd name="connsiteY17" fmla="*/ 79783 h 485065"/>
                <a:gd name="connsiteX18" fmla="*/ 203544 w 486646"/>
                <a:gd name="connsiteY18" fmla="*/ 75403 h 485065"/>
                <a:gd name="connsiteX19" fmla="*/ 203393 w 486646"/>
                <a:gd name="connsiteY19" fmla="*/ 74667 h 485065"/>
                <a:gd name="connsiteX20" fmla="*/ 195011 w 486646"/>
                <a:gd name="connsiteY20" fmla="*/ 57044 h 485065"/>
                <a:gd name="connsiteX21" fmla="*/ 158369 w 486646"/>
                <a:gd name="connsiteY21" fmla="*/ 21100 h 485065"/>
                <a:gd name="connsiteX22" fmla="*/ 148380 w 486646"/>
                <a:gd name="connsiteY22" fmla="*/ 3366 h 485065"/>
                <a:gd name="connsiteX23" fmla="*/ 158632 w 486646"/>
                <a:gd name="connsiteY23" fmla="*/ 55 h 485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86646" h="485065">
                  <a:moveTo>
                    <a:pt x="158632" y="55"/>
                  </a:moveTo>
                  <a:lnTo>
                    <a:pt x="169087" y="289"/>
                  </a:lnTo>
                  <a:lnTo>
                    <a:pt x="451766" y="289"/>
                  </a:lnTo>
                  <a:cubicBezTo>
                    <a:pt x="480584" y="-2217"/>
                    <a:pt x="488353" y="11818"/>
                    <a:pt x="486349" y="33370"/>
                  </a:cubicBezTo>
                  <a:lnTo>
                    <a:pt x="486349" y="317553"/>
                  </a:lnTo>
                  <a:lnTo>
                    <a:pt x="484551" y="336250"/>
                  </a:lnTo>
                  <a:cubicBezTo>
                    <a:pt x="482733" y="339091"/>
                    <a:pt x="479977" y="339068"/>
                    <a:pt x="477127" y="337768"/>
                  </a:cubicBezTo>
                  <a:lnTo>
                    <a:pt x="426759" y="287906"/>
                  </a:lnTo>
                  <a:cubicBezTo>
                    <a:pt x="414712" y="275979"/>
                    <a:pt x="395277" y="276076"/>
                    <a:pt x="383350" y="288124"/>
                  </a:cubicBezTo>
                  <a:lnTo>
                    <a:pt x="192007" y="481409"/>
                  </a:lnTo>
                  <a:cubicBezTo>
                    <a:pt x="179642" y="489291"/>
                    <a:pt x="169595" y="485360"/>
                    <a:pt x="142021" y="460397"/>
                  </a:cubicBezTo>
                  <a:lnTo>
                    <a:pt x="15718" y="334093"/>
                  </a:lnTo>
                  <a:cubicBezTo>
                    <a:pt x="5152" y="320618"/>
                    <a:pt x="-2888" y="310510"/>
                    <a:pt x="992" y="298667"/>
                  </a:cubicBezTo>
                  <a:lnTo>
                    <a:pt x="78266" y="219891"/>
                  </a:lnTo>
                  <a:lnTo>
                    <a:pt x="190137" y="110053"/>
                  </a:lnTo>
                  <a:cubicBezTo>
                    <a:pt x="195360" y="103041"/>
                    <a:pt x="198864" y="97182"/>
                    <a:pt x="200847" y="92120"/>
                  </a:cubicBezTo>
                  <a:cubicBezTo>
                    <a:pt x="201687" y="91224"/>
                    <a:pt x="202130" y="90148"/>
                    <a:pt x="202304" y="88982"/>
                  </a:cubicBezTo>
                  <a:cubicBezTo>
                    <a:pt x="203608" y="85474"/>
                    <a:pt x="204144" y="82444"/>
                    <a:pt x="204003" y="79783"/>
                  </a:cubicBezTo>
                  <a:cubicBezTo>
                    <a:pt x="204241" y="78306"/>
                    <a:pt x="204174" y="76824"/>
                    <a:pt x="203544" y="75403"/>
                  </a:cubicBezTo>
                  <a:cubicBezTo>
                    <a:pt x="203573" y="75136"/>
                    <a:pt x="203507" y="74894"/>
                    <a:pt x="203393" y="74667"/>
                  </a:cubicBezTo>
                  <a:cubicBezTo>
                    <a:pt x="202982" y="68153"/>
                    <a:pt x="200016" y="61952"/>
                    <a:pt x="195011" y="57044"/>
                  </a:cubicBezTo>
                  <a:lnTo>
                    <a:pt x="158369" y="21100"/>
                  </a:lnTo>
                  <a:lnTo>
                    <a:pt x="148380" y="3366"/>
                  </a:lnTo>
                  <a:cubicBezTo>
                    <a:pt x="149287" y="485"/>
                    <a:pt x="153565" y="7"/>
                    <a:pt x="158632" y="55"/>
                  </a:cubicBezTo>
                  <a:close/>
                </a:path>
              </a:pathLst>
            </a:custGeom>
            <a:grpFill/>
            <a:ln w="9525" cap="flat" cmpd="sng" algn="ctr">
              <a:noFill/>
              <a:prstDash val="soli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eaLnBrk="1" fontAlgn="auto" latinLnBrk="0" hangingPunct="1">
                <a:lnSpc>
                  <a:spcPct val="100000"/>
                </a:lnSpc>
                <a:spcBef>
                  <a:spcPts val="0"/>
                </a:spcBef>
                <a:spcAft>
                  <a:spcPts val="0"/>
                </a:spcAft>
                <a:buClrTx/>
                <a:buSzTx/>
                <a:buFontTx/>
                <a:buNone/>
                <a:tabLst/>
                <a:defRPr/>
              </a:pPr>
              <a:endParaRPr kumimoji="0" lang="en-US" sz="1398" b="0" i="0" u="none" strike="noStrike" kern="0" cap="none" spc="-50" normalizeH="0" baseline="0" noProof="0" dirty="0">
                <a:ln>
                  <a:solidFill>
                    <a:srgbClr val="FFFFFF">
                      <a:alpha val="0"/>
                    </a:srgbClr>
                  </a:solidFill>
                </a:ln>
                <a:solidFill>
                  <a:srgbClr val="000000"/>
                </a:solidFill>
                <a:effectLst/>
                <a:uLnTx/>
                <a:uFillTx/>
                <a:latin typeface="Segoe UI"/>
                <a:ea typeface="Segoe UI" pitchFamily="34" charset="0"/>
                <a:cs typeface="Segoe UI" pitchFamily="34" charset="0"/>
              </a:endParaRPr>
            </a:p>
          </p:txBody>
        </p:sp>
        <p:sp>
          <p:nvSpPr>
            <p:cNvPr id="8" name="Freeform 44"/>
            <p:cNvSpPr/>
            <p:nvPr/>
          </p:nvSpPr>
          <p:spPr>
            <a:xfrm>
              <a:off x="10467794" y="2369307"/>
              <a:ext cx="1004386" cy="752113"/>
            </a:xfrm>
            <a:custGeom>
              <a:avLst/>
              <a:gdLst>
                <a:gd name="connsiteX0" fmla="*/ 95091 w 1344068"/>
                <a:gd name="connsiteY0" fmla="*/ 183749 h 1006476"/>
                <a:gd name="connsiteX1" fmla="*/ 1234463 w 1344068"/>
                <a:gd name="connsiteY1" fmla="*/ 183749 h 1006476"/>
                <a:gd name="connsiteX2" fmla="*/ 1234463 w 1344068"/>
                <a:gd name="connsiteY2" fmla="*/ 912133 h 1006476"/>
                <a:gd name="connsiteX3" fmla="*/ 95091 w 1344068"/>
                <a:gd name="connsiteY3" fmla="*/ 912133 h 1006476"/>
                <a:gd name="connsiteX4" fmla="*/ 36697 w 1344068"/>
                <a:gd name="connsiteY4" fmla="*/ 138779 h 1006476"/>
                <a:gd name="connsiteX5" fmla="*/ 36697 w 1344068"/>
                <a:gd name="connsiteY5" fmla="*/ 979442 h 1006476"/>
                <a:gd name="connsiteX6" fmla="*/ 1307371 w 1344068"/>
                <a:gd name="connsiteY6" fmla="*/ 979442 h 1006476"/>
                <a:gd name="connsiteX7" fmla="*/ 1307371 w 1344068"/>
                <a:gd name="connsiteY7" fmla="*/ 138779 h 1006476"/>
                <a:gd name="connsiteX8" fmla="*/ 1239333 w 1344068"/>
                <a:gd name="connsiteY8" fmla="*/ 37932 h 1006476"/>
                <a:gd name="connsiteX9" fmla="*/ 1239333 w 1344068"/>
                <a:gd name="connsiteY9" fmla="*/ 105968 h 1006476"/>
                <a:gd name="connsiteX10" fmla="*/ 1307371 w 1344068"/>
                <a:gd name="connsiteY10" fmla="*/ 105968 h 1006476"/>
                <a:gd name="connsiteX11" fmla="*/ 1307371 w 1344068"/>
                <a:gd name="connsiteY11" fmla="*/ 37932 h 1006476"/>
                <a:gd name="connsiteX12" fmla="*/ 839679 w 1344068"/>
                <a:gd name="connsiteY12" fmla="*/ 37932 h 1006476"/>
                <a:gd name="connsiteX13" fmla="*/ 839679 w 1344068"/>
                <a:gd name="connsiteY13" fmla="*/ 105968 h 1006476"/>
                <a:gd name="connsiteX14" fmla="*/ 1173745 w 1344068"/>
                <a:gd name="connsiteY14" fmla="*/ 105968 h 1006476"/>
                <a:gd name="connsiteX15" fmla="*/ 1173745 w 1344068"/>
                <a:gd name="connsiteY15" fmla="*/ 37932 h 1006476"/>
                <a:gd name="connsiteX16" fmla="*/ 170323 w 1344068"/>
                <a:gd name="connsiteY16" fmla="*/ 37932 h 1006476"/>
                <a:gd name="connsiteX17" fmla="*/ 170323 w 1344068"/>
                <a:gd name="connsiteY17" fmla="*/ 105968 h 1006476"/>
                <a:gd name="connsiteX18" fmla="*/ 504389 w 1344068"/>
                <a:gd name="connsiteY18" fmla="*/ 105968 h 1006476"/>
                <a:gd name="connsiteX19" fmla="*/ 504389 w 1344068"/>
                <a:gd name="connsiteY19" fmla="*/ 37932 h 1006476"/>
                <a:gd name="connsiteX20" fmla="*/ 36697 w 1344068"/>
                <a:gd name="connsiteY20" fmla="*/ 37932 h 1006476"/>
                <a:gd name="connsiteX21" fmla="*/ 36697 w 1344068"/>
                <a:gd name="connsiteY21" fmla="*/ 105968 h 1006476"/>
                <a:gd name="connsiteX22" fmla="*/ 104736 w 1344068"/>
                <a:gd name="connsiteY22" fmla="*/ 105968 h 1006476"/>
                <a:gd name="connsiteX23" fmla="*/ 104736 w 1344068"/>
                <a:gd name="connsiteY23" fmla="*/ 37932 h 1006476"/>
                <a:gd name="connsiteX24" fmla="*/ 0 w 1344068"/>
                <a:gd name="connsiteY24" fmla="*/ 0 h 1006476"/>
                <a:gd name="connsiteX25" fmla="*/ 1344068 w 1344068"/>
                <a:gd name="connsiteY25" fmla="*/ 0 h 1006476"/>
                <a:gd name="connsiteX26" fmla="*/ 1344068 w 1344068"/>
                <a:gd name="connsiteY26" fmla="*/ 1006476 h 1006476"/>
                <a:gd name="connsiteX27" fmla="*/ 0 w 1344068"/>
                <a:gd name="connsiteY27" fmla="*/ 1006476 h 1006476"/>
                <a:gd name="connsiteX0" fmla="*/ 95091 w 1344068"/>
                <a:gd name="connsiteY0" fmla="*/ 912133 h 1006476"/>
                <a:gd name="connsiteX1" fmla="*/ 1234463 w 1344068"/>
                <a:gd name="connsiteY1" fmla="*/ 183749 h 1006476"/>
                <a:gd name="connsiteX2" fmla="*/ 1234463 w 1344068"/>
                <a:gd name="connsiteY2" fmla="*/ 912133 h 1006476"/>
                <a:gd name="connsiteX3" fmla="*/ 95091 w 1344068"/>
                <a:gd name="connsiteY3" fmla="*/ 912133 h 1006476"/>
                <a:gd name="connsiteX4" fmla="*/ 36697 w 1344068"/>
                <a:gd name="connsiteY4" fmla="*/ 138779 h 1006476"/>
                <a:gd name="connsiteX5" fmla="*/ 36697 w 1344068"/>
                <a:gd name="connsiteY5" fmla="*/ 979442 h 1006476"/>
                <a:gd name="connsiteX6" fmla="*/ 1307371 w 1344068"/>
                <a:gd name="connsiteY6" fmla="*/ 979442 h 1006476"/>
                <a:gd name="connsiteX7" fmla="*/ 1307371 w 1344068"/>
                <a:gd name="connsiteY7" fmla="*/ 138779 h 1006476"/>
                <a:gd name="connsiteX8" fmla="*/ 36697 w 1344068"/>
                <a:gd name="connsiteY8" fmla="*/ 138779 h 1006476"/>
                <a:gd name="connsiteX9" fmla="*/ 1239333 w 1344068"/>
                <a:gd name="connsiteY9" fmla="*/ 37932 h 1006476"/>
                <a:gd name="connsiteX10" fmla="*/ 1239333 w 1344068"/>
                <a:gd name="connsiteY10" fmla="*/ 105968 h 1006476"/>
                <a:gd name="connsiteX11" fmla="*/ 1307371 w 1344068"/>
                <a:gd name="connsiteY11" fmla="*/ 105968 h 1006476"/>
                <a:gd name="connsiteX12" fmla="*/ 1307371 w 1344068"/>
                <a:gd name="connsiteY12" fmla="*/ 37932 h 1006476"/>
                <a:gd name="connsiteX13" fmla="*/ 1239333 w 1344068"/>
                <a:gd name="connsiteY13" fmla="*/ 37932 h 1006476"/>
                <a:gd name="connsiteX14" fmla="*/ 839679 w 1344068"/>
                <a:gd name="connsiteY14" fmla="*/ 37932 h 1006476"/>
                <a:gd name="connsiteX15" fmla="*/ 839679 w 1344068"/>
                <a:gd name="connsiteY15" fmla="*/ 105968 h 1006476"/>
                <a:gd name="connsiteX16" fmla="*/ 1173745 w 1344068"/>
                <a:gd name="connsiteY16" fmla="*/ 105968 h 1006476"/>
                <a:gd name="connsiteX17" fmla="*/ 1173745 w 1344068"/>
                <a:gd name="connsiteY17" fmla="*/ 37932 h 1006476"/>
                <a:gd name="connsiteX18" fmla="*/ 839679 w 1344068"/>
                <a:gd name="connsiteY18" fmla="*/ 37932 h 1006476"/>
                <a:gd name="connsiteX19" fmla="*/ 170323 w 1344068"/>
                <a:gd name="connsiteY19" fmla="*/ 37932 h 1006476"/>
                <a:gd name="connsiteX20" fmla="*/ 170323 w 1344068"/>
                <a:gd name="connsiteY20" fmla="*/ 105968 h 1006476"/>
                <a:gd name="connsiteX21" fmla="*/ 504389 w 1344068"/>
                <a:gd name="connsiteY21" fmla="*/ 105968 h 1006476"/>
                <a:gd name="connsiteX22" fmla="*/ 504389 w 1344068"/>
                <a:gd name="connsiteY22" fmla="*/ 37932 h 1006476"/>
                <a:gd name="connsiteX23" fmla="*/ 170323 w 1344068"/>
                <a:gd name="connsiteY23" fmla="*/ 37932 h 1006476"/>
                <a:gd name="connsiteX24" fmla="*/ 36697 w 1344068"/>
                <a:gd name="connsiteY24" fmla="*/ 37932 h 1006476"/>
                <a:gd name="connsiteX25" fmla="*/ 36697 w 1344068"/>
                <a:gd name="connsiteY25" fmla="*/ 105968 h 1006476"/>
                <a:gd name="connsiteX26" fmla="*/ 104736 w 1344068"/>
                <a:gd name="connsiteY26" fmla="*/ 105968 h 1006476"/>
                <a:gd name="connsiteX27" fmla="*/ 104736 w 1344068"/>
                <a:gd name="connsiteY27" fmla="*/ 37932 h 1006476"/>
                <a:gd name="connsiteX28" fmla="*/ 36697 w 1344068"/>
                <a:gd name="connsiteY28" fmla="*/ 37932 h 1006476"/>
                <a:gd name="connsiteX29" fmla="*/ 0 w 1344068"/>
                <a:gd name="connsiteY29" fmla="*/ 0 h 1006476"/>
                <a:gd name="connsiteX30" fmla="*/ 1344068 w 1344068"/>
                <a:gd name="connsiteY30" fmla="*/ 0 h 1006476"/>
                <a:gd name="connsiteX31" fmla="*/ 1344068 w 1344068"/>
                <a:gd name="connsiteY31" fmla="*/ 1006476 h 1006476"/>
                <a:gd name="connsiteX32" fmla="*/ 0 w 1344068"/>
                <a:gd name="connsiteY32" fmla="*/ 1006476 h 1006476"/>
                <a:gd name="connsiteX33" fmla="*/ 0 w 1344068"/>
                <a:gd name="connsiteY33" fmla="*/ 0 h 1006476"/>
                <a:gd name="connsiteX0" fmla="*/ 1234463 w 1344068"/>
                <a:gd name="connsiteY0" fmla="*/ 912133 h 1006476"/>
                <a:gd name="connsiteX1" fmla="*/ 1234463 w 1344068"/>
                <a:gd name="connsiteY1" fmla="*/ 183749 h 1006476"/>
                <a:gd name="connsiteX2" fmla="*/ 1234463 w 1344068"/>
                <a:gd name="connsiteY2" fmla="*/ 912133 h 1006476"/>
                <a:gd name="connsiteX3" fmla="*/ 36697 w 1344068"/>
                <a:gd name="connsiteY3" fmla="*/ 138779 h 1006476"/>
                <a:gd name="connsiteX4" fmla="*/ 36697 w 1344068"/>
                <a:gd name="connsiteY4" fmla="*/ 979442 h 1006476"/>
                <a:gd name="connsiteX5" fmla="*/ 1307371 w 1344068"/>
                <a:gd name="connsiteY5" fmla="*/ 979442 h 1006476"/>
                <a:gd name="connsiteX6" fmla="*/ 1307371 w 1344068"/>
                <a:gd name="connsiteY6" fmla="*/ 138779 h 1006476"/>
                <a:gd name="connsiteX7" fmla="*/ 36697 w 1344068"/>
                <a:gd name="connsiteY7" fmla="*/ 138779 h 1006476"/>
                <a:gd name="connsiteX8" fmla="*/ 1239333 w 1344068"/>
                <a:gd name="connsiteY8" fmla="*/ 37932 h 1006476"/>
                <a:gd name="connsiteX9" fmla="*/ 1239333 w 1344068"/>
                <a:gd name="connsiteY9" fmla="*/ 105968 h 1006476"/>
                <a:gd name="connsiteX10" fmla="*/ 1307371 w 1344068"/>
                <a:gd name="connsiteY10" fmla="*/ 105968 h 1006476"/>
                <a:gd name="connsiteX11" fmla="*/ 1307371 w 1344068"/>
                <a:gd name="connsiteY11" fmla="*/ 37932 h 1006476"/>
                <a:gd name="connsiteX12" fmla="*/ 1239333 w 1344068"/>
                <a:gd name="connsiteY12" fmla="*/ 37932 h 1006476"/>
                <a:gd name="connsiteX13" fmla="*/ 839679 w 1344068"/>
                <a:gd name="connsiteY13" fmla="*/ 37932 h 1006476"/>
                <a:gd name="connsiteX14" fmla="*/ 839679 w 1344068"/>
                <a:gd name="connsiteY14" fmla="*/ 105968 h 1006476"/>
                <a:gd name="connsiteX15" fmla="*/ 1173745 w 1344068"/>
                <a:gd name="connsiteY15" fmla="*/ 105968 h 1006476"/>
                <a:gd name="connsiteX16" fmla="*/ 1173745 w 1344068"/>
                <a:gd name="connsiteY16" fmla="*/ 37932 h 1006476"/>
                <a:gd name="connsiteX17" fmla="*/ 839679 w 1344068"/>
                <a:gd name="connsiteY17" fmla="*/ 37932 h 1006476"/>
                <a:gd name="connsiteX18" fmla="*/ 170323 w 1344068"/>
                <a:gd name="connsiteY18" fmla="*/ 37932 h 1006476"/>
                <a:gd name="connsiteX19" fmla="*/ 170323 w 1344068"/>
                <a:gd name="connsiteY19" fmla="*/ 105968 h 1006476"/>
                <a:gd name="connsiteX20" fmla="*/ 504389 w 1344068"/>
                <a:gd name="connsiteY20" fmla="*/ 105968 h 1006476"/>
                <a:gd name="connsiteX21" fmla="*/ 504389 w 1344068"/>
                <a:gd name="connsiteY21" fmla="*/ 37932 h 1006476"/>
                <a:gd name="connsiteX22" fmla="*/ 170323 w 1344068"/>
                <a:gd name="connsiteY22" fmla="*/ 37932 h 1006476"/>
                <a:gd name="connsiteX23" fmla="*/ 36697 w 1344068"/>
                <a:gd name="connsiteY23" fmla="*/ 37932 h 1006476"/>
                <a:gd name="connsiteX24" fmla="*/ 36697 w 1344068"/>
                <a:gd name="connsiteY24" fmla="*/ 105968 h 1006476"/>
                <a:gd name="connsiteX25" fmla="*/ 104736 w 1344068"/>
                <a:gd name="connsiteY25" fmla="*/ 105968 h 1006476"/>
                <a:gd name="connsiteX26" fmla="*/ 104736 w 1344068"/>
                <a:gd name="connsiteY26" fmla="*/ 37932 h 1006476"/>
                <a:gd name="connsiteX27" fmla="*/ 36697 w 1344068"/>
                <a:gd name="connsiteY27" fmla="*/ 37932 h 1006476"/>
                <a:gd name="connsiteX28" fmla="*/ 0 w 1344068"/>
                <a:gd name="connsiteY28" fmla="*/ 0 h 1006476"/>
                <a:gd name="connsiteX29" fmla="*/ 1344068 w 1344068"/>
                <a:gd name="connsiteY29" fmla="*/ 0 h 1006476"/>
                <a:gd name="connsiteX30" fmla="*/ 1344068 w 1344068"/>
                <a:gd name="connsiteY30" fmla="*/ 1006476 h 1006476"/>
                <a:gd name="connsiteX31" fmla="*/ 0 w 1344068"/>
                <a:gd name="connsiteY31" fmla="*/ 1006476 h 1006476"/>
                <a:gd name="connsiteX32" fmla="*/ 0 w 1344068"/>
                <a:gd name="connsiteY32" fmla="*/ 0 h 1006476"/>
                <a:gd name="connsiteX0" fmla="*/ 36697 w 1344068"/>
                <a:gd name="connsiteY0" fmla="*/ 138779 h 1006476"/>
                <a:gd name="connsiteX1" fmla="*/ 36697 w 1344068"/>
                <a:gd name="connsiteY1" fmla="*/ 979442 h 1006476"/>
                <a:gd name="connsiteX2" fmla="*/ 1307371 w 1344068"/>
                <a:gd name="connsiteY2" fmla="*/ 979442 h 1006476"/>
                <a:gd name="connsiteX3" fmla="*/ 1307371 w 1344068"/>
                <a:gd name="connsiteY3" fmla="*/ 138779 h 1006476"/>
                <a:gd name="connsiteX4" fmla="*/ 36697 w 1344068"/>
                <a:gd name="connsiteY4" fmla="*/ 138779 h 1006476"/>
                <a:gd name="connsiteX5" fmla="*/ 1239333 w 1344068"/>
                <a:gd name="connsiteY5" fmla="*/ 37932 h 1006476"/>
                <a:gd name="connsiteX6" fmla="*/ 1239333 w 1344068"/>
                <a:gd name="connsiteY6" fmla="*/ 105968 h 1006476"/>
                <a:gd name="connsiteX7" fmla="*/ 1307371 w 1344068"/>
                <a:gd name="connsiteY7" fmla="*/ 105968 h 1006476"/>
                <a:gd name="connsiteX8" fmla="*/ 1307371 w 1344068"/>
                <a:gd name="connsiteY8" fmla="*/ 37932 h 1006476"/>
                <a:gd name="connsiteX9" fmla="*/ 1239333 w 1344068"/>
                <a:gd name="connsiteY9" fmla="*/ 37932 h 1006476"/>
                <a:gd name="connsiteX10" fmla="*/ 839679 w 1344068"/>
                <a:gd name="connsiteY10" fmla="*/ 37932 h 1006476"/>
                <a:gd name="connsiteX11" fmla="*/ 839679 w 1344068"/>
                <a:gd name="connsiteY11" fmla="*/ 105968 h 1006476"/>
                <a:gd name="connsiteX12" fmla="*/ 1173745 w 1344068"/>
                <a:gd name="connsiteY12" fmla="*/ 105968 h 1006476"/>
                <a:gd name="connsiteX13" fmla="*/ 1173745 w 1344068"/>
                <a:gd name="connsiteY13" fmla="*/ 37932 h 1006476"/>
                <a:gd name="connsiteX14" fmla="*/ 839679 w 1344068"/>
                <a:gd name="connsiteY14" fmla="*/ 37932 h 1006476"/>
                <a:gd name="connsiteX15" fmla="*/ 170323 w 1344068"/>
                <a:gd name="connsiteY15" fmla="*/ 37932 h 1006476"/>
                <a:gd name="connsiteX16" fmla="*/ 170323 w 1344068"/>
                <a:gd name="connsiteY16" fmla="*/ 105968 h 1006476"/>
                <a:gd name="connsiteX17" fmla="*/ 504389 w 1344068"/>
                <a:gd name="connsiteY17" fmla="*/ 105968 h 1006476"/>
                <a:gd name="connsiteX18" fmla="*/ 504389 w 1344068"/>
                <a:gd name="connsiteY18" fmla="*/ 37932 h 1006476"/>
                <a:gd name="connsiteX19" fmla="*/ 170323 w 1344068"/>
                <a:gd name="connsiteY19" fmla="*/ 37932 h 1006476"/>
                <a:gd name="connsiteX20" fmla="*/ 36697 w 1344068"/>
                <a:gd name="connsiteY20" fmla="*/ 37932 h 1006476"/>
                <a:gd name="connsiteX21" fmla="*/ 36697 w 1344068"/>
                <a:gd name="connsiteY21" fmla="*/ 105968 h 1006476"/>
                <a:gd name="connsiteX22" fmla="*/ 104736 w 1344068"/>
                <a:gd name="connsiteY22" fmla="*/ 105968 h 1006476"/>
                <a:gd name="connsiteX23" fmla="*/ 104736 w 1344068"/>
                <a:gd name="connsiteY23" fmla="*/ 37932 h 1006476"/>
                <a:gd name="connsiteX24" fmla="*/ 36697 w 1344068"/>
                <a:gd name="connsiteY24" fmla="*/ 37932 h 1006476"/>
                <a:gd name="connsiteX25" fmla="*/ 0 w 1344068"/>
                <a:gd name="connsiteY25" fmla="*/ 0 h 1006476"/>
                <a:gd name="connsiteX26" fmla="*/ 1344068 w 1344068"/>
                <a:gd name="connsiteY26" fmla="*/ 0 h 1006476"/>
                <a:gd name="connsiteX27" fmla="*/ 1344068 w 1344068"/>
                <a:gd name="connsiteY27" fmla="*/ 1006476 h 1006476"/>
                <a:gd name="connsiteX28" fmla="*/ 0 w 1344068"/>
                <a:gd name="connsiteY28" fmla="*/ 1006476 h 1006476"/>
                <a:gd name="connsiteX29" fmla="*/ 0 w 1344068"/>
                <a:gd name="connsiteY29" fmla="*/ 0 h 1006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344068" h="1006476">
                  <a:moveTo>
                    <a:pt x="36697" y="138779"/>
                  </a:moveTo>
                  <a:lnTo>
                    <a:pt x="36697" y="979442"/>
                  </a:lnTo>
                  <a:lnTo>
                    <a:pt x="1307371" y="979442"/>
                  </a:lnTo>
                  <a:lnTo>
                    <a:pt x="1307371" y="138779"/>
                  </a:lnTo>
                  <a:lnTo>
                    <a:pt x="36697" y="138779"/>
                  </a:lnTo>
                  <a:close/>
                  <a:moveTo>
                    <a:pt x="1239333" y="37932"/>
                  </a:moveTo>
                  <a:lnTo>
                    <a:pt x="1239333" y="105968"/>
                  </a:lnTo>
                  <a:lnTo>
                    <a:pt x="1307371" y="105968"/>
                  </a:lnTo>
                  <a:lnTo>
                    <a:pt x="1307371" y="37932"/>
                  </a:lnTo>
                  <a:lnTo>
                    <a:pt x="1239333" y="37932"/>
                  </a:lnTo>
                  <a:close/>
                  <a:moveTo>
                    <a:pt x="839679" y="37932"/>
                  </a:moveTo>
                  <a:lnTo>
                    <a:pt x="839679" y="105968"/>
                  </a:lnTo>
                  <a:lnTo>
                    <a:pt x="1173745" y="105968"/>
                  </a:lnTo>
                  <a:lnTo>
                    <a:pt x="1173745" y="37932"/>
                  </a:lnTo>
                  <a:lnTo>
                    <a:pt x="839679" y="37932"/>
                  </a:lnTo>
                  <a:close/>
                  <a:moveTo>
                    <a:pt x="170323" y="37932"/>
                  </a:moveTo>
                  <a:lnTo>
                    <a:pt x="170323" y="105968"/>
                  </a:lnTo>
                  <a:lnTo>
                    <a:pt x="504389" y="105968"/>
                  </a:lnTo>
                  <a:lnTo>
                    <a:pt x="504389" y="37932"/>
                  </a:lnTo>
                  <a:lnTo>
                    <a:pt x="170323" y="37932"/>
                  </a:lnTo>
                  <a:close/>
                  <a:moveTo>
                    <a:pt x="36697" y="37932"/>
                  </a:moveTo>
                  <a:lnTo>
                    <a:pt x="36697" y="105968"/>
                  </a:lnTo>
                  <a:lnTo>
                    <a:pt x="104736" y="105968"/>
                  </a:lnTo>
                  <a:lnTo>
                    <a:pt x="104736" y="37932"/>
                  </a:lnTo>
                  <a:lnTo>
                    <a:pt x="36697" y="37932"/>
                  </a:lnTo>
                  <a:close/>
                  <a:moveTo>
                    <a:pt x="0" y="0"/>
                  </a:moveTo>
                  <a:lnTo>
                    <a:pt x="1344068" y="0"/>
                  </a:lnTo>
                  <a:lnTo>
                    <a:pt x="1344068" y="1006476"/>
                  </a:lnTo>
                  <a:lnTo>
                    <a:pt x="0" y="1006476"/>
                  </a:lnTo>
                  <a:lnTo>
                    <a:pt x="0" y="0"/>
                  </a:lnTo>
                  <a:close/>
                </a:path>
              </a:pathLst>
            </a:cu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grpSp>
      <p:sp>
        <p:nvSpPr>
          <p:cNvPr id="9" name="TextBox 57"/>
          <p:cNvSpPr txBox="1"/>
          <p:nvPr/>
        </p:nvSpPr>
        <p:spPr>
          <a:xfrm>
            <a:off x="721937" y="3118707"/>
            <a:ext cx="2218113"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282828"/>
                </a:solidFill>
                <a:effectLst/>
                <a:uLnTx/>
                <a:uFillTx/>
                <a:latin typeface="Segoe UI" panose="020B0502040204020203" pitchFamily="34" charset="0"/>
                <a:cs typeface="Segoe UI" panose="020B0502040204020203" pitchFamily="34" charset="0"/>
              </a:rPr>
              <a:t>Azure </a:t>
            </a:r>
            <a:r>
              <a:rPr lang="zh-TW" altLang="en-US" kern="0" dirty="0">
                <a:solidFill>
                  <a:srgbClr val="282828"/>
                </a:solidFill>
                <a:latin typeface="Segoe UI" panose="020B0502040204020203" pitchFamily="34" charset="0"/>
                <a:cs typeface="Segoe UI" panose="020B0502040204020203" pitchFamily="34" charset="0"/>
              </a:rPr>
              <a:t>資料服務</a:t>
            </a:r>
            <a:endParaRPr kumimoji="0" lang="en-US" sz="1800" b="0" i="0" u="none" strike="noStrike" kern="0" cap="none" spc="0" normalizeH="0" baseline="0" noProof="0" dirty="0">
              <a:ln>
                <a:noFill/>
              </a:ln>
              <a:solidFill>
                <a:srgbClr val="282828"/>
              </a:solidFill>
              <a:effectLst/>
              <a:uLnTx/>
              <a:uFillTx/>
              <a:latin typeface="Segoe UI" panose="020B0502040204020203" pitchFamily="34" charset="0"/>
              <a:cs typeface="Segoe UI" panose="020B0502040204020203" pitchFamily="34" charset="0"/>
            </a:endParaRPr>
          </a:p>
        </p:txBody>
      </p:sp>
      <p:sp>
        <p:nvSpPr>
          <p:cNvPr id="10" name="TextBox 58"/>
          <p:cNvSpPr txBox="1"/>
          <p:nvPr/>
        </p:nvSpPr>
        <p:spPr>
          <a:xfrm>
            <a:off x="5441208" y="2307427"/>
            <a:ext cx="1377057" cy="30777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TW" altLang="en-US" sz="14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您的應用程式</a:t>
            </a:r>
            <a:endParaRPr kumimoji="0" lang="en-US" sz="14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endParaRPr>
          </a:p>
        </p:txBody>
      </p:sp>
      <p:sp>
        <p:nvSpPr>
          <p:cNvPr id="11" name="TextBox 52"/>
          <p:cNvSpPr txBox="1"/>
          <p:nvPr/>
        </p:nvSpPr>
        <p:spPr>
          <a:xfrm>
            <a:off x="8813177" y="3545812"/>
            <a:ext cx="2700000" cy="731520"/>
          </a:xfrm>
          <a:prstGeom prst="rect">
            <a:avLst/>
          </a:prstGeom>
          <a:solidFill>
            <a:srgbClr val="EDC30D"/>
          </a:solidFill>
        </p:spPr>
        <p:txBody>
          <a:bodyPr wrap="square" tIns="9144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TW" altLang="en-US" sz="2400" b="1" i="0" u="none" strike="noStrike" kern="0" cap="none" spc="0" normalizeH="0" baseline="0" noProof="0" dirty="0">
                <a:ln>
                  <a:noFill/>
                </a:ln>
                <a:solidFill>
                  <a:srgbClr val="282828"/>
                </a:solidFill>
                <a:effectLst/>
                <a:uLnTx/>
                <a:uFillTx/>
                <a:latin typeface="Segoe UI" panose="020B0502040204020203" pitchFamily="34" charset="0"/>
                <a:cs typeface="Segoe UI" panose="020B0502040204020203" pitchFamily="34" charset="0"/>
              </a:rPr>
              <a:t>存取控制</a:t>
            </a:r>
            <a:endParaRPr kumimoji="0" lang="en-US" sz="2400" b="1" i="0" u="none" strike="noStrike" kern="0" cap="none" spc="0" normalizeH="0" baseline="0" noProof="0" dirty="0">
              <a:ln>
                <a:noFill/>
              </a:ln>
              <a:solidFill>
                <a:srgbClr val="282828"/>
              </a:solidFill>
              <a:effectLst/>
              <a:uLnTx/>
              <a:uFillTx/>
              <a:latin typeface="Segoe UI" panose="020B0502040204020203" pitchFamily="34" charset="0"/>
              <a:cs typeface="Segoe UI" panose="020B0502040204020203" pitchFamily="34" charset="0"/>
            </a:endParaRPr>
          </a:p>
        </p:txBody>
      </p:sp>
      <p:sp>
        <p:nvSpPr>
          <p:cNvPr id="12" name="TextBox 1"/>
          <p:cNvSpPr txBox="1"/>
          <p:nvPr/>
        </p:nvSpPr>
        <p:spPr>
          <a:xfrm>
            <a:off x="715587" y="3545812"/>
            <a:ext cx="2700000" cy="731520"/>
          </a:xfrm>
          <a:prstGeom prst="rect">
            <a:avLst/>
          </a:prstGeom>
          <a:solidFill>
            <a:srgbClr val="EDC30D"/>
          </a:solidFill>
        </p:spPr>
        <p:txBody>
          <a:bodyPr wrap="square" tIns="9144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TW" altLang="en-US" sz="2400" b="1" i="0" u="none" strike="noStrike" kern="0" cap="none" spc="0" normalizeH="0" baseline="0" noProof="0" dirty="0">
                <a:ln>
                  <a:noFill/>
                </a:ln>
                <a:solidFill>
                  <a:srgbClr val="282828"/>
                </a:solidFill>
                <a:effectLst/>
                <a:uLnTx/>
                <a:uFillTx/>
                <a:latin typeface="Segoe UI" panose="020B0502040204020203" pitchFamily="34" charset="0"/>
                <a:cs typeface="Segoe UI" panose="020B0502040204020203" pitchFamily="34" charset="0"/>
              </a:rPr>
              <a:t>資料儲存</a:t>
            </a:r>
            <a:endParaRPr kumimoji="0" lang="en-US" sz="2400" b="1" i="0" u="none" strike="noStrike" kern="0" cap="none" spc="0" normalizeH="0" baseline="0" noProof="0" dirty="0">
              <a:ln>
                <a:noFill/>
              </a:ln>
              <a:solidFill>
                <a:srgbClr val="282828"/>
              </a:solidFill>
              <a:effectLst/>
              <a:uLnTx/>
              <a:uFillTx/>
              <a:latin typeface="Segoe UI" panose="020B0502040204020203" pitchFamily="34" charset="0"/>
              <a:cs typeface="Segoe UI" panose="020B0502040204020203" pitchFamily="34" charset="0"/>
            </a:endParaRPr>
          </a:p>
        </p:txBody>
      </p:sp>
      <p:sp>
        <p:nvSpPr>
          <p:cNvPr id="13" name="TextBox 50"/>
          <p:cNvSpPr txBox="1"/>
          <p:nvPr/>
        </p:nvSpPr>
        <p:spPr>
          <a:xfrm>
            <a:off x="3416299" y="3545812"/>
            <a:ext cx="2700000" cy="731520"/>
          </a:xfrm>
          <a:prstGeom prst="rect">
            <a:avLst/>
          </a:prstGeom>
          <a:solidFill>
            <a:srgbClr val="EDC30D"/>
          </a:solidFill>
        </p:spPr>
        <p:txBody>
          <a:bodyPr wrap="square" tIns="9144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TW" altLang="en-US" sz="2400" b="1" i="0" u="none" strike="noStrike" kern="0" cap="none" spc="0" normalizeH="0" baseline="0" noProof="0" dirty="0">
                <a:ln>
                  <a:noFill/>
                </a:ln>
                <a:solidFill>
                  <a:srgbClr val="282828"/>
                </a:solidFill>
                <a:effectLst/>
                <a:uLnTx/>
                <a:uFillTx/>
                <a:latin typeface="Segoe UI" panose="020B0502040204020203" pitchFamily="34" charset="0"/>
                <a:cs typeface="Segoe UI" panose="020B0502040204020203" pitchFamily="34" charset="0"/>
              </a:rPr>
              <a:t>資料分析</a:t>
            </a:r>
            <a:endParaRPr kumimoji="0" lang="en-US" sz="2400" b="1" i="0" u="none" strike="noStrike" kern="0" cap="none" spc="0" normalizeH="0" baseline="0" noProof="0" dirty="0">
              <a:ln>
                <a:noFill/>
              </a:ln>
              <a:solidFill>
                <a:srgbClr val="282828"/>
              </a:solidFill>
              <a:effectLst/>
              <a:uLnTx/>
              <a:uFillTx/>
              <a:latin typeface="Segoe UI" panose="020B0502040204020203" pitchFamily="34" charset="0"/>
              <a:cs typeface="Segoe UI" panose="020B0502040204020203" pitchFamily="34" charset="0"/>
            </a:endParaRPr>
          </a:p>
        </p:txBody>
      </p:sp>
      <p:sp>
        <p:nvSpPr>
          <p:cNvPr id="14" name="TextBox 51"/>
          <p:cNvSpPr txBox="1"/>
          <p:nvPr/>
        </p:nvSpPr>
        <p:spPr>
          <a:xfrm>
            <a:off x="6113850" y="3545812"/>
            <a:ext cx="2700000" cy="731520"/>
          </a:xfrm>
          <a:prstGeom prst="rect">
            <a:avLst/>
          </a:prstGeom>
          <a:solidFill>
            <a:srgbClr val="EDC30D"/>
          </a:solidFill>
        </p:spPr>
        <p:txBody>
          <a:bodyPr wrap="square" tIns="9144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TW" altLang="en-US" sz="2400" b="1" i="0" u="none" strike="noStrike" kern="0" cap="none" spc="0" normalizeH="0" baseline="0" noProof="0" dirty="0">
                <a:ln>
                  <a:noFill/>
                </a:ln>
                <a:solidFill>
                  <a:srgbClr val="282828"/>
                </a:solidFill>
                <a:effectLst/>
                <a:uLnTx/>
                <a:uFillTx/>
                <a:latin typeface="Segoe UI" panose="020B0502040204020203" pitchFamily="34" charset="0"/>
                <a:cs typeface="Segoe UI" panose="020B0502040204020203" pitchFamily="34" charset="0"/>
              </a:rPr>
              <a:t>物聯網</a:t>
            </a:r>
            <a:endParaRPr kumimoji="0" lang="en-US" sz="2400" b="1" i="0" u="none" strike="noStrike" kern="0" cap="none" spc="0" normalizeH="0" baseline="0" noProof="0" dirty="0">
              <a:ln>
                <a:noFill/>
              </a:ln>
              <a:solidFill>
                <a:srgbClr val="282828"/>
              </a:solidFill>
              <a:effectLst/>
              <a:uLnTx/>
              <a:uFillTx/>
              <a:latin typeface="Segoe UI" panose="020B0502040204020203" pitchFamily="34" charset="0"/>
              <a:cs typeface="Segoe UI" panose="020B0502040204020203" pitchFamily="34" charset="0"/>
            </a:endParaRPr>
          </a:p>
        </p:txBody>
      </p:sp>
      <p:sp>
        <p:nvSpPr>
          <p:cNvPr id="15" name="Right Arrow 16"/>
          <p:cNvSpPr/>
          <p:nvPr/>
        </p:nvSpPr>
        <p:spPr>
          <a:xfrm rot="16200000">
            <a:off x="5992377" y="2648312"/>
            <a:ext cx="274718" cy="345138"/>
          </a:xfrm>
          <a:prstGeom prst="rightArrow">
            <a:avLst/>
          </a:prstGeom>
          <a:solidFill>
            <a:srgbClr val="EDC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 name="TextBox 31"/>
          <p:cNvSpPr txBox="1"/>
          <p:nvPr/>
        </p:nvSpPr>
        <p:spPr>
          <a:xfrm>
            <a:off x="8947584" y="4381462"/>
            <a:ext cx="2425266" cy="815608"/>
          </a:xfrm>
          <a:prstGeom prst="rect">
            <a:avLst/>
          </a:prstGeom>
          <a:noFill/>
        </p:spPr>
        <p:txBody>
          <a:bodyPr wrap="square" rtlCol="0">
            <a:spAutoFit/>
          </a:bodyPr>
          <a:lstStyle>
            <a:defPPr>
              <a:defRPr lang="en-US"/>
            </a:defPPr>
            <a:lvl1pPr marL="182880" marR="0" lvl="0" indent="-91440" fontAlgn="auto">
              <a:lnSpc>
                <a:spcPct val="100000"/>
              </a:lnSpc>
              <a:spcBef>
                <a:spcPts val="0"/>
              </a:spcBef>
              <a:spcAft>
                <a:spcPts val="600"/>
              </a:spcAft>
              <a:buClrTx/>
              <a:buSzTx/>
              <a:buFont typeface="Arial" panose="020B0604020202020204" pitchFamily="34" charset="0"/>
              <a:buChar char="•"/>
              <a:tabLst/>
              <a:defRPr kumimoji="0" sz="1200" i="0" u="none" strike="noStrike" kern="0" cap="none" spc="0" normalizeH="0" baseline="0">
                <a:ln>
                  <a:noFill/>
                </a:ln>
                <a:solidFill>
                  <a:sysClr val="windowText" lastClr="000000"/>
                </a:solidFill>
                <a:effectLst/>
                <a:uLnTx/>
                <a:uFillTx/>
                <a:latin typeface="Segoe UI" panose="020B0502040204020203" pitchFamily="34" charset="0"/>
                <a:cs typeface="Segoe UI" panose="020B0502040204020203" pitchFamily="34" charset="0"/>
              </a:defRPr>
            </a:lvl1pPr>
          </a:lstStyle>
          <a:p>
            <a:r>
              <a:rPr lang="en-US" sz="1400" dirty="0">
                <a:solidFill>
                  <a:srgbClr val="282828"/>
                </a:solidFill>
              </a:rPr>
              <a:t>Azure Active Directory</a:t>
            </a:r>
          </a:p>
          <a:p>
            <a:r>
              <a:rPr lang="en-US" sz="1400" dirty="0">
                <a:solidFill>
                  <a:srgbClr val="282828"/>
                </a:solidFill>
              </a:rPr>
              <a:t>Multi-factor authentication</a:t>
            </a:r>
          </a:p>
        </p:txBody>
      </p:sp>
      <p:sp>
        <p:nvSpPr>
          <p:cNvPr id="17" name="TextBox 32"/>
          <p:cNvSpPr txBox="1"/>
          <p:nvPr/>
        </p:nvSpPr>
        <p:spPr>
          <a:xfrm>
            <a:off x="6240349" y="4381462"/>
            <a:ext cx="2434480" cy="1184940"/>
          </a:xfrm>
          <a:prstGeom prst="rect">
            <a:avLst/>
          </a:prstGeom>
          <a:noFill/>
        </p:spPr>
        <p:txBody>
          <a:bodyPr wrap="square" rtlCol="0">
            <a:spAutoFit/>
          </a:bodyPr>
          <a:lstStyle>
            <a:defPPr>
              <a:defRPr lang="en-US"/>
            </a:defPPr>
            <a:lvl1pPr marL="182880" marR="0" lvl="0" indent="-91440" fontAlgn="auto">
              <a:lnSpc>
                <a:spcPct val="100000"/>
              </a:lnSpc>
              <a:spcBef>
                <a:spcPts val="0"/>
              </a:spcBef>
              <a:spcAft>
                <a:spcPts val="600"/>
              </a:spcAft>
              <a:buClrTx/>
              <a:buSzTx/>
              <a:buFont typeface="Arial" panose="020B0604020202020204" pitchFamily="34" charset="0"/>
              <a:buChar char="•"/>
              <a:tabLst/>
              <a:defRPr kumimoji="0" sz="1200" i="0" u="none" strike="noStrike" kern="0" cap="none" spc="0" normalizeH="0" baseline="0">
                <a:ln>
                  <a:noFill/>
                </a:ln>
                <a:solidFill>
                  <a:sysClr val="windowText" lastClr="000000"/>
                </a:solidFill>
                <a:effectLst/>
                <a:uLnTx/>
                <a:uFillTx/>
                <a:latin typeface="Segoe UI" panose="020B0502040204020203" pitchFamily="34" charset="0"/>
                <a:cs typeface="Segoe UI" panose="020B0502040204020203" pitchFamily="34" charset="0"/>
              </a:defRPr>
            </a:lvl1pPr>
          </a:lstStyle>
          <a:p>
            <a:r>
              <a:rPr lang="en-US" sz="1400" dirty="0">
                <a:solidFill>
                  <a:srgbClr val="282828"/>
                </a:solidFill>
              </a:rPr>
              <a:t>IoT Hub</a:t>
            </a:r>
          </a:p>
          <a:p>
            <a:r>
              <a:rPr lang="en-US" sz="1400" dirty="0">
                <a:solidFill>
                  <a:srgbClr val="282828"/>
                </a:solidFill>
              </a:rPr>
              <a:t>Event Hubs</a:t>
            </a:r>
          </a:p>
          <a:p>
            <a:r>
              <a:rPr lang="en-US" sz="1400" dirty="0">
                <a:solidFill>
                  <a:srgbClr val="282828"/>
                </a:solidFill>
              </a:rPr>
              <a:t>Machine Learning</a:t>
            </a:r>
          </a:p>
          <a:p>
            <a:r>
              <a:rPr lang="en-US" sz="1400" dirty="0">
                <a:solidFill>
                  <a:srgbClr val="282828"/>
                </a:solidFill>
              </a:rPr>
              <a:t>Notification Hubs</a:t>
            </a:r>
          </a:p>
        </p:txBody>
      </p:sp>
      <p:sp>
        <p:nvSpPr>
          <p:cNvPr id="18" name="TextBox 33"/>
          <p:cNvSpPr txBox="1"/>
          <p:nvPr/>
        </p:nvSpPr>
        <p:spPr>
          <a:xfrm>
            <a:off x="869278" y="4381463"/>
            <a:ext cx="2407962" cy="1477328"/>
          </a:xfrm>
          <a:prstGeom prst="rect">
            <a:avLst/>
          </a:prstGeom>
          <a:noFill/>
        </p:spPr>
        <p:txBody>
          <a:bodyPr wrap="square" rtlCol="0">
            <a:spAutoFit/>
          </a:bodyPr>
          <a:lstStyle/>
          <a:p>
            <a:pPr marL="182880" marR="0" lvl="0" indent="-9144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i="0" u="none" strike="noStrike" kern="0" cap="none" spc="0" normalizeH="0" baseline="0" noProof="0" dirty="0">
                <a:ln>
                  <a:noFill/>
                </a:ln>
                <a:solidFill>
                  <a:srgbClr val="282828"/>
                </a:solidFill>
                <a:effectLst/>
                <a:uLnTx/>
                <a:uFillTx/>
                <a:latin typeface="Segoe UI" panose="020B0502040204020203" pitchFamily="34" charset="0"/>
                <a:cs typeface="Segoe UI" panose="020B0502040204020203" pitchFamily="34" charset="0"/>
              </a:rPr>
              <a:t>SQL DB</a:t>
            </a:r>
          </a:p>
          <a:p>
            <a:pPr marL="182880" marR="0" lvl="0" indent="-9144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400" kern="0" dirty="0">
                <a:solidFill>
                  <a:srgbClr val="282828"/>
                </a:solidFill>
                <a:latin typeface="Segoe UI" panose="020B0502040204020203" pitchFamily="34" charset="0"/>
                <a:cs typeface="Segoe UI" panose="020B0502040204020203" pitchFamily="34" charset="0"/>
              </a:rPr>
              <a:t>Document DB</a:t>
            </a:r>
          </a:p>
          <a:p>
            <a:pPr marL="182880" marR="0" lvl="0" indent="-9144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400" kern="0" dirty="0">
                <a:solidFill>
                  <a:srgbClr val="282828"/>
                </a:solidFill>
                <a:latin typeface="Segoe UI" panose="020B0502040204020203" pitchFamily="34" charset="0"/>
                <a:cs typeface="Segoe UI" panose="020B0502040204020203" pitchFamily="34" charset="0"/>
              </a:rPr>
              <a:t>Blob Storage</a:t>
            </a:r>
          </a:p>
          <a:p>
            <a:pPr marL="182880" marR="0" lvl="0" indent="-9144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400" kern="0" dirty="0" err="1">
                <a:solidFill>
                  <a:srgbClr val="282828"/>
                </a:solidFill>
                <a:latin typeface="Segoe UI" panose="020B0502040204020203" pitchFamily="34" charset="0"/>
                <a:cs typeface="Segoe UI" panose="020B0502040204020203" pitchFamily="34" charset="0"/>
              </a:rPr>
              <a:t>StorSimple</a:t>
            </a:r>
            <a:endParaRPr lang="en-US" sz="1400" kern="0" dirty="0">
              <a:solidFill>
                <a:srgbClr val="282828"/>
              </a:solidFill>
              <a:latin typeface="Segoe UI" panose="020B0502040204020203" pitchFamily="34" charset="0"/>
              <a:cs typeface="Segoe UI" panose="020B0502040204020203" pitchFamily="34" charset="0"/>
            </a:endParaRPr>
          </a:p>
          <a:p>
            <a:pPr marL="182880" marR="0" lvl="0" indent="-9144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400" kern="0" dirty="0">
                <a:solidFill>
                  <a:srgbClr val="282828"/>
                </a:solidFill>
                <a:latin typeface="Segoe UI" panose="020B0502040204020203" pitchFamily="34" charset="0"/>
                <a:cs typeface="Segoe UI" panose="020B0502040204020203" pitchFamily="34" charset="0"/>
              </a:rPr>
              <a:t>SQL Data Warehouse</a:t>
            </a:r>
          </a:p>
        </p:txBody>
      </p:sp>
      <p:sp>
        <p:nvSpPr>
          <p:cNvPr id="19" name="Left Bracket 35"/>
          <p:cNvSpPr/>
          <p:nvPr/>
        </p:nvSpPr>
        <p:spPr>
          <a:xfrm rot="5400000" flipV="1">
            <a:off x="6062929" y="-2385899"/>
            <a:ext cx="107278" cy="10789261"/>
          </a:xfrm>
          <a:prstGeom prst="leftBracket">
            <a:avLst/>
          </a:prstGeom>
          <a:ln w="19050">
            <a:solidFill>
              <a:srgbClr val="EDC30D"/>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836" b="1" dirty="0"/>
          </a:p>
        </p:txBody>
      </p:sp>
      <p:cxnSp>
        <p:nvCxnSpPr>
          <p:cNvPr id="20" name="Straight Connector 36"/>
          <p:cNvCxnSpPr/>
          <p:nvPr/>
        </p:nvCxnSpPr>
        <p:spPr>
          <a:xfrm>
            <a:off x="3415587" y="3612800"/>
            <a:ext cx="0" cy="2377440"/>
          </a:xfrm>
          <a:prstGeom prst="line">
            <a:avLst/>
          </a:prstGeom>
          <a:ln w="6350">
            <a:solidFill>
              <a:srgbClr val="1E1E1E">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38"/>
          <p:cNvCxnSpPr/>
          <p:nvPr/>
        </p:nvCxnSpPr>
        <p:spPr>
          <a:xfrm>
            <a:off x="6113850" y="3613774"/>
            <a:ext cx="0" cy="2376466"/>
          </a:xfrm>
          <a:prstGeom prst="line">
            <a:avLst/>
          </a:prstGeom>
          <a:ln w="6350">
            <a:solidFill>
              <a:srgbClr val="1E1E1E">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39"/>
          <p:cNvCxnSpPr/>
          <p:nvPr/>
        </p:nvCxnSpPr>
        <p:spPr>
          <a:xfrm>
            <a:off x="8813177" y="3612800"/>
            <a:ext cx="0" cy="2377440"/>
          </a:xfrm>
          <a:prstGeom prst="line">
            <a:avLst/>
          </a:prstGeom>
          <a:ln w="6350">
            <a:solidFill>
              <a:srgbClr val="1E1E1E">
                <a:alpha val="50000"/>
              </a:srgbClr>
            </a:solidFill>
            <a:prstDash val="dash"/>
          </a:ln>
        </p:spPr>
        <p:style>
          <a:lnRef idx="1">
            <a:schemeClr val="accent1"/>
          </a:lnRef>
          <a:fillRef idx="0">
            <a:schemeClr val="accent1"/>
          </a:fillRef>
          <a:effectRef idx="0">
            <a:schemeClr val="accent1"/>
          </a:effectRef>
          <a:fontRef idx="minor">
            <a:schemeClr val="tx1"/>
          </a:fontRef>
        </p:style>
      </p:cxnSp>
      <p:sp>
        <p:nvSpPr>
          <p:cNvPr id="23" name="Rectangle 56"/>
          <p:cNvSpPr/>
          <p:nvPr/>
        </p:nvSpPr>
        <p:spPr>
          <a:xfrm>
            <a:off x="711198" y="3544375"/>
            <a:ext cx="10800000" cy="2529860"/>
          </a:xfrm>
          <a:prstGeom prst="rect">
            <a:avLst/>
          </a:prstGeom>
          <a:noFill/>
          <a:ln w="6350">
            <a:solidFill>
              <a:srgbClr val="1E1E1E">
                <a:alpha val="5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41054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p:cNvSpPr>
            <a:spLocks noGrp="1"/>
          </p:cNvSpPr>
          <p:nvPr>
            <p:ph type="title"/>
          </p:nvPr>
        </p:nvSpPr>
        <p:spPr/>
        <p:txBody>
          <a:bodyPr/>
          <a:lstStyle/>
          <a:p>
            <a:r>
              <a:rPr lang="en-US" altLang="zh-TW" dirty="0"/>
              <a:t>Power BI Embedded API </a:t>
            </a:r>
            <a:r>
              <a:rPr lang="zh-TW" altLang="en-US" dirty="0"/>
              <a:t>架構</a:t>
            </a:r>
          </a:p>
        </p:txBody>
      </p:sp>
      <p:sp>
        <p:nvSpPr>
          <p:cNvPr id="7" name="Rectangle 43"/>
          <p:cNvSpPr/>
          <p:nvPr/>
        </p:nvSpPr>
        <p:spPr>
          <a:xfrm>
            <a:off x="364601" y="3632441"/>
            <a:ext cx="4572001" cy="1192897"/>
          </a:xfrm>
          <a:prstGeom prst="rect">
            <a:avLst/>
          </a:prstGeom>
          <a:noFill/>
          <a:ln>
            <a:noFill/>
          </a:ln>
        </p:spPr>
        <p:style>
          <a:lnRef idx="1">
            <a:schemeClr val="accent3"/>
          </a:lnRef>
          <a:fillRef idx="2">
            <a:schemeClr val="accent3"/>
          </a:fillRef>
          <a:effectRef idx="1">
            <a:schemeClr val="accent3"/>
          </a:effectRef>
          <a:fontRef idx="minor">
            <a:schemeClr val="dk1"/>
          </a:fontRef>
        </p:style>
        <p:txBody>
          <a:bodyPr rtlCol="0" anchor="t"/>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spcBef>
                <a:spcPts val="300"/>
              </a:spcBef>
            </a:pPr>
            <a:r>
              <a:rPr lang="en-US" sz="1400" b="1" dirty="0">
                <a:solidFill>
                  <a:srgbClr val="282828"/>
                </a:solidFill>
                <a:latin typeface="Segoe UI Black" panose="020B0A02040204020203" pitchFamily="34" charset="0"/>
                <a:ea typeface="Segoe UI Black" panose="020B0A02040204020203" pitchFamily="34" charset="0"/>
                <a:cs typeface="Segoe UI Black" panose="020B0A02040204020203" pitchFamily="34" charset="0"/>
              </a:rPr>
              <a:t>Discovery</a:t>
            </a:r>
            <a:r>
              <a:rPr lang="en-US" sz="1400" dirty="0">
                <a:solidFill>
                  <a:srgbClr val="282828"/>
                </a:solidFill>
                <a:latin typeface="Segoe UI" panose="020B0502040204020203" pitchFamily="34" charset="0"/>
                <a:cs typeface="Segoe UI" panose="020B0502040204020203" pitchFamily="34" charset="0"/>
              </a:rPr>
              <a:t>: Enumerate datasets and reports</a:t>
            </a:r>
          </a:p>
          <a:p>
            <a:pPr>
              <a:spcBef>
                <a:spcPts val="300"/>
              </a:spcBef>
            </a:pPr>
            <a:r>
              <a:rPr lang="en-US" sz="1400" b="1" dirty="0">
                <a:solidFill>
                  <a:srgbClr val="282828"/>
                </a:solidFill>
                <a:latin typeface="Segoe UI Black" panose="020B0A02040204020203" pitchFamily="34" charset="0"/>
                <a:ea typeface="Segoe UI Black" panose="020B0A02040204020203" pitchFamily="34" charset="0"/>
                <a:cs typeface="Segoe UI Black" panose="020B0A02040204020203" pitchFamily="34" charset="0"/>
              </a:rPr>
              <a:t>Content Creation</a:t>
            </a:r>
            <a:r>
              <a:rPr lang="en-US" sz="1400" dirty="0">
                <a:solidFill>
                  <a:srgbClr val="282828"/>
                </a:solidFill>
                <a:latin typeface="Segoe UI" panose="020B0502040204020203" pitchFamily="34" charset="0"/>
                <a:cs typeface="Segoe UI" panose="020B0502040204020203" pitchFamily="34" charset="0"/>
              </a:rPr>
              <a:t>:</a:t>
            </a:r>
            <a:r>
              <a:rPr lang="en-US" sz="1400" b="1" dirty="0">
                <a:solidFill>
                  <a:srgbClr val="282828"/>
                </a:solidFill>
                <a:latin typeface="Segoe UI" panose="020B0502040204020203" pitchFamily="34" charset="0"/>
                <a:cs typeface="Segoe UI" panose="020B0502040204020203" pitchFamily="34" charset="0"/>
              </a:rPr>
              <a:t> </a:t>
            </a:r>
            <a:r>
              <a:rPr lang="en-US" sz="1400" spc="-30" dirty="0">
                <a:solidFill>
                  <a:srgbClr val="282828"/>
                </a:solidFill>
                <a:latin typeface="Segoe UI" panose="020B0502040204020203" pitchFamily="34" charset="0"/>
                <a:cs typeface="Segoe UI" panose="020B0502040204020203" pitchFamily="34" charset="0"/>
              </a:rPr>
              <a:t>Provision datasets and reports</a:t>
            </a:r>
          </a:p>
          <a:p>
            <a:pPr>
              <a:spcBef>
                <a:spcPts val="300"/>
              </a:spcBef>
            </a:pPr>
            <a:r>
              <a:rPr lang="en-US" sz="1400" b="1" dirty="0">
                <a:solidFill>
                  <a:srgbClr val="282828"/>
                </a:solidFill>
                <a:latin typeface="Segoe UI Black" panose="020B0A02040204020203" pitchFamily="34" charset="0"/>
                <a:ea typeface="Segoe UI Black" panose="020B0A02040204020203" pitchFamily="34" charset="0"/>
                <a:cs typeface="Segoe UI Black" panose="020B0A02040204020203" pitchFamily="34" charset="0"/>
              </a:rPr>
              <a:t>Embed</a:t>
            </a:r>
            <a:r>
              <a:rPr lang="en-US" sz="1400" dirty="0">
                <a:solidFill>
                  <a:srgbClr val="282828"/>
                </a:solidFill>
                <a:latin typeface="Segoe UI" panose="020B0502040204020203" pitchFamily="34" charset="0"/>
                <a:cs typeface="Segoe UI" panose="020B0502040204020203" pitchFamily="34" charset="0"/>
              </a:rPr>
              <a:t>:</a:t>
            </a:r>
            <a:r>
              <a:rPr lang="en-US" sz="1400" b="1" dirty="0">
                <a:solidFill>
                  <a:srgbClr val="282828"/>
                </a:solidFill>
                <a:latin typeface="Segoe UI" panose="020B0502040204020203" pitchFamily="34" charset="0"/>
                <a:cs typeface="Segoe UI" panose="020B0502040204020203" pitchFamily="34" charset="0"/>
              </a:rPr>
              <a:t> </a:t>
            </a:r>
            <a:r>
              <a:rPr lang="en-US" sz="1400" dirty="0">
                <a:solidFill>
                  <a:srgbClr val="282828"/>
                </a:solidFill>
                <a:latin typeface="Segoe UI" panose="020B0502040204020203" pitchFamily="34" charset="0"/>
                <a:cs typeface="Segoe UI" panose="020B0502040204020203" pitchFamily="34" charset="0"/>
              </a:rPr>
              <a:t>Embed reports</a:t>
            </a:r>
          </a:p>
          <a:p>
            <a:pPr>
              <a:spcBef>
                <a:spcPts val="300"/>
              </a:spcBef>
            </a:pPr>
            <a:r>
              <a:rPr lang="en-US" sz="1400" b="1" dirty="0">
                <a:solidFill>
                  <a:srgbClr val="282828"/>
                </a:solidFill>
                <a:latin typeface="Segoe UI Black" panose="020B0A02040204020203" pitchFamily="34" charset="0"/>
                <a:ea typeface="Segoe UI Black" panose="020B0A02040204020203" pitchFamily="34" charset="0"/>
                <a:cs typeface="Segoe UI Black" panose="020B0A02040204020203" pitchFamily="34" charset="0"/>
              </a:rPr>
              <a:t>Utility</a:t>
            </a:r>
            <a:r>
              <a:rPr lang="en-US" sz="1400" dirty="0">
                <a:solidFill>
                  <a:srgbClr val="282828"/>
                </a:solidFill>
                <a:latin typeface="Segoe UI" panose="020B0502040204020203" pitchFamily="34" charset="0"/>
                <a:cs typeface="Segoe UI" panose="020B0502040204020203" pitchFamily="34" charset="0"/>
              </a:rPr>
              <a:t>: Set connection strings and credentials</a:t>
            </a:r>
          </a:p>
        </p:txBody>
      </p:sp>
      <p:sp>
        <p:nvSpPr>
          <p:cNvPr id="8" name="Rectangle 45"/>
          <p:cNvSpPr/>
          <p:nvPr/>
        </p:nvSpPr>
        <p:spPr>
          <a:xfrm>
            <a:off x="364602" y="3261280"/>
            <a:ext cx="2863467" cy="346310"/>
          </a:xfrm>
          <a:prstGeom prst="rect">
            <a:avLst/>
          </a:prstGeom>
          <a:noFill/>
          <a:ln>
            <a:noFill/>
          </a:ln>
        </p:spPr>
        <p:style>
          <a:lnRef idx="1">
            <a:schemeClr val="accent3"/>
          </a:lnRef>
          <a:fillRef idx="2">
            <a:schemeClr val="accent3"/>
          </a:fillRef>
          <a:effectRef idx="1">
            <a:schemeClr val="accent3"/>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en-US" sz="2400" b="1" dirty="0">
                <a:solidFill>
                  <a:srgbClr val="282828"/>
                </a:solidFill>
                <a:latin typeface="Segoe UI Black" panose="020B0A02040204020203" pitchFamily="34" charset="0"/>
                <a:ea typeface="Segoe UI Black" panose="020B0A02040204020203" pitchFamily="34" charset="0"/>
                <a:cs typeface="Segoe UI Black" panose="020B0A02040204020203" pitchFamily="34" charset="0"/>
              </a:rPr>
              <a:t>Power BI APIs</a:t>
            </a:r>
          </a:p>
        </p:txBody>
      </p:sp>
      <p:sp>
        <p:nvSpPr>
          <p:cNvPr id="9" name="Rectangle 46"/>
          <p:cNvSpPr/>
          <p:nvPr/>
        </p:nvSpPr>
        <p:spPr>
          <a:xfrm>
            <a:off x="364602" y="5082359"/>
            <a:ext cx="4643916" cy="346310"/>
          </a:xfrm>
          <a:prstGeom prst="rect">
            <a:avLst/>
          </a:prstGeom>
          <a:noFill/>
          <a:ln>
            <a:noFill/>
          </a:ln>
        </p:spPr>
        <p:style>
          <a:lnRef idx="1">
            <a:schemeClr val="accent3"/>
          </a:lnRef>
          <a:fillRef idx="2">
            <a:schemeClr val="accent3"/>
          </a:fillRef>
          <a:effectRef idx="1">
            <a:schemeClr val="accent3"/>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en-US" sz="2400" b="1" dirty="0">
                <a:solidFill>
                  <a:schemeClr val="tx2"/>
                </a:solidFill>
                <a:latin typeface="Segoe UI Black" panose="020B0A02040204020203" pitchFamily="34" charset="0"/>
                <a:ea typeface="Segoe UI Black" panose="020B0A02040204020203" pitchFamily="34" charset="0"/>
                <a:cs typeface="Segoe UI Black" panose="020B0A02040204020203" pitchFamily="34" charset="0"/>
              </a:rPr>
              <a:t>Azure APIs for automation</a:t>
            </a:r>
          </a:p>
        </p:txBody>
      </p:sp>
      <p:sp>
        <p:nvSpPr>
          <p:cNvPr id="10" name="Rectangle 47"/>
          <p:cNvSpPr/>
          <p:nvPr/>
        </p:nvSpPr>
        <p:spPr>
          <a:xfrm>
            <a:off x="364602" y="5443028"/>
            <a:ext cx="3372902" cy="936692"/>
          </a:xfrm>
          <a:prstGeom prst="rect">
            <a:avLst/>
          </a:prstGeom>
          <a:noFill/>
          <a:ln>
            <a:noFill/>
          </a:ln>
        </p:spPr>
        <p:style>
          <a:lnRef idx="1">
            <a:schemeClr val="accent3"/>
          </a:lnRef>
          <a:fillRef idx="2">
            <a:schemeClr val="accent3"/>
          </a:fillRef>
          <a:effectRef idx="1">
            <a:schemeClr val="accent3"/>
          </a:effectRef>
          <a:fontRef idx="minor">
            <a:schemeClr val="dk1"/>
          </a:fontRef>
        </p:style>
        <p:txBody>
          <a:bodyPr rtlCol="0" anchor="t"/>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spcBef>
                <a:spcPts val="300"/>
              </a:spcBef>
            </a:pPr>
            <a:r>
              <a:rPr lang="en-US" sz="1400" dirty="0">
                <a:solidFill>
                  <a:srgbClr val="282828"/>
                </a:solidFill>
                <a:latin typeface="Segoe UI" panose="020B0502040204020203" pitchFamily="34" charset="0"/>
                <a:cs typeface="Segoe UI" panose="020B0502040204020203" pitchFamily="34" charset="0"/>
              </a:rPr>
              <a:t>Provision workspace collections</a:t>
            </a:r>
          </a:p>
          <a:p>
            <a:pPr>
              <a:spcBef>
                <a:spcPts val="300"/>
              </a:spcBef>
            </a:pPr>
            <a:r>
              <a:rPr lang="en-US" sz="1400" dirty="0">
                <a:solidFill>
                  <a:srgbClr val="282828"/>
                </a:solidFill>
                <a:latin typeface="Segoe UI" panose="020B0502040204020203" pitchFamily="34" charset="0"/>
                <a:cs typeface="Segoe UI" panose="020B0502040204020203" pitchFamily="34" charset="0"/>
              </a:rPr>
              <a:t>De-provision workspace collections</a:t>
            </a:r>
          </a:p>
          <a:p>
            <a:pPr>
              <a:spcBef>
                <a:spcPts val="300"/>
              </a:spcBef>
            </a:pPr>
            <a:r>
              <a:rPr lang="en-US" sz="1400" dirty="0">
                <a:solidFill>
                  <a:srgbClr val="282828"/>
                </a:solidFill>
                <a:latin typeface="Segoe UI" panose="020B0502040204020203" pitchFamily="34" charset="0"/>
                <a:cs typeface="Segoe UI" panose="020B0502040204020203" pitchFamily="34" charset="0"/>
              </a:rPr>
              <a:t>Manage API keys</a:t>
            </a:r>
          </a:p>
        </p:txBody>
      </p:sp>
      <p:sp>
        <p:nvSpPr>
          <p:cNvPr id="11" name="Rectangle 27"/>
          <p:cNvSpPr/>
          <p:nvPr/>
        </p:nvSpPr>
        <p:spPr>
          <a:xfrm>
            <a:off x="5631543" y="5583742"/>
            <a:ext cx="4782457" cy="795978"/>
          </a:xfrm>
          <a:prstGeom prst="rect">
            <a:avLst/>
          </a:prstGeom>
          <a:noFill/>
          <a:ln w="6350">
            <a:solidFill>
              <a:srgbClr val="1E1E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32"/>
          <p:cNvSpPr/>
          <p:nvPr/>
        </p:nvSpPr>
        <p:spPr>
          <a:xfrm>
            <a:off x="5631544" y="3104356"/>
            <a:ext cx="4782457" cy="1563188"/>
          </a:xfrm>
          <a:prstGeom prst="rect">
            <a:avLst/>
          </a:prstGeom>
          <a:noFill/>
          <a:ln w="6350">
            <a:solidFill>
              <a:srgbClr val="1E1E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49"/>
          <p:cNvSpPr txBox="1"/>
          <p:nvPr/>
        </p:nvSpPr>
        <p:spPr>
          <a:xfrm>
            <a:off x="10443016" y="5843232"/>
            <a:ext cx="1362643" cy="276999"/>
          </a:xfrm>
          <a:prstGeom prst="rect">
            <a:avLst/>
          </a:prstGeom>
          <a:noFill/>
        </p:spPr>
        <p:txBody>
          <a:bodyPr wrap="square" rtlCol="0">
            <a:spAutoFit/>
          </a:bodyPr>
          <a:lstStyle/>
          <a:p>
            <a:pPr lvl="0" defTabSz="932742">
              <a:defRPr/>
            </a:pPr>
            <a:r>
              <a:rPr lang="en-US" sz="1200" b="1" kern="0" dirty="0">
                <a:solidFill>
                  <a:srgbClr val="282828"/>
                </a:solidFill>
              </a:rPr>
              <a:t>Data</a:t>
            </a:r>
            <a:endParaRPr kumimoji="0" lang="en-US" sz="1200" b="1" i="0" u="none" strike="noStrike" kern="0" cap="none" spc="0" normalizeH="0" baseline="0" noProof="0" dirty="0">
              <a:ln>
                <a:noFill/>
              </a:ln>
              <a:solidFill>
                <a:srgbClr val="282828"/>
              </a:solidFill>
              <a:effectLst/>
              <a:uLnTx/>
              <a:uFillTx/>
            </a:endParaRPr>
          </a:p>
        </p:txBody>
      </p:sp>
      <p:sp>
        <p:nvSpPr>
          <p:cNvPr id="14" name="TextBox 50"/>
          <p:cNvSpPr txBox="1"/>
          <p:nvPr/>
        </p:nvSpPr>
        <p:spPr>
          <a:xfrm>
            <a:off x="10443016" y="4995967"/>
            <a:ext cx="1362643" cy="276999"/>
          </a:xfrm>
          <a:prstGeom prst="rect">
            <a:avLst/>
          </a:prstGeom>
          <a:noFill/>
        </p:spPr>
        <p:txBody>
          <a:bodyPr wrap="square" rtlCol="0">
            <a:spAutoFit/>
          </a:bodyPr>
          <a:lstStyle/>
          <a:p>
            <a:pPr lvl="0" defTabSz="932742">
              <a:defRPr/>
            </a:pPr>
            <a:r>
              <a:rPr lang="en-US" sz="1200" b="1" kern="0" dirty="0">
                <a:solidFill>
                  <a:srgbClr val="282828"/>
                </a:solidFill>
              </a:rPr>
              <a:t>Platform</a:t>
            </a:r>
            <a:endParaRPr kumimoji="0" lang="en-US" sz="1200" b="1" i="0" u="none" strike="noStrike" kern="0" cap="none" spc="0" normalizeH="0" baseline="0" noProof="0" dirty="0">
              <a:ln>
                <a:noFill/>
              </a:ln>
              <a:solidFill>
                <a:srgbClr val="282828"/>
              </a:solidFill>
              <a:effectLst/>
              <a:uLnTx/>
              <a:uFillTx/>
            </a:endParaRPr>
          </a:p>
        </p:txBody>
      </p:sp>
      <p:sp>
        <p:nvSpPr>
          <p:cNvPr id="15" name="TextBox 51"/>
          <p:cNvSpPr txBox="1"/>
          <p:nvPr/>
        </p:nvSpPr>
        <p:spPr>
          <a:xfrm>
            <a:off x="10443016" y="3767823"/>
            <a:ext cx="1362643" cy="276999"/>
          </a:xfrm>
          <a:prstGeom prst="rect">
            <a:avLst/>
          </a:prstGeom>
          <a:noFill/>
        </p:spPr>
        <p:txBody>
          <a:bodyPr wrap="square" rtlCol="0">
            <a:spAutoFit/>
          </a:bodyPr>
          <a:lstStyle/>
          <a:p>
            <a:pPr lvl="0" defTabSz="932742">
              <a:defRPr/>
            </a:pPr>
            <a:r>
              <a:rPr lang="en-US" sz="1200" b="1" kern="0" dirty="0">
                <a:solidFill>
                  <a:srgbClr val="282828"/>
                </a:solidFill>
              </a:rPr>
              <a:t>Programmatic</a:t>
            </a:r>
            <a:endParaRPr kumimoji="0" lang="en-US" sz="1200" b="1" i="0" u="none" strike="noStrike" kern="0" cap="none" spc="0" normalizeH="0" baseline="0" noProof="0" dirty="0">
              <a:ln>
                <a:noFill/>
              </a:ln>
              <a:solidFill>
                <a:srgbClr val="282828"/>
              </a:solidFill>
              <a:effectLst/>
              <a:uLnTx/>
              <a:uFillTx/>
            </a:endParaRPr>
          </a:p>
        </p:txBody>
      </p:sp>
      <p:sp>
        <p:nvSpPr>
          <p:cNvPr id="16" name="TextBox 54"/>
          <p:cNvSpPr txBox="1"/>
          <p:nvPr/>
        </p:nvSpPr>
        <p:spPr>
          <a:xfrm>
            <a:off x="7365161" y="5758802"/>
            <a:ext cx="1305358" cy="430887"/>
          </a:xfrm>
          <a:prstGeom prst="rect">
            <a:avLst/>
          </a:prstGeom>
          <a:noFill/>
        </p:spPr>
        <p:txBody>
          <a:bodyPr wrap="square" rtlCol="0">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Azure SQL </a:t>
            </a:r>
            <a:b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b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Data Warehouse</a:t>
            </a:r>
          </a:p>
        </p:txBody>
      </p:sp>
      <p:sp>
        <p:nvSpPr>
          <p:cNvPr id="17" name="TextBox 55"/>
          <p:cNvSpPr txBox="1"/>
          <p:nvPr/>
        </p:nvSpPr>
        <p:spPr>
          <a:xfrm>
            <a:off x="8671081" y="5758802"/>
            <a:ext cx="1630440" cy="430887"/>
          </a:xfrm>
          <a:prstGeom prst="rect">
            <a:avLst/>
          </a:prstGeom>
          <a:noFill/>
        </p:spPr>
        <p:txBody>
          <a:bodyPr wrap="square" rtlCol="0">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lang="en-US" sz="1100" kern="0" dirty="0">
                <a:solidFill>
                  <a:srgbClr val="282828"/>
                </a:solidFill>
                <a:latin typeface="Segoe UI Semibold" panose="020B0702040204020203" pitchFamily="34" charset="0"/>
                <a:cs typeface="Segoe UI Semibold" panose="020B0702040204020203" pitchFamily="34" charset="0"/>
              </a:rPr>
              <a:t>Spark on </a:t>
            </a:r>
            <a:br>
              <a:rPr lang="en-US" sz="1100" kern="0" dirty="0">
                <a:solidFill>
                  <a:srgbClr val="282828"/>
                </a:solidFill>
                <a:latin typeface="Segoe UI Semibold" panose="020B0702040204020203" pitchFamily="34" charset="0"/>
                <a:cs typeface="Segoe UI Semibold" panose="020B0702040204020203" pitchFamily="34" charset="0"/>
              </a:rPr>
            </a:b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Azure HDInsight</a:t>
            </a:r>
          </a:p>
        </p:txBody>
      </p:sp>
      <p:sp>
        <p:nvSpPr>
          <p:cNvPr id="18" name="TextBox 56"/>
          <p:cNvSpPr txBox="1"/>
          <p:nvPr/>
        </p:nvSpPr>
        <p:spPr>
          <a:xfrm>
            <a:off x="5744021" y="5758802"/>
            <a:ext cx="1577035" cy="430887"/>
          </a:xfrm>
          <a:prstGeom prst="rect">
            <a:avLst/>
          </a:prstGeom>
          <a:noFill/>
        </p:spPr>
        <p:txBody>
          <a:bodyPr wrap="square" rtlCol="0">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Azure SQL </a:t>
            </a:r>
            <a:b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b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Database</a:t>
            </a:r>
          </a:p>
        </p:txBody>
      </p:sp>
      <p:grpSp>
        <p:nvGrpSpPr>
          <p:cNvPr id="19" name="Group 67"/>
          <p:cNvGrpSpPr/>
          <p:nvPr/>
        </p:nvGrpSpPr>
        <p:grpSpPr>
          <a:xfrm rot="19800000">
            <a:off x="6396840" y="3419712"/>
            <a:ext cx="1000879" cy="629634"/>
            <a:chOff x="228586" y="3732906"/>
            <a:chExt cx="3039980" cy="1912400"/>
          </a:xfrm>
          <a:solidFill>
            <a:srgbClr val="1E1E1E"/>
          </a:solidFill>
        </p:grpSpPr>
        <p:sp>
          <p:nvSpPr>
            <p:cNvPr id="20" name="Freeform 68"/>
            <p:cNvSpPr/>
            <p:nvPr/>
          </p:nvSpPr>
          <p:spPr bwMode="auto">
            <a:xfrm>
              <a:off x="228586" y="3732906"/>
              <a:ext cx="1912399" cy="1912400"/>
            </a:xfrm>
            <a:custGeom>
              <a:avLst/>
              <a:gdLst>
                <a:gd name="connsiteX0" fmla="*/ 1107714 w 1912399"/>
                <a:gd name="connsiteY0" fmla="*/ 0 h 1912400"/>
                <a:gd name="connsiteX1" fmla="*/ 1295367 w 1912399"/>
                <a:gd name="connsiteY1" fmla="*/ 49424 h 1912400"/>
                <a:gd name="connsiteX2" fmla="*/ 1292561 w 1912399"/>
                <a:gd name="connsiteY2" fmla="*/ 272823 h 1912400"/>
                <a:gd name="connsiteX3" fmla="*/ 1319590 w 1912399"/>
                <a:gd name="connsiteY3" fmla="*/ 285843 h 1912400"/>
                <a:gd name="connsiteX4" fmla="*/ 1373480 w 1912399"/>
                <a:gd name="connsiteY4" fmla="*/ 318582 h 1912400"/>
                <a:gd name="connsiteX5" fmla="*/ 1564000 w 1912399"/>
                <a:gd name="connsiteY5" fmla="*/ 202638 h 1912400"/>
                <a:gd name="connsiteX6" fmla="*/ 1702074 w 1912399"/>
                <a:gd name="connsiteY6" fmla="*/ 338990 h 1912400"/>
                <a:gd name="connsiteX7" fmla="*/ 1588749 w 1912399"/>
                <a:gd name="connsiteY7" fmla="*/ 530579 h 1912400"/>
                <a:gd name="connsiteX8" fmla="*/ 1626555 w 1912399"/>
                <a:gd name="connsiteY8" fmla="*/ 592808 h 1912400"/>
                <a:gd name="connsiteX9" fmla="*/ 1636116 w 1912399"/>
                <a:gd name="connsiteY9" fmla="*/ 612656 h 1912400"/>
                <a:gd name="connsiteX10" fmla="*/ 1859351 w 1912399"/>
                <a:gd name="connsiteY10" fmla="*/ 607499 h 1912400"/>
                <a:gd name="connsiteX11" fmla="*/ 1910750 w 1912399"/>
                <a:gd name="connsiteY11" fmla="*/ 794621 h 1912400"/>
                <a:gd name="connsiteX12" fmla="*/ 1715952 w 1912399"/>
                <a:gd name="connsiteY12" fmla="*/ 904364 h 1912400"/>
                <a:gd name="connsiteX13" fmla="*/ 1718570 w 1912399"/>
                <a:gd name="connsiteY13" fmla="*/ 956199 h 1912400"/>
                <a:gd name="connsiteX14" fmla="*/ 1716491 w 1912399"/>
                <a:gd name="connsiteY14" fmla="*/ 997357 h 1912400"/>
                <a:gd name="connsiteX15" fmla="*/ 1912399 w 1912399"/>
                <a:gd name="connsiteY15" fmla="*/ 1105023 h 1912400"/>
                <a:gd name="connsiteX16" fmla="*/ 1862975 w 1912399"/>
                <a:gd name="connsiteY16" fmla="*/ 1292677 h 1912400"/>
                <a:gd name="connsiteX17" fmla="*/ 1640864 w 1912399"/>
                <a:gd name="connsiteY17" fmla="*/ 1289887 h 1912400"/>
                <a:gd name="connsiteX18" fmla="*/ 1626555 w 1912399"/>
                <a:gd name="connsiteY18" fmla="*/ 1319591 h 1912400"/>
                <a:gd name="connsiteX19" fmla="*/ 1594634 w 1912399"/>
                <a:gd name="connsiteY19" fmla="*/ 1372134 h 1912400"/>
                <a:gd name="connsiteX20" fmla="*/ 1709760 w 1912399"/>
                <a:gd name="connsiteY20" fmla="*/ 1561309 h 1912400"/>
                <a:gd name="connsiteX21" fmla="*/ 1573408 w 1912399"/>
                <a:gd name="connsiteY21" fmla="*/ 1699383 h 1912400"/>
                <a:gd name="connsiteX22" fmla="*/ 1383815 w 1912399"/>
                <a:gd name="connsiteY22" fmla="*/ 1587240 h 1912400"/>
                <a:gd name="connsiteX23" fmla="*/ 1382447 w 1912399"/>
                <a:gd name="connsiteY23" fmla="*/ 1588369 h 1912400"/>
                <a:gd name="connsiteX24" fmla="*/ 1319589 w 1912399"/>
                <a:gd name="connsiteY24" fmla="*/ 1626556 h 1912400"/>
                <a:gd name="connsiteX25" fmla="*/ 1299743 w 1912399"/>
                <a:gd name="connsiteY25" fmla="*/ 1636116 h 1912400"/>
                <a:gd name="connsiteX26" fmla="*/ 1304898 w 1912399"/>
                <a:gd name="connsiteY26" fmla="*/ 1859353 h 1912400"/>
                <a:gd name="connsiteX27" fmla="*/ 1117777 w 1912399"/>
                <a:gd name="connsiteY27" fmla="*/ 1910752 h 1912400"/>
                <a:gd name="connsiteX28" fmla="*/ 1008034 w 1912399"/>
                <a:gd name="connsiteY28" fmla="*/ 1715953 h 1912400"/>
                <a:gd name="connsiteX29" fmla="*/ 956198 w 1912399"/>
                <a:gd name="connsiteY29" fmla="*/ 1718570 h 1912400"/>
                <a:gd name="connsiteX30" fmla="*/ 912424 w 1912399"/>
                <a:gd name="connsiteY30" fmla="*/ 1716359 h 1912400"/>
                <a:gd name="connsiteX31" fmla="*/ 804686 w 1912399"/>
                <a:gd name="connsiteY31" fmla="*/ 1912400 h 1912400"/>
                <a:gd name="connsiteX32" fmla="*/ 617034 w 1912399"/>
                <a:gd name="connsiteY32" fmla="*/ 1862976 h 1912400"/>
                <a:gd name="connsiteX33" fmla="*/ 619840 w 1912399"/>
                <a:gd name="connsiteY33" fmla="*/ 1639577 h 1912400"/>
                <a:gd name="connsiteX34" fmla="*/ 592809 w 1912399"/>
                <a:gd name="connsiteY34" fmla="*/ 1626557 h 1912400"/>
                <a:gd name="connsiteX35" fmla="*/ 538918 w 1912399"/>
                <a:gd name="connsiteY35" fmla="*/ 1593816 h 1912400"/>
                <a:gd name="connsiteX36" fmla="*/ 348399 w 1912399"/>
                <a:gd name="connsiteY36" fmla="*/ 1709761 h 1912400"/>
                <a:gd name="connsiteX37" fmla="*/ 210325 w 1912399"/>
                <a:gd name="connsiteY37" fmla="*/ 1573408 h 1912400"/>
                <a:gd name="connsiteX38" fmla="*/ 323649 w 1912399"/>
                <a:gd name="connsiteY38" fmla="*/ 1381820 h 1912400"/>
                <a:gd name="connsiteX39" fmla="*/ 285842 w 1912399"/>
                <a:gd name="connsiteY39" fmla="*/ 1319591 h 1912400"/>
                <a:gd name="connsiteX40" fmla="*/ 276283 w 1912399"/>
                <a:gd name="connsiteY40" fmla="*/ 1299744 h 1912400"/>
                <a:gd name="connsiteX41" fmla="*/ 53046 w 1912399"/>
                <a:gd name="connsiteY41" fmla="*/ 1304899 h 1912400"/>
                <a:gd name="connsiteX42" fmla="*/ 1647 w 1912399"/>
                <a:gd name="connsiteY42" fmla="*/ 1117778 h 1912400"/>
                <a:gd name="connsiteX43" fmla="*/ 196447 w 1912399"/>
                <a:gd name="connsiteY43" fmla="*/ 1008034 h 1912400"/>
                <a:gd name="connsiteX44" fmla="*/ 193829 w 1912399"/>
                <a:gd name="connsiteY44" fmla="*/ 956199 h 1912400"/>
                <a:gd name="connsiteX45" fmla="*/ 196172 w 1912399"/>
                <a:gd name="connsiteY45" fmla="*/ 909806 h 1912400"/>
                <a:gd name="connsiteX46" fmla="*/ 0 w 1912399"/>
                <a:gd name="connsiteY46" fmla="*/ 801994 h 1912400"/>
                <a:gd name="connsiteX47" fmla="*/ 49424 w 1912399"/>
                <a:gd name="connsiteY47" fmla="*/ 614342 h 1912400"/>
                <a:gd name="connsiteX48" fmla="*/ 274111 w 1912399"/>
                <a:gd name="connsiteY48" fmla="*/ 617163 h 1912400"/>
                <a:gd name="connsiteX49" fmla="*/ 285843 w 1912399"/>
                <a:gd name="connsiteY49" fmla="*/ 592809 h 1912400"/>
                <a:gd name="connsiteX50" fmla="*/ 319400 w 1912399"/>
                <a:gd name="connsiteY50" fmla="*/ 537571 h 1912400"/>
                <a:gd name="connsiteX51" fmla="*/ 202639 w 1912399"/>
                <a:gd name="connsiteY51" fmla="*/ 345707 h 1912400"/>
                <a:gd name="connsiteX52" fmla="*/ 338991 w 1912399"/>
                <a:gd name="connsiteY52" fmla="*/ 207633 h 1912400"/>
                <a:gd name="connsiteX53" fmla="*/ 532824 w 1912399"/>
                <a:gd name="connsiteY53" fmla="*/ 322285 h 1912400"/>
                <a:gd name="connsiteX54" fmla="*/ 592809 w 1912399"/>
                <a:gd name="connsiteY54" fmla="*/ 285843 h 1912400"/>
                <a:gd name="connsiteX55" fmla="*/ 612656 w 1912399"/>
                <a:gd name="connsiteY55" fmla="*/ 276282 h 1912400"/>
                <a:gd name="connsiteX56" fmla="*/ 607499 w 1912399"/>
                <a:gd name="connsiteY56" fmla="*/ 53048 h 1912400"/>
                <a:gd name="connsiteX57" fmla="*/ 794621 w 1912399"/>
                <a:gd name="connsiteY57" fmla="*/ 1649 h 1912400"/>
                <a:gd name="connsiteX58" fmla="*/ 904364 w 1912399"/>
                <a:gd name="connsiteY58" fmla="*/ 196447 h 1912400"/>
                <a:gd name="connsiteX59" fmla="*/ 956199 w 1912399"/>
                <a:gd name="connsiteY59" fmla="*/ 193829 h 1912400"/>
                <a:gd name="connsiteX60" fmla="*/ 999976 w 1912399"/>
                <a:gd name="connsiteY60" fmla="*/ 196040 h 1912400"/>
                <a:gd name="connsiteX61" fmla="*/ 1107714 w 1912399"/>
                <a:gd name="connsiteY61" fmla="*/ 0 h 1912400"/>
                <a:gd name="connsiteX62" fmla="*/ 956199 w 1912399"/>
                <a:gd name="connsiteY62" fmla="*/ 400859 h 1912400"/>
                <a:gd name="connsiteX63" fmla="*/ 400859 w 1912399"/>
                <a:gd name="connsiteY63" fmla="*/ 956199 h 1912400"/>
                <a:gd name="connsiteX64" fmla="*/ 956199 w 1912399"/>
                <a:gd name="connsiteY64" fmla="*/ 1511540 h 1912400"/>
                <a:gd name="connsiteX65" fmla="*/ 1511539 w 1912399"/>
                <a:gd name="connsiteY65" fmla="*/ 956200 h 1912400"/>
                <a:gd name="connsiteX66" fmla="*/ 956199 w 1912399"/>
                <a:gd name="connsiteY66" fmla="*/ 400859 h 191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1912399" h="1912400">
                  <a:moveTo>
                    <a:pt x="1107714" y="0"/>
                  </a:moveTo>
                  <a:lnTo>
                    <a:pt x="1295367" y="49424"/>
                  </a:lnTo>
                  <a:lnTo>
                    <a:pt x="1292561" y="272823"/>
                  </a:lnTo>
                  <a:lnTo>
                    <a:pt x="1319590" y="285843"/>
                  </a:lnTo>
                  <a:lnTo>
                    <a:pt x="1373480" y="318582"/>
                  </a:lnTo>
                  <a:lnTo>
                    <a:pt x="1564000" y="202638"/>
                  </a:lnTo>
                  <a:lnTo>
                    <a:pt x="1702074" y="338990"/>
                  </a:lnTo>
                  <a:lnTo>
                    <a:pt x="1588749" y="530579"/>
                  </a:lnTo>
                  <a:lnTo>
                    <a:pt x="1626555" y="592808"/>
                  </a:lnTo>
                  <a:lnTo>
                    <a:pt x="1636116" y="612656"/>
                  </a:lnTo>
                  <a:lnTo>
                    <a:pt x="1859351" y="607499"/>
                  </a:lnTo>
                  <a:lnTo>
                    <a:pt x="1910750" y="794621"/>
                  </a:lnTo>
                  <a:lnTo>
                    <a:pt x="1715952" y="904364"/>
                  </a:lnTo>
                  <a:lnTo>
                    <a:pt x="1718570" y="956199"/>
                  </a:lnTo>
                  <a:lnTo>
                    <a:pt x="1716491" y="997357"/>
                  </a:lnTo>
                  <a:lnTo>
                    <a:pt x="1912399" y="1105023"/>
                  </a:lnTo>
                  <a:lnTo>
                    <a:pt x="1862975" y="1292677"/>
                  </a:lnTo>
                  <a:lnTo>
                    <a:pt x="1640864" y="1289887"/>
                  </a:lnTo>
                  <a:lnTo>
                    <a:pt x="1626555" y="1319591"/>
                  </a:lnTo>
                  <a:lnTo>
                    <a:pt x="1594634" y="1372134"/>
                  </a:lnTo>
                  <a:lnTo>
                    <a:pt x="1709760" y="1561309"/>
                  </a:lnTo>
                  <a:lnTo>
                    <a:pt x="1573408" y="1699383"/>
                  </a:lnTo>
                  <a:lnTo>
                    <a:pt x="1383815" y="1587240"/>
                  </a:lnTo>
                  <a:lnTo>
                    <a:pt x="1382447" y="1588369"/>
                  </a:lnTo>
                  <a:cubicBezTo>
                    <a:pt x="1362167" y="1602069"/>
                    <a:pt x="1341194" y="1614819"/>
                    <a:pt x="1319589" y="1626556"/>
                  </a:cubicBezTo>
                  <a:lnTo>
                    <a:pt x="1299743" y="1636116"/>
                  </a:lnTo>
                  <a:lnTo>
                    <a:pt x="1304898" y="1859353"/>
                  </a:lnTo>
                  <a:lnTo>
                    <a:pt x="1117777" y="1910752"/>
                  </a:lnTo>
                  <a:lnTo>
                    <a:pt x="1008034" y="1715953"/>
                  </a:lnTo>
                  <a:lnTo>
                    <a:pt x="956198" y="1718570"/>
                  </a:lnTo>
                  <a:lnTo>
                    <a:pt x="912424" y="1716359"/>
                  </a:lnTo>
                  <a:lnTo>
                    <a:pt x="804686" y="1912400"/>
                  </a:lnTo>
                  <a:lnTo>
                    <a:pt x="617034" y="1862976"/>
                  </a:lnTo>
                  <a:lnTo>
                    <a:pt x="619840" y="1639577"/>
                  </a:lnTo>
                  <a:lnTo>
                    <a:pt x="592809" y="1626557"/>
                  </a:lnTo>
                  <a:lnTo>
                    <a:pt x="538918" y="1593816"/>
                  </a:lnTo>
                  <a:lnTo>
                    <a:pt x="348399" y="1709761"/>
                  </a:lnTo>
                  <a:lnTo>
                    <a:pt x="210325" y="1573408"/>
                  </a:lnTo>
                  <a:lnTo>
                    <a:pt x="323649" y="1381820"/>
                  </a:lnTo>
                  <a:lnTo>
                    <a:pt x="285842" y="1319591"/>
                  </a:lnTo>
                  <a:lnTo>
                    <a:pt x="276283" y="1299744"/>
                  </a:lnTo>
                  <a:lnTo>
                    <a:pt x="53046" y="1304899"/>
                  </a:lnTo>
                  <a:lnTo>
                    <a:pt x="1647" y="1117778"/>
                  </a:lnTo>
                  <a:lnTo>
                    <a:pt x="196447" y="1008034"/>
                  </a:lnTo>
                  <a:lnTo>
                    <a:pt x="193829" y="956199"/>
                  </a:lnTo>
                  <a:lnTo>
                    <a:pt x="196172" y="909806"/>
                  </a:lnTo>
                  <a:lnTo>
                    <a:pt x="0" y="801994"/>
                  </a:lnTo>
                  <a:lnTo>
                    <a:pt x="49424" y="614342"/>
                  </a:lnTo>
                  <a:lnTo>
                    <a:pt x="274111" y="617163"/>
                  </a:lnTo>
                  <a:lnTo>
                    <a:pt x="285843" y="592809"/>
                  </a:lnTo>
                  <a:lnTo>
                    <a:pt x="319400" y="537571"/>
                  </a:lnTo>
                  <a:lnTo>
                    <a:pt x="202639" y="345707"/>
                  </a:lnTo>
                  <a:lnTo>
                    <a:pt x="338991" y="207633"/>
                  </a:lnTo>
                  <a:lnTo>
                    <a:pt x="532824" y="322285"/>
                  </a:lnTo>
                  <a:lnTo>
                    <a:pt x="592809" y="285843"/>
                  </a:lnTo>
                  <a:lnTo>
                    <a:pt x="612656" y="276282"/>
                  </a:lnTo>
                  <a:lnTo>
                    <a:pt x="607499" y="53048"/>
                  </a:lnTo>
                  <a:lnTo>
                    <a:pt x="794621" y="1649"/>
                  </a:lnTo>
                  <a:lnTo>
                    <a:pt x="904364" y="196447"/>
                  </a:lnTo>
                  <a:lnTo>
                    <a:pt x="956199" y="193829"/>
                  </a:lnTo>
                  <a:lnTo>
                    <a:pt x="999976" y="196040"/>
                  </a:lnTo>
                  <a:lnTo>
                    <a:pt x="1107714" y="0"/>
                  </a:lnTo>
                  <a:close/>
                  <a:moveTo>
                    <a:pt x="956199" y="400859"/>
                  </a:moveTo>
                  <a:cubicBezTo>
                    <a:pt x="649493" y="400859"/>
                    <a:pt x="400859" y="649493"/>
                    <a:pt x="400859" y="956199"/>
                  </a:cubicBezTo>
                  <a:cubicBezTo>
                    <a:pt x="400859" y="1262906"/>
                    <a:pt x="649493" y="1511540"/>
                    <a:pt x="956199" y="1511540"/>
                  </a:cubicBezTo>
                  <a:cubicBezTo>
                    <a:pt x="1262905" y="1511540"/>
                    <a:pt x="1511539" y="1262907"/>
                    <a:pt x="1511539" y="956200"/>
                  </a:cubicBezTo>
                  <a:cubicBezTo>
                    <a:pt x="1511539" y="649493"/>
                    <a:pt x="1262905" y="400859"/>
                    <a:pt x="956199" y="40085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69"/>
            <p:cNvSpPr/>
            <p:nvPr/>
          </p:nvSpPr>
          <p:spPr bwMode="auto">
            <a:xfrm>
              <a:off x="2052494" y="3740498"/>
              <a:ext cx="1216072" cy="1216073"/>
            </a:xfrm>
            <a:custGeom>
              <a:avLst/>
              <a:gdLst>
                <a:gd name="connsiteX0" fmla="*/ 663445 w 1216072"/>
                <a:gd name="connsiteY0" fmla="*/ 0 h 1216073"/>
                <a:gd name="connsiteX1" fmla="*/ 811145 w 1216072"/>
                <a:gd name="connsiteY1" fmla="*/ 32526 h 1216073"/>
                <a:gd name="connsiteX2" fmla="*/ 815964 w 1216072"/>
                <a:gd name="connsiteY2" fmla="*/ 203212 h 1216073"/>
                <a:gd name="connsiteX3" fmla="*/ 838272 w 1216072"/>
                <a:gd name="connsiteY3" fmla="*/ 214050 h 1216073"/>
                <a:gd name="connsiteX4" fmla="*/ 903383 w 1216072"/>
                <a:gd name="connsiteY4" fmla="*/ 263017 h 1216073"/>
                <a:gd name="connsiteX5" fmla="*/ 1064745 w 1216072"/>
                <a:gd name="connsiteY5" fmla="*/ 208886 h 1216073"/>
                <a:gd name="connsiteX6" fmla="*/ 1146186 w 1216072"/>
                <a:gd name="connsiteY6" fmla="*/ 336326 h 1216073"/>
                <a:gd name="connsiteX7" fmla="*/ 1029630 w 1216072"/>
                <a:gd name="connsiteY7" fmla="*/ 459655 h 1216073"/>
                <a:gd name="connsiteX8" fmla="*/ 1039439 w 1216072"/>
                <a:gd name="connsiteY8" fmla="*/ 486861 h 1216073"/>
                <a:gd name="connsiteX9" fmla="*/ 1052615 w 1216072"/>
                <a:gd name="connsiteY9" fmla="*/ 576773 h 1216073"/>
                <a:gd name="connsiteX10" fmla="*/ 1052170 w 1216072"/>
                <a:gd name="connsiteY10" fmla="*/ 584784 h 1216073"/>
                <a:gd name="connsiteX11" fmla="*/ 1216072 w 1216072"/>
                <a:gd name="connsiteY11" fmla="*/ 666344 h 1216073"/>
                <a:gd name="connsiteX12" fmla="*/ 1183546 w 1216072"/>
                <a:gd name="connsiteY12" fmla="*/ 814044 h 1216073"/>
                <a:gd name="connsiteX13" fmla="*/ 992894 w 1216072"/>
                <a:gd name="connsiteY13" fmla="*/ 819426 h 1216073"/>
                <a:gd name="connsiteX14" fmla="*/ 987368 w 1216072"/>
                <a:gd name="connsiteY14" fmla="*/ 830798 h 1216073"/>
                <a:gd name="connsiteX15" fmla="*/ 936193 w 1216072"/>
                <a:gd name="connsiteY15" fmla="*/ 898847 h 1216073"/>
                <a:gd name="connsiteX16" fmla="*/ 993031 w 1216072"/>
                <a:gd name="connsiteY16" fmla="*/ 1068283 h 1216073"/>
                <a:gd name="connsiteX17" fmla="*/ 865591 w 1216072"/>
                <a:gd name="connsiteY17" fmla="*/ 1149724 h 1216073"/>
                <a:gd name="connsiteX18" fmla="*/ 733691 w 1216072"/>
                <a:gd name="connsiteY18" fmla="*/ 1025066 h 1216073"/>
                <a:gd name="connsiteX19" fmla="*/ 714557 w 1216072"/>
                <a:gd name="connsiteY19" fmla="*/ 1031964 h 1216073"/>
                <a:gd name="connsiteX20" fmla="*/ 632049 w 1216072"/>
                <a:gd name="connsiteY20" fmla="*/ 1044056 h 1216073"/>
                <a:gd name="connsiteX21" fmla="*/ 546450 w 1216072"/>
                <a:gd name="connsiteY21" fmla="*/ 1216073 h 1216073"/>
                <a:gd name="connsiteX22" fmla="*/ 398749 w 1216072"/>
                <a:gd name="connsiteY22" fmla="*/ 1183547 h 1216073"/>
                <a:gd name="connsiteX23" fmla="*/ 393312 w 1216072"/>
                <a:gd name="connsiteY23" fmla="*/ 990917 h 1216073"/>
                <a:gd name="connsiteX24" fmla="*/ 370622 w 1216072"/>
                <a:gd name="connsiteY24" fmla="*/ 979894 h 1216073"/>
                <a:gd name="connsiteX25" fmla="*/ 301827 w 1216072"/>
                <a:gd name="connsiteY25" fmla="*/ 928157 h 1216073"/>
                <a:gd name="connsiteX26" fmla="*/ 300170 w 1216072"/>
                <a:gd name="connsiteY26" fmla="*/ 926325 h 1216073"/>
                <a:gd name="connsiteX27" fmla="*/ 122125 w 1216072"/>
                <a:gd name="connsiteY27" fmla="*/ 986051 h 1216073"/>
                <a:gd name="connsiteX28" fmla="*/ 40684 w 1216072"/>
                <a:gd name="connsiteY28" fmla="*/ 858611 h 1216073"/>
                <a:gd name="connsiteX29" fmla="*/ 173443 w 1216072"/>
                <a:gd name="connsiteY29" fmla="*/ 718142 h 1216073"/>
                <a:gd name="connsiteX30" fmla="*/ 169454 w 1216072"/>
                <a:gd name="connsiteY30" fmla="*/ 707082 h 1216073"/>
                <a:gd name="connsiteX31" fmla="*/ 157850 w 1216072"/>
                <a:gd name="connsiteY31" fmla="*/ 627897 h 1216073"/>
                <a:gd name="connsiteX32" fmla="*/ 0 w 1216072"/>
                <a:gd name="connsiteY32" fmla="*/ 549347 h 1216073"/>
                <a:gd name="connsiteX33" fmla="*/ 32527 w 1216072"/>
                <a:gd name="connsiteY33" fmla="*/ 401646 h 1216073"/>
                <a:gd name="connsiteX34" fmla="*/ 205188 w 1216072"/>
                <a:gd name="connsiteY34" fmla="*/ 396774 h 1216073"/>
                <a:gd name="connsiteX35" fmla="*/ 221525 w 1216072"/>
                <a:gd name="connsiteY35" fmla="*/ 363147 h 1216073"/>
                <a:gd name="connsiteX36" fmla="*/ 272704 w 1216072"/>
                <a:gd name="connsiteY36" fmla="*/ 295095 h 1216073"/>
                <a:gd name="connsiteX37" fmla="*/ 215866 w 1216072"/>
                <a:gd name="connsiteY37" fmla="*/ 125661 h 1216073"/>
                <a:gd name="connsiteX38" fmla="*/ 343306 w 1216072"/>
                <a:gd name="connsiteY38" fmla="*/ 44221 h 1216073"/>
                <a:gd name="connsiteX39" fmla="*/ 475204 w 1216072"/>
                <a:gd name="connsiteY39" fmla="*/ 168877 h 1216073"/>
                <a:gd name="connsiteX40" fmla="*/ 494337 w 1216072"/>
                <a:gd name="connsiteY40" fmla="*/ 161979 h 1216073"/>
                <a:gd name="connsiteX41" fmla="*/ 584248 w 1216072"/>
                <a:gd name="connsiteY41" fmla="*/ 148804 h 1216073"/>
                <a:gd name="connsiteX42" fmla="*/ 589260 w 1216072"/>
                <a:gd name="connsiteY42" fmla="*/ 149081 h 1216073"/>
                <a:gd name="connsiteX43" fmla="*/ 663445 w 1216072"/>
                <a:gd name="connsiteY43" fmla="*/ 0 h 1216073"/>
                <a:gd name="connsiteX44" fmla="*/ 596535 w 1216072"/>
                <a:gd name="connsiteY44" fmla="*/ 421434 h 1216073"/>
                <a:gd name="connsiteX45" fmla="*/ 428909 w 1216072"/>
                <a:gd name="connsiteY45" fmla="*/ 604883 h 1216073"/>
                <a:gd name="connsiteX46" fmla="*/ 612359 w 1216072"/>
                <a:gd name="connsiteY46" fmla="*/ 772510 h 1216073"/>
                <a:gd name="connsiteX47" fmla="*/ 779985 w 1216072"/>
                <a:gd name="connsiteY47" fmla="*/ 589060 h 1216073"/>
                <a:gd name="connsiteX48" fmla="*/ 596535 w 1216072"/>
                <a:gd name="connsiteY48" fmla="*/ 421434 h 1216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216072" h="1216073">
                  <a:moveTo>
                    <a:pt x="663445" y="0"/>
                  </a:moveTo>
                  <a:lnTo>
                    <a:pt x="811145" y="32526"/>
                  </a:lnTo>
                  <a:lnTo>
                    <a:pt x="815964" y="203212"/>
                  </a:lnTo>
                  <a:lnTo>
                    <a:pt x="838272" y="214050"/>
                  </a:lnTo>
                  <a:lnTo>
                    <a:pt x="903383" y="263017"/>
                  </a:lnTo>
                  <a:lnTo>
                    <a:pt x="1064745" y="208886"/>
                  </a:lnTo>
                  <a:lnTo>
                    <a:pt x="1146186" y="336326"/>
                  </a:lnTo>
                  <a:lnTo>
                    <a:pt x="1029630" y="459655"/>
                  </a:lnTo>
                  <a:lnTo>
                    <a:pt x="1039439" y="486861"/>
                  </a:lnTo>
                  <a:cubicBezTo>
                    <a:pt x="1046723" y="515767"/>
                    <a:pt x="1051221" y="545833"/>
                    <a:pt x="1052615" y="576773"/>
                  </a:cubicBezTo>
                  <a:lnTo>
                    <a:pt x="1052170" y="584784"/>
                  </a:lnTo>
                  <a:lnTo>
                    <a:pt x="1216072" y="666344"/>
                  </a:lnTo>
                  <a:lnTo>
                    <a:pt x="1183546" y="814044"/>
                  </a:lnTo>
                  <a:lnTo>
                    <a:pt x="992894" y="819426"/>
                  </a:lnTo>
                  <a:lnTo>
                    <a:pt x="987368" y="830798"/>
                  </a:lnTo>
                  <a:lnTo>
                    <a:pt x="936193" y="898847"/>
                  </a:lnTo>
                  <a:lnTo>
                    <a:pt x="993031" y="1068283"/>
                  </a:lnTo>
                  <a:lnTo>
                    <a:pt x="865591" y="1149724"/>
                  </a:lnTo>
                  <a:lnTo>
                    <a:pt x="733691" y="1025066"/>
                  </a:lnTo>
                  <a:lnTo>
                    <a:pt x="714557" y="1031964"/>
                  </a:lnTo>
                  <a:lnTo>
                    <a:pt x="632049" y="1044056"/>
                  </a:lnTo>
                  <a:lnTo>
                    <a:pt x="546450" y="1216073"/>
                  </a:lnTo>
                  <a:lnTo>
                    <a:pt x="398749" y="1183547"/>
                  </a:lnTo>
                  <a:lnTo>
                    <a:pt x="393312" y="990917"/>
                  </a:lnTo>
                  <a:lnTo>
                    <a:pt x="370622" y="979894"/>
                  </a:lnTo>
                  <a:cubicBezTo>
                    <a:pt x="346052" y="964860"/>
                    <a:pt x="323017" y="947520"/>
                    <a:pt x="301827" y="928157"/>
                  </a:cubicBezTo>
                  <a:lnTo>
                    <a:pt x="300170" y="926325"/>
                  </a:lnTo>
                  <a:lnTo>
                    <a:pt x="122125" y="986051"/>
                  </a:lnTo>
                  <a:lnTo>
                    <a:pt x="40684" y="858611"/>
                  </a:lnTo>
                  <a:lnTo>
                    <a:pt x="173443" y="718142"/>
                  </a:lnTo>
                  <a:lnTo>
                    <a:pt x="169454" y="707082"/>
                  </a:lnTo>
                  <a:lnTo>
                    <a:pt x="157850" y="627897"/>
                  </a:lnTo>
                  <a:lnTo>
                    <a:pt x="0" y="549347"/>
                  </a:lnTo>
                  <a:lnTo>
                    <a:pt x="32527" y="401646"/>
                  </a:lnTo>
                  <a:lnTo>
                    <a:pt x="205188" y="396774"/>
                  </a:lnTo>
                  <a:lnTo>
                    <a:pt x="221525" y="363147"/>
                  </a:lnTo>
                  <a:lnTo>
                    <a:pt x="272704" y="295095"/>
                  </a:lnTo>
                  <a:lnTo>
                    <a:pt x="215866" y="125661"/>
                  </a:lnTo>
                  <a:lnTo>
                    <a:pt x="343306" y="44221"/>
                  </a:lnTo>
                  <a:lnTo>
                    <a:pt x="475204" y="168877"/>
                  </a:lnTo>
                  <a:lnTo>
                    <a:pt x="494337" y="161979"/>
                  </a:lnTo>
                  <a:cubicBezTo>
                    <a:pt x="523243" y="154695"/>
                    <a:pt x="553308" y="150198"/>
                    <a:pt x="584248" y="148804"/>
                  </a:cubicBezTo>
                  <a:lnTo>
                    <a:pt x="589260" y="149081"/>
                  </a:lnTo>
                  <a:lnTo>
                    <a:pt x="663445" y="0"/>
                  </a:lnTo>
                  <a:close/>
                  <a:moveTo>
                    <a:pt x="596535" y="421434"/>
                  </a:moveTo>
                  <a:cubicBezTo>
                    <a:pt x="499588" y="425803"/>
                    <a:pt x="424539" y="507937"/>
                    <a:pt x="428909" y="604883"/>
                  </a:cubicBezTo>
                  <a:cubicBezTo>
                    <a:pt x="433278" y="701831"/>
                    <a:pt x="515411" y="776880"/>
                    <a:pt x="612359" y="772510"/>
                  </a:cubicBezTo>
                  <a:cubicBezTo>
                    <a:pt x="709305" y="768141"/>
                    <a:pt x="784355" y="686007"/>
                    <a:pt x="779985" y="589060"/>
                  </a:cubicBezTo>
                  <a:cubicBezTo>
                    <a:pt x="775616" y="492114"/>
                    <a:pt x="693483" y="417064"/>
                    <a:pt x="596535" y="421434"/>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2" name="Group 70"/>
          <p:cNvGrpSpPr/>
          <p:nvPr/>
        </p:nvGrpSpPr>
        <p:grpSpPr>
          <a:xfrm rot="19800000">
            <a:off x="8713954" y="3419712"/>
            <a:ext cx="1000879" cy="629634"/>
            <a:chOff x="228586" y="3732906"/>
            <a:chExt cx="3039980" cy="1912400"/>
          </a:xfrm>
          <a:solidFill>
            <a:srgbClr val="1E1E1E"/>
          </a:solidFill>
        </p:grpSpPr>
        <p:sp>
          <p:nvSpPr>
            <p:cNvPr id="23" name="Freeform 71"/>
            <p:cNvSpPr/>
            <p:nvPr/>
          </p:nvSpPr>
          <p:spPr bwMode="auto">
            <a:xfrm>
              <a:off x="228586" y="3732906"/>
              <a:ext cx="1912399" cy="1912400"/>
            </a:xfrm>
            <a:custGeom>
              <a:avLst/>
              <a:gdLst>
                <a:gd name="connsiteX0" fmla="*/ 1107714 w 1912399"/>
                <a:gd name="connsiteY0" fmla="*/ 0 h 1912400"/>
                <a:gd name="connsiteX1" fmla="*/ 1295367 w 1912399"/>
                <a:gd name="connsiteY1" fmla="*/ 49424 h 1912400"/>
                <a:gd name="connsiteX2" fmla="*/ 1292561 w 1912399"/>
                <a:gd name="connsiteY2" fmla="*/ 272823 h 1912400"/>
                <a:gd name="connsiteX3" fmla="*/ 1319590 w 1912399"/>
                <a:gd name="connsiteY3" fmla="*/ 285843 h 1912400"/>
                <a:gd name="connsiteX4" fmla="*/ 1373480 w 1912399"/>
                <a:gd name="connsiteY4" fmla="*/ 318582 h 1912400"/>
                <a:gd name="connsiteX5" fmla="*/ 1564000 w 1912399"/>
                <a:gd name="connsiteY5" fmla="*/ 202638 h 1912400"/>
                <a:gd name="connsiteX6" fmla="*/ 1702074 w 1912399"/>
                <a:gd name="connsiteY6" fmla="*/ 338990 h 1912400"/>
                <a:gd name="connsiteX7" fmla="*/ 1588749 w 1912399"/>
                <a:gd name="connsiteY7" fmla="*/ 530579 h 1912400"/>
                <a:gd name="connsiteX8" fmla="*/ 1626555 w 1912399"/>
                <a:gd name="connsiteY8" fmla="*/ 592808 h 1912400"/>
                <a:gd name="connsiteX9" fmla="*/ 1636116 w 1912399"/>
                <a:gd name="connsiteY9" fmla="*/ 612656 h 1912400"/>
                <a:gd name="connsiteX10" fmla="*/ 1859351 w 1912399"/>
                <a:gd name="connsiteY10" fmla="*/ 607499 h 1912400"/>
                <a:gd name="connsiteX11" fmla="*/ 1910750 w 1912399"/>
                <a:gd name="connsiteY11" fmla="*/ 794621 h 1912400"/>
                <a:gd name="connsiteX12" fmla="*/ 1715952 w 1912399"/>
                <a:gd name="connsiteY12" fmla="*/ 904364 h 1912400"/>
                <a:gd name="connsiteX13" fmla="*/ 1718570 w 1912399"/>
                <a:gd name="connsiteY13" fmla="*/ 956199 h 1912400"/>
                <a:gd name="connsiteX14" fmla="*/ 1716491 w 1912399"/>
                <a:gd name="connsiteY14" fmla="*/ 997357 h 1912400"/>
                <a:gd name="connsiteX15" fmla="*/ 1912399 w 1912399"/>
                <a:gd name="connsiteY15" fmla="*/ 1105023 h 1912400"/>
                <a:gd name="connsiteX16" fmla="*/ 1862975 w 1912399"/>
                <a:gd name="connsiteY16" fmla="*/ 1292677 h 1912400"/>
                <a:gd name="connsiteX17" fmla="*/ 1640864 w 1912399"/>
                <a:gd name="connsiteY17" fmla="*/ 1289887 h 1912400"/>
                <a:gd name="connsiteX18" fmla="*/ 1626555 w 1912399"/>
                <a:gd name="connsiteY18" fmla="*/ 1319591 h 1912400"/>
                <a:gd name="connsiteX19" fmla="*/ 1594634 w 1912399"/>
                <a:gd name="connsiteY19" fmla="*/ 1372134 h 1912400"/>
                <a:gd name="connsiteX20" fmla="*/ 1709760 w 1912399"/>
                <a:gd name="connsiteY20" fmla="*/ 1561309 h 1912400"/>
                <a:gd name="connsiteX21" fmla="*/ 1573408 w 1912399"/>
                <a:gd name="connsiteY21" fmla="*/ 1699383 h 1912400"/>
                <a:gd name="connsiteX22" fmla="*/ 1383815 w 1912399"/>
                <a:gd name="connsiteY22" fmla="*/ 1587240 h 1912400"/>
                <a:gd name="connsiteX23" fmla="*/ 1382447 w 1912399"/>
                <a:gd name="connsiteY23" fmla="*/ 1588369 h 1912400"/>
                <a:gd name="connsiteX24" fmla="*/ 1319589 w 1912399"/>
                <a:gd name="connsiteY24" fmla="*/ 1626556 h 1912400"/>
                <a:gd name="connsiteX25" fmla="*/ 1299743 w 1912399"/>
                <a:gd name="connsiteY25" fmla="*/ 1636116 h 1912400"/>
                <a:gd name="connsiteX26" fmla="*/ 1304898 w 1912399"/>
                <a:gd name="connsiteY26" fmla="*/ 1859353 h 1912400"/>
                <a:gd name="connsiteX27" fmla="*/ 1117777 w 1912399"/>
                <a:gd name="connsiteY27" fmla="*/ 1910752 h 1912400"/>
                <a:gd name="connsiteX28" fmla="*/ 1008034 w 1912399"/>
                <a:gd name="connsiteY28" fmla="*/ 1715953 h 1912400"/>
                <a:gd name="connsiteX29" fmla="*/ 956198 w 1912399"/>
                <a:gd name="connsiteY29" fmla="*/ 1718570 h 1912400"/>
                <a:gd name="connsiteX30" fmla="*/ 912424 w 1912399"/>
                <a:gd name="connsiteY30" fmla="*/ 1716359 h 1912400"/>
                <a:gd name="connsiteX31" fmla="*/ 804686 w 1912399"/>
                <a:gd name="connsiteY31" fmla="*/ 1912400 h 1912400"/>
                <a:gd name="connsiteX32" fmla="*/ 617034 w 1912399"/>
                <a:gd name="connsiteY32" fmla="*/ 1862976 h 1912400"/>
                <a:gd name="connsiteX33" fmla="*/ 619840 w 1912399"/>
                <a:gd name="connsiteY33" fmla="*/ 1639577 h 1912400"/>
                <a:gd name="connsiteX34" fmla="*/ 592809 w 1912399"/>
                <a:gd name="connsiteY34" fmla="*/ 1626557 h 1912400"/>
                <a:gd name="connsiteX35" fmla="*/ 538918 w 1912399"/>
                <a:gd name="connsiteY35" fmla="*/ 1593816 h 1912400"/>
                <a:gd name="connsiteX36" fmla="*/ 348399 w 1912399"/>
                <a:gd name="connsiteY36" fmla="*/ 1709761 h 1912400"/>
                <a:gd name="connsiteX37" fmla="*/ 210325 w 1912399"/>
                <a:gd name="connsiteY37" fmla="*/ 1573408 h 1912400"/>
                <a:gd name="connsiteX38" fmla="*/ 323649 w 1912399"/>
                <a:gd name="connsiteY38" fmla="*/ 1381820 h 1912400"/>
                <a:gd name="connsiteX39" fmla="*/ 285842 w 1912399"/>
                <a:gd name="connsiteY39" fmla="*/ 1319591 h 1912400"/>
                <a:gd name="connsiteX40" fmla="*/ 276283 w 1912399"/>
                <a:gd name="connsiteY40" fmla="*/ 1299744 h 1912400"/>
                <a:gd name="connsiteX41" fmla="*/ 53046 w 1912399"/>
                <a:gd name="connsiteY41" fmla="*/ 1304899 h 1912400"/>
                <a:gd name="connsiteX42" fmla="*/ 1647 w 1912399"/>
                <a:gd name="connsiteY42" fmla="*/ 1117778 h 1912400"/>
                <a:gd name="connsiteX43" fmla="*/ 196447 w 1912399"/>
                <a:gd name="connsiteY43" fmla="*/ 1008034 h 1912400"/>
                <a:gd name="connsiteX44" fmla="*/ 193829 w 1912399"/>
                <a:gd name="connsiteY44" fmla="*/ 956199 h 1912400"/>
                <a:gd name="connsiteX45" fmla="*/ 196172 w 1912399"/>
                <a:gd name="connsiteY45" fmla="*/ 909806 h 1912400"/>
                <a:gd name="connsiteX46" fmla="*/ 0 w 1912399"/>
                <a:gd name="connsiteY46" fmla="*/ 801994 h 1912400"/>
                <a:gd name="connsiteX47" fmla="*/ 49424 w 1912399"/>
                <a:gd name="connsiteY47" fmla="*/ 614342 h 1912400"/>
                <a:gd name="connsiteX48" fmla="*/ 274111 w 1912399"/>
                <a:gd name="connsiteY48" fmla="*/ 617163 h 1912400"/>
                <a:gd name="connsiteX49" fmla="*/ 285843 w 1912399"/>
                <a:gd name="connsiteY49" fmla="*/ 592809 h 1912400"/>
                <a:gd name="connsiteX50" fmla="*/ 319400 w 1912399"/>
                <a:gd name="connsiteY50" fmla="*/ 537571 h 1912400"/>
                <a:gd name="connsiteX51" fmla="*/ 202639 w 1912399"/>
                <a:gd name="connsiteY51" fmla="*/ 345707 h 1912400"/>
                <a:gd name="connsiteX52" fmla="*/ 338991 w 1912399"/>
                <a:gd name="connsiteY52" fmla="*/ 207633 h 1912400"/>
                <a:gd name="connsiteX53" fmla="*/ 532824 w 1912399"/>
                <a:gd name="connsiteY53" fmla="*/ 322285 h 1912400"/>
                <a:gd name="connsiteX54" fmla="*/ 592809 w 1912399"/>
                <a:gd name="connsiteY54" fmla="*/ 285843 h 1912400"/>
                <a:gd name="connsiteX55" fmla="*/ 612656 w 1912399"/>
                <a:gd name="connsiteY55" fmla="*/ 276282 h 1912400"/>
                <a:gd name="connsiteX56" fmla="*/ 607499 w 1912399"/>
                <a:gd name="connsiteY56" fmla="*/ 53048 h 1912400"/>
                <a:gd name="connsiteX57" fmla="*/ 794621 w 1912399"/>
                <a:gd name="connsiteY57" fmla="*/ 1649 h 1912400"/>
                <a:gd name="connsiteX58" fmla="*/ 904364 w 1912399"/>
                <a:gd name="connsiteY58" fmla="*/ 196447 h 1912400"/>
                <a:gd name="connsiteX59" fmla="*/ 956199 w 1912399"/>
                <a:gd name="connsiteY59" fmla="*/ 193829 h 1912400"/>
                <a:gd name="connsiteX60" fmla="*/ 999976 w 1912399"/>
                <a:gd name="connsiteY60" fmla="*/ 196040 h 1912400"/>
                <a:gd name="connsiteX61" fmla="*/ 1107714 w 1912399"/>
                <a:gd name="connsiteY61" fmla="*/ 0 h 1912400"/>
                <a:gd name="connsiteX62" fmla="*/ 956199 w 1912399"/>
                <a:gd name="connsiteY62" fmla="*/ 400859 h 1912400"/>
                <a:gd name="connsiteX63" fmla="*/ 400859 w 1912399"/>
                <a:gd name="connsiteY63" fmla="*/ 956199 h 1912400"/>
                <a:gd name="connsiteX64" fmla="*/ 956199 w 1912399"/>
                <a:gd name="connsiteY64" fmla="*/ 1511540 h 1912400"/>
                <a:gd name="connsiteX65" fmla="*/ 1511539 w 1912399"/>
                <a:gd name="connsiteY65" fmla="*/ 956200 h 1912400"/>
                <a:gd name="connsiteX66" fmla="*/ 956199 w 1912399"/>
                <a:gd name="connsiteY66" fmla="*/ 400859 h 191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1912399" h="1912400">
                  <a:moveTo>
                    <a:pt x="1107714" y="0"/>
                  </a:moveTo>
                  <a:lnTo>
                    <a:pt x="1295367" y="49424"/>
                  </a:lnTo>
                  <a:lnTo>
                    <a:pt x="1292561" y="272823"/>
                  </a:lnTo>
                  <a:lnTo>
                    <a:pt x="1319590" y="285843"/>
                  </a:lnTo>
                  <a:lnTo>
                    <a:pt x="1373480" y="318582"/>
                  </a:lnTo>
                  <a:lnTo>
                    <a:pt x="1564000" y="202638"/>
                  </a:lnTo>
                  <a:lnTo>
                    <a:pt x="1702074" y="338990"/>
                  </a:lnTo>
                  <a:lnTo>
                    <a:pt x="1588749" y="530579"/>
                  </a:lnTo>
                  <a:lnTo>
                    <a:pt x="1626555" y="592808"/>
                  </a:lnTo>
                  <a:lnTo>
                    <a:pt x="1636116" y="612656"/>
                  </a:lnTo>
                  <a:lnTo>
                    <a:pt x="1859351" y="607499"/>
                  </a:lnTo>
                  <a:lnTo>
                    <a:pt x="1910750" y="794621"/>
                  </a:lnTo>
                  <a:lnTo>
                    <a:pt x="1715952" y="904364"/>
                  </a:lnTo>
                  <a:lnTo>
                    <a:pt x="1718570" y="956199"/>
                  </a:lnTo>
                  <a:lnTo>
                    <a:pt x="1716491" y="997357"/>
                  </a:lnTo>
                  <a:lnTo>
                    <a:pt x="1912399" y="1105023"/>
                  </a:lnTo>
                  <a:lnTo>
                    <a:pt x="1862975" y="1292677"/>
                  </a:lnTo>
                  <a:lnTo>
                    <a:pt x="1640864" y="1289887"/>
                  </a:lnTo>
                  <a:lnTo>
                    <a:pt x="1626555" y="1319591"/>
                  </a:lnTo>
                  <a:lnTo>
                    <a:pt x="1594634" y="1372134"/>
                  </a:lnTo>
                  <a:lnTo>
                    <a:pt x="1709760" y="1561309"/>
                  </a:lnTo>
                  <a:lnTo>
                    <a:pt x="1573408" y="1699383"/>
                  </a:lnTo>
                  <a:lnTo>
                    <a:pt x="1383815" y="1587240"/>
                  </a:lnTo>
                  <a:lnTo>
                    <a:pt x="1382447" y="1588369"/>
                  </a:lnTo>
                  <a:cubicBezTo>
                    <a:pt x="1362167" y="1602069"/>
                    <a:pt x="1341194" y="1614819"/>
                    <a:pt x="1319589" y="1626556"/>
                  </a:cubicBezTo>
                  <a:lnTo>
                    <a:pt x="1299743" y="1636116"/>
                  </a:lnTo>
                  <a:lnTo>
                    <a:pt x="1304898" y="1859353"/>
                  </a:lnTo>
                  <a:lnTo>
                    <a:pt x="1117777" y="1910752"/>
                  </a:lnTo>
                  <a:lnTo>
                    <a:pt x="1008034" y="1715953"/>
                  </a:lnTo>
                  <a:lnTo>
                    <a:pt x="956198" y="1718570"/>
                  </a:lnTo>
                  <a:lnTo>
                    <a:pt x="912424" y="1716359"/>
                  </a:lnTo>
                  <a:lnTo>
                    <a:pt x="804686" y="1912400"/>
                  </a:lnTo>
                  <a:lnTo>
                    <a:pt x="617034" y="1862976"/>
                  </a:lnTo>
                  <a:lnTo>
                    <a:pt x="619840" y="1639577"/>
                  </a:lnTo>
                  <a:lnTo>
                    <a:pt x="592809" y="1626557"/>
                  </a:lnTo>
                  <a:lnTo>
                    <a:pt x="538918" y="1593816"/>
                  </a:lnTo>
                  <a:lnTo>
                    <a:pt x="348399" y="1709761"/>
                  </a:lnTo>
                  <a:lnTo>
                    <a:pt x="210325" y="1573408"/>
                  </a:lnTo>
                  <a:lnTo>
                    <a:pt x="323649" y="1381820"/>
                  </a:lnTo>
                  <a:lnTo>
                    <a:pt x="285842" y="1319591"/>
                  </a:lnTo>
                  <a:lnTo>
                    <a:pt x="276283" y="1299744"/>
                  </a:lnTo>
                  <a:lnTo>
                    <a:pt x="53046" y="1304899"/>
                  </a:lnTo>
                  <a:lnTo>
                    <a:pt x="1647" y="1117778"/>
                  </a:lnTo>
                  <a:lnTo>
                    <a:pt x="196447" y="1008034"/>
                  </a:lnTo>
                  <a:lnTo>
                    <a:pt x="193829" y="956199"/>
                  </a:lnTo>
                  <a:lnTo>
                    <a:pt x="196172" y="909806"/>
                  </a:lnTo>
                  <a:lnTo>
                    <a:pt x="0" y="801994"/>
                  </a:lnTo>
                  <a:lnTo>
                    <a:pt x="49424" y="614342"/>
                  </a:lnTo>
                  <a:lnTo>
                    <a:pt x="274111" y="617163"/>
                  </a:lnTo>
                  <a:lnTo>
                    <a:pt x="285843" y="592809"/>
                  </a:lnTo>
                  <a:lnTo>
                    <a:pt x="319400" y="537571"/>
                  </a:lnTo>
                  <a:lnTo>
                    <a:pt x="202639" y="345707"/>
                  </a:lnTo>
                  <a:lnTo>
                    <a:pt x="338991" y="207633"/>
                  </a:lnTo>
                  <a:lnTo>
                    <a:pt x="532824" y="322285"/>
                  </a:lnTo>
                  <a:lnTo>
                    <a:pt x="592809" y="285843"/>
                  </a:lnTo>
                  <a:lnTo>
                    <a:pt x="612656" y="276282"/>
                  </a:lnTo>
                  <a:lnTo>
                    <a:pt x="607499" y="53048"/>
                  </a:lnTo>
                  <a:lnTo>
                    <a:pt x="794621" y="1649"/>
                  </a:lnTo>
                  <a:lnTo>
                    <a:pt x="904364" y="196447"/>
                  </a:lnTo>
                  <a:lnTo>
                    <a:pt x="956199" y="193829"/>
                  </a:lnTo>
                  <a:lnTo>
                    <a:pt x="999976" y="196040"/>
                  </a:lnTo>
                  <a:lnTo>
                    <a:pt x="1107714" y="0"/>
                  </a:lnTo>
                  <a:close/>
                  <a:moveTo>
                    <a:pt x="956199" y="400859"/>
                  </a:moveTo>
                  <a:cubicBezTo>
                    <a:pt x="649493" y="400859"/>
                    <a:pt x="400859" y="649493"/>
                    <a:pt x="400859" y="956199"/>
                  </a:cubicBezTo>
                  <a:cubicBezTo>
                    <a:pt x="400859" y="1262906"/>
                    <a:pt x="649493" y="1511540"/>
                    <a:pt x="956199" y="1511540"/>
                  </a:cubicBezTo>
                  <a:cubicBezTo>
                    <a:pt x="1262905" y="1511540"/>
                    <a:pt x="1511539" y="1262907"/>
                    <a:pt x="1511539" y="956200"/>
                  </a:cubicBezTo>
                  <a:cubicBezTo>
                    <a:pt x="1511539" y="649493"/>
                    <a:pt x="1262905" y="400859"/>
                    <a:pt x="956199" y="40085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Freeform 72"/>
            <p:cNvSpPr/>
            <p:nvPr/>
          </p:nvSpPr>
          <p:spPr bwMode="auto">
            <a:xfrm>
              <a:off x="2052494" y="3740498"/>
              <a:ext cx="1216072" cy="1216073"/>
            </a:xfrm>
            <a:custGeom>
              <a:avLst/>
              <a:gdLst>
                <a:gd name="connsiteX0" fmla="*/ 663445 w 1216072"/>
                <a:gd name="connsiteY0" fmla="*/ 0 h 1216073"/>
                <a:gd name="connsiteX1" fmla="*/ 811145 w 1216072"/>
                <a:gd name="connsiteY1" fmla="*/ 32526 h 1216073"/>
                <a:gd name="connsiteX2" fmla="*/ 815964 w 1216072"/>
                <a:gd name="connsiteY2" fmla="*/ 203212 h 1216073"/>
                <a:gd name="connsiteX3" fmla="*/ 838272 w 1216072"/>
                <a:gd name="connsiteY3" fmla="*/ 214050 h 1216073"/>
                <a:gd name="connsiteX4" fmla="*/ 903383 w 1216072"/>
                <a:gd name="connsiteY4" fmla="*/ 263017 h 1216073"/>
                <a:gd name="connsiteX5" fmla="*/ 1064745 w 1216072"/>
                <a:gd name="connsiteY5" fmla="*/ 208886 h 1216073"/>
                <a:gd name="connsiteX6" fmla="*/ 1146186 w 1216072"/>
                <a:gd name="connsiteY6" fmla="*/ 336326 h 1216073"/>
                <a:gd name="connsiteX7" fmla="*/ 1029630 w 1216072"/>
                <a:gd name="connsiteY7" fmla="*/ 459655 h 1216073"/>
                <a:gd name="connsiteX8" fmla="*/ 1039439 w 1216072"/>
                <a:gd name="connsiteY8" fmla="*/ 486861 h 1216073"/>
                <a:gd name="connsiteX9" fmla="*/ 1052615 w 1216072"/>
                <a:gd name="connsiteY9" fmla="*/ 576773 h 1216073"/>
                <a:gd name="connsiteX10" fmla="*/ 1052170 w 1216072"/>
                <a:gd name="connsiteY10" fmla="*/ 584784 h 1216073"/>
                <a:gd name="connsiteX11" fmla="*/ 1216072 w 1216072"/>
                <a:gd name="connsiteY11" fmla="*/ 666344 h 1216073"/>
                <a:gd name="connsiteX12" fmla="*/ 1183546 w 1216072"/>
                <a:gd name="connsiteY12" fmla="*/ 814044 h 1216073"/>
                <a:gd name="connsiteX13" fmla="*/ 992894 w 1216072"/>
                <a:gd name="connsiteY13" fmla="*/ 819426 h 1216073"/>
                <a:gd name="connsiteX14" fmla="*/ 987368 w 1216072"/>
                <a:gd name="connsiteY14" fmla="*/ 830798 h 1216073"/>
                <a:gd name="connsiteX15" fmla="*/ 936193 w 1216072"/>
                <a:gd name="connsiteY15" fmla="*/ 898847 h 1216073"/>
                <a:gd name="connsiteX16" fmla="*/ 993031 w 1216072"/>
                <a:gd name="connsiteY16" fmla="*/ 1068283 h 1216073"/>
                <a:gd name="connsiteX17" fmla="*/ 865591 w 1216072"/>
                <a:gd name="connsiteY17" fmla="*/ 1149724 h 1216073"/>
                <a:gd name="connsiteX18" fmla="*/ 733691 w 1216072"/>
                <a:gd name="connsiteY18" fmla="*/ 1025066 h 1216073"/>
                <a:gd name="connsiteX19" fmla="*/ 714557 w 1216072"/>
                <a:gd name="connsiteY19" fmla="*/ 1031964 h 1216073"/>
                <a:gd name="connsiteX20" fmla="*/ 632049 w 1216072"/>
                <a:gd name="connsiteY20" fmla="*/ 1044056 h 1216073"/>
                <a:gd name="connsiteX21" fmla="*/ 546450 w 1216072"/>
                <a:gd name="connsiteY21" fmla="*/ 1216073 h 1216073"/>
                <a:gd name="connsiteX22" fmla="*/ 398749 w 1216072"/>
                <a:gd name="connsiteY22" fmla="*/ 1183547 h 1216073"/>
                <a:gd name="connsiteX23" fmla="*/ 393312 w 1216072"/>
                <a:gd name="connsiteY23" fmla="*/ 990917 h 1216073"/>
                <a:gd name="connsiteX24" fmla="*/ 370622 w 1216072"/>
                <a:gd name="connsiteY24" fmla="*/ 979894 h 1216073"/>
                <a:gd name="connsiteX25" fmla="*/ 301827 w 1216072"/>
                <a:gd name="connsiteY25" fmla="*/ 928157 h 1216073"/>
                <a:gd name="connsiteX26" fmla="*/ 300170 w 1216072"/>
                <a:gd name="connsiteY26" fmla="*/ 926325 h 1216073"/>
                <a:gd name="connsiteX27" fmla="*/ 122125 w 1216072"/>
                <a:gd name="connsiteY27" fmla="*/ 986051 h 1216073"/>
                <a:gd name="connsiteX28" fmla="*/ 40684 w 1216072"/>
                <a:gd name="connsiteY28" fmla="*/ 858611 h 1216073"/>
                <a:gd name="connsiteX29" fmla="*/ 173443 w 1216072"/>
                <a:gd name="connsiteY29" fmla="*/ 718142 h 1216073"/>
                <a:gd name="connsiteX30" fmla="*/ 169454 w 1216072"/>
                <a:gd name="connsiteY30" fmla="*/ 707082 h 1216073"/>
                <a:gd name="connsiteX31" fmla="*/ 157850 w 1216072"/>
                <a:gd name="connsiteY31" fmla="*/ 627897 h 1216073"/>
                <a:gd name="connsiteX32" fmla="*/ 0 w 1216072"/>
                <a:gd name="connsiteY32" fmla="*/ 549347 h 1216073"/>
                <a:gd name="connsiteX33" fmla="*/ 32527 w 1216072"/>
                <a:gd name="connsiteY33" fmla="*/ 401646 h 1216073"/>
                <a:gd name="connsiteX34" fmla="*/ 205188 w 1216072"/>
                <a:gd name="connsiteY34" fmla="*/ 396774 h 1216073"/>
                <a:gd name="connsiteX35" fmla="*/ 221525 w 1216072"/>
                <a:gd name="connsiteY35" fmla="*/ 363147 h 1216073"/>
                <a:gd name="connsiteX36" fmla="*/ 272704 w 1216072"/>
                <a:gd name="connsiteY36" fmla="*/ 295095 h 1216073"/>
                <a:gd name="connsiteX37" fmla="*/ 215866 w 1216072"/>
                <a:gd name="connsiteY37" fmla="*/ 125661 h 1216073"/>
                <a:gd name="connsiteX38" fmla="*/ 343306 w 1216072"/>
                <a:gd name="connsiteY38" fmla="*/ 44221 h 1216073"/>
                <a:gd name="connsiteX39" fmla="*/ 475204 w 1216072"/>
                <a:gd name="connsiteY39" fmla="*/ 168877 h 1216073"/>
                <a:gd name="connsiteX40" fmla="*/ 494337 w 1216072"/>
                <a:gd name="connsiteY40" fmla="*/ 161979 h 1216073"/>
                <a:gd name="connsiteX41" fmla="*/ 584248 w 1216072"/>
                <a:gd name="connsiteY41" fmla="*/ 148804 h 1216073"/>
                <a:gd name="connsiteX42" fmla="*/ 589260 w 1216072"/>
                <a:gd name="connsiteY42" fmla="*/ 149081 h 1216073"/>
                <a:gd name="connsiteX43" fmla="*/ 663445 w 1216072"/>
                <a:gd name="connsiteY43" fmla="*/ 0 h 1216073"/>
                <a:gd name="connsiteX44" fmla="*/ 596535 w 1216072"/>
                <a:gd name="connsiteY44" fmla="*/ 421434 h 1216073"/>
                <a:gd name="connsiteX45" fmla="*/ 428909 w 1216072"/>
                <a:gd name="connsiteY45" fmla="*/ 604883 h 1216073"/>
                <a:gd name="connsiteX46" fmla="*/ 612359 w 1216072"/>
                <a:gd name="connsiteY46" fmla="*/ 772510 h 1216073"/>
                <a:gd name="connsiteX47" fmla="*/ 779985 w 1216072"/>
                <a:gd name="connsiteY47" fmla="*/ 589060 h 1216073"/>
                <a:gd name="connsiteX48" fmla="*/ 596535 w 1216072"/>
                <a:gd name="connsiteY48" fmla="*/ 421434 h 1216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216072" h="1216073">
                  <a:moveTo>
                    <a:pt x="663445" y="0"/>
                  </a:moveTo>
                  <a:lnTo>
                    <a:pt x="811145" y="32526"/>
                  </a:lnTo>
                  <a:lnTo>
                    <a:pt x="815964" y="203212"/>
                  </a:lnTo>
                  <a:lnTo>
                    <a:pt x="838272" y="214050"/>
                  </a:lnTo>
                  <a:lnTo>
                    <a:pt x="903383" y="263017"/>
                  </a:lnTo>
                  <a:lnTo>
                    <a:pt x="1064745" y="208886"/>
                  </a:lnTo>
                  <a:lnTo>
                    <a:pt x="1146186" y="336326"/>
                  </a:lnTo>
                  <a:lnTo>
                    <a:pt x="1029630" y="459655"/>
                  </a:lnTo>
                  <a:lnTo>
                    <a:pt x="1039439" y="486861"/>
                  </a:lnTo>
                  <a:cubicBezTo>
                    <a:pt x="1046723" y="515767"/>
                    <a:pt x="1051221" y="545833"/>
                    <a:pt x="1052615" y="576773"/>
                  </a:cubicBezTo>
                  <a:lnTo>
                    <a:pt x="1052170" y="584784"/>
                  </a:lnTo>
                  <a:lnTo>
                    <a:pt x="1216072" y="666344"/>
                  </a:lnTo>
                  <a:lnTo>
                    <a:pt x="1183546" y="814044"/>
                  </a:lnTo>
                  <a:lnTo>
                    <a:pt x="992894" y="819426"/>
                  </a:lnTo>
                  <a:lnTo>
                    <a:pt x="987368" y="830798"/>
                  </a:lnTo>
                  <a:lnTo>
                    <a:pt x="936193" y="898847"/>
                  </a:lnTo>
                  <a:lnTo>
                    <a:pt x="993031" y="1068283"/>
                  </a:lnTo>
                  <a:lnTo>
                    <a:pt x="865591" y="1149724"/>
                  </a:lnTo>
                  <a:lnTo>
                    <a:pt x="733691" y="1025066"/>
                  </a:lnTo>
                  <a:lnTo>
                    <a:pt x="714557" y="1031964"/>
                  </a:lnTo>
                  <a:lnTo>
                    <a:pt x="632049" y="1044056"/>
                  </a:lnTo>
                  <a:lnTo>
                    <a:pt x="546450" y="1216073"/>
                  </a:lnTo>
                  <a:lnTo>
                    <a:pt x="398749" y="1183547"/>
                  </a:lnTo>
                  <a:lnTo>
                    <a:pt x="393312" y="990917"/>
                  </a:lnTo>
                  <a:lnTo>
                    <a:pt x="370622" y="979894"/>
                  </a:lnTo>
                  <a:cubicBezTo>
                    <a:pt x="346052" y="964860"/>
                    <a:pt x="323017" y="947520"/>
                    <a:pt x="301827" y="928157"/>
                  </a:cubicBezTo>
                  <a:lnTo>
                    <a:pt x="300170" y="926325"/>
                  </a:lnTo>
                  <a:lnTo>
                    <a:pt x="122125" y="986051"/>
                  </a:lnTo>
                  <a:lnTo>
                    <a:pt x="40684" y="858611"/>
                  </a:lnTo>
                  <a:lnTo>
                    <a:pt x="173443" y="718142"/>
                  </a:lnTo>
                  <a:lnTo>
                    <a:pt x="169454" y="707082"/>
                  </a:lnTo>
                  <a:lnTo>
                    <a:pt x="157850" y="627897"/>
                  </a:lnTo>
                  <a:lnTo>
                    <a:pt x="0" y="549347"/>
                  </a:lnTo>
                  <a:lnTo>
                    <a:pt x="32527" y="401646"/>
                  </a:lnTo>
                  <a:lnTo>
                    <a:pt x="205188" y="396774"/>
                  </a:lnTo>
                  <a:lnTo>
                    <a:pt x="221525" y="363147"/>
                  </a:lnTo>
                  <a:lnTo>
                    <a:pt x="272704" y="295095"/>
                  </a:lnTo>
                  <a:lnTo>
                    <a:pt x="215866" y="125661"/>
                  </a:lnTo>
                  <a:lnTo>
                    <a:pt x="343306" y="44221"/>
                  </a:lnTo>
                  <a:lnTo>
                    <a:pt x="475204" y="168877"/>
                  </a:lnTo>
                  <a:lnTo>
                    <a:pt x="494337" y="161979"/>
                  </a:lnTo>
                  <a:cubicBezTo>
                    <a:pt x="523243" y="154695"/>
                    <a:pt x="553308" y="150198"/>
                    <a:pt x="584248" y="148804"/>
                  </a:cubicBezTo>
                  <a:lnTo>
                    <a:pt x="589260" y="149081"/>
                  </a:lnTo>
                  <a:lnTo>
                    <a:pt x="663445" y="0"/>
                  </a:lnTo>
                  <a:close/>
                  <a:moveTo>
                    <a:pt x="596535" y="421434"/>
                  </a:moveTo>
                  <a:cubicBezTo>
                    <a:pt x="499588" y="425803"/>
                    <a:pt x="424539" y="507937"/>
                    <a:pt x="428909" y="604883"/>
                  </a:cubicBezTo>
                  <a:cubicBezTo>
                    <a:pt x="433278" y="701831"/>
                    <a:pt x="515411" y="776880"/>
                    <a:pt x="612359" y="772510"/>
                  </a:cubicBezTo>
                  <a:cubicBezTo>
                    <a:pt x="709305" y="768141"/>
                    <a:pt x="784355" y="686007"/>
                    <a:pt x="779985" y="589060"/>
                  </a:cubicBezTo>
                  <a:cubicBezTo>
                    <a:pt x="775616" y="492114"/>
                    <a:pt x="693483" y="417064"/>
                    <a:pt x="596535" y="421434"/>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5" name="TextBox 73"/>
          <p:cNvSpPr txBox="1"/>
          <p:nvPr/>
        </p:nvSpPr>
        <p:spPr>
          <a:xfrm>
            <a:off x="6071492" y="4995967"/>
            <a:ext cx="1546482" cy="261610"/>
          </a:xfrm>
          <a:prstGeom prst="rect">
            <a:avLst/>
          </a:prstGeom>
          <a:noFill/>
        </p:spPr>
        <p:txBody>
          <a:bodyPr wrap="square" rtlCol="0">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Microsoft Azure</a:t>
            </a:r>
          </a:p>
        </p:txBody>
      </p:sp>
      <p:sp>
        <p:nvSpPr>
          <p:cNvPr id="26" name="TextBox 74"/>
          <p:cNvSpPr txBox="1"/>
          <p:nvPr/>
        </p:nvSpPr>
        <p:spPr>
          <a:xfrm>
            <a:off x="6136741" y="4278428"/>
            <a:ext cx="1380832" cy="253916"/>
          </a:xfrm>
          <a:prstGeom prst="rect">
            <a:avLst/>
          </a:prstGeom>
          <a:noFill/>
        </p:spPr>
        <p:txBody>
          <a:bodyPr wrap="square" rtlCol="0">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REST APIs</a:t>
            </a:r>
          </a:p>
        </p:txBody>
      </p:sp>
      <p:sp>
        <p:nvSpPr>
          <p:cNvPr id="27" name="TextBox 75"/>
          <p:cNvSpPr txBox="1"/>
          <p:nvPr/>
        </p:nvSpPr>
        <p:spPr>
          <a:xfrm>
            <a:off x="8117995" y="4278428"/>
            <a:ext cx="2183526" cy="253916"/>
          </a:xfrm>
          <a:prstGeom prst="rect">
            <a:avLst/>
          </a:prstGeom>
          <a:noFill/>
        </p:spPr>
        <p:txBody>
          <a:bodyPr wrap="square" rtlCol="0">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Azure</a:t>
            </a:r>
            <a:r>
              <a:rPr kumimoji="0" lang="en-US" sz="1050" b="0" i="0" u="none" strike="noStrike" kern="0" cap="none" spc="0" normalizeH="0" noProof="0" dirty="0">
                <a:ln>
                  <a:noFill/>
                </a:ln>
                <a:solidFill>
                  <a:srgbClr val="282828"/>
                </a:solidFill>
                <a:effectLst/>
                <a:uLnTx/>
                <a:uFillTx/>
                <a:latin typeface="Segoe UI Semibold" panose="020B0702040204020203" pitchFamily="34" charset="0"/>
                <a:cs typeface="Segoe UI Semibold" panose="020B0702040204020203" pitchFamily="34" charset="0"/>
              </a:rPr>
              <a:t> Resource Manager API</a:t>
            </a:r>
            <a:endParaRPr kumimoji="0" lang="en-US" sz="105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endParaRPr>
          </a:p>
        </p:txBody>
      </p:sp>
      <p:sp>
        <p:nvSpPr>
          <p:cNvPr id="28" name="Rectangle 84"/>
          <p:cNvSpPr/>
          <p:nvPr/>
        </p:nvSpPr>
        <p:spPr>
          <a:xfrm>
            <a:off x="5631543" y="4728677"/>
            <a:ext cx="4782457" cy="795978"/>
          </a:xfrm>
          <a:prstGeom prst="rect">
            <a:avLst/>
          </a:prstGeom>
          <a:noFill/>
          <a:ln w="6350">
            <a:solidFill>
              <a:srgbClr val="1E1E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9" name="Straight Connector 88"/>
          <p:cNvCxnSpPr/>
          <p:nvPr/>
        </p:nvCxnSpPr>
        <p:spPr>
          <a:xfrm>
            <a:off x="8022771" y="3187170"/>
            <a:ext cx="0" cy="1397560"/>
          </a:xfrm>
          <a:prstGeom prst="line">
            <a:avLst/>
          </a:prstGeom>
          <a:ln w="6350">
            <a:solidFill>
              <a:srgbClr val="1E1E1E">
                <a:alpha val="50000"/>
              </a:srgbClr>
            </a:solidFill>
            <a:prstDash val="dash"/>
          </a:ln>
        </p:spPr>
        <p:style>
          <a:lnRef idx="1">
            <a:schemeClr val="accent1"/>
          </a:lnRef>
          <a:fillRef idx="0">
            <a:schemeClr val="accent1"/>
          </a:fillRef>
          <a:effectRef idx="0">
            <a:schemeClr val="accent1"/>
          </a:effectRef>
          <a:fontRef idx="minor">
            <a:schemeClr val="tx1"/>
          </a:fontRef>
        </p:style>
      </p:cxnSp>
      <p:sp>
        <p:nvSpPr>
          <p:cNvPr id="30" name="Right Arrow 92"/>
          <p:cNvSpPr/>
          <p:nvPr/>
        </p:nvSpPr>
        <p:spPr>
          <a:xfrm rot="16200000">
            <a:off x="7885414" y="2439905"/>
            <a:ext cx="274718" cy="345138"/>
          </a:xfrm>
          <a:prstGeom prst="rightArrow">
            <a:avLst/>
          </a:prstGeom>
          <a:solidFill>
            <a:srgbClr val="EDC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 name="TextBox 93"/>
          <p:cNvSpPr txBox="1"/>
          <p:nvPr/>
        </p:nvSpPr>
        <p:spPr>
          <a:xfrm>
            <a:off x="7333921" y="2193251"/>
            <a:ext cx="1377057" cy="2616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Your app</a:t>
            </a:r>
          </a:p>
        </p:txBody>
      </p:sp>
      <p:sp>
        <p:nvSpPr>
          <p:cNvPr id="32" name="TextBox 97"/>
          <p:cNvSpPr txBox="1"/>
          <p:nvPr/>
        </p:nvSpPr>
        <p:spPr>
          <a:xfrm>
            <a:off x="8436517" y="4995967"/>
            <a:ext cx="1546482" cy="261610"/>
          </a:xfrm>
          <a:prstGeom prst="rect">
            <a:avLst/>
          </a:prstGeom>
          <a:noFill/>
        </p:spPr>
        <p:txBody>
          <a:bodyPr wrap="square" rtlCol="0">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Power BI Embedded</a:t>
            </a:r>
          </a:p>
        </p:txBody>
      </p:sp>
      <p:grpSp>
        <p:nvGrpSpPr>
          <p:cNvPr id="33" name="Group 98"/>
          <p:cNvGrpSpPr/>
          <p:nvPr/>
        </p:nvGrpSpPr>
        <p:grpSpPr>
          <a:xfrm>
            <a:off x="7558544" y="1494043"/>
            <a:ext cx="927809" cy="694770"/>
            <a:chOff x="10467794" y="2369307"/>
            <a:chExt cx="1004386" cy="752113"/>
          </a:xfrm>
        </p:grpSpPr>
        <p:sp>
          <p:nvSpPr>
            <p:cNvPr id="34" name="Freeform 99"/>
            <p:cNvSpPr>
              <a:spLocks noChangeAspect="1"/>
            </p:cNvSpPr>
            <p:nvPr/>
          </p:nvSpPr>
          <p:spPr bwMode="auto">
            <a:xfrm>
              <a:off x="10768048" y="2628306"/>
              <a:ext cx="375318" cy="374098"/>
            </a:xfrm>
            <a:custGeom>
              <a:avLst/>
              <a:gdLst>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72174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179572 w 1481959"/>
                <a:gd name="connsiteY24" fmla="*/ 228919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179572 w 1481959"/>
                <a:gd name="connsiteY28" fmla="*/ 228919 h 962317"/>
                <a:gd name="connsiteX29" fmla="*/ 65620 w 1481959"/>
                <a:gd name="connsiteY29" fmla="*/ 0 h 962317"/>
                <a:gd name="connsiteX30" fmla="*/ 1416339 w 1481959"/>
                <a:gd name="connsiteY30" fmla="*/ 0 h 962317"/>
                <a:gd name="connsiteX31" fmla="*/ 1481959 w 1481959"/>
                <a:gd name="connsiteY31" fmla="*/ 65621 h 962317"/>
                <a:gd name="connsiteX32" fmla="*/ 1481959 w 1481959"/>
                <a:gd name="connsiteY32" fmla="*/ 896697 h 962317"/>
                <a:gd name="connsiteX33" fmla="*/ 1416339 w 1481959"/>
                <a:gd name="connsiteY33" fmla="*/ 962317 h 962317"/>
                <a:gd name="connsiteX34" fmla="*/ 65620 w 1481959"/>
                <a:gd name="connsiteY34" fmla="*/ 962317 h 962317"/>
                <a:gd name="connsiteX35" fmla="*/ 0 w 1481959"/>
                <a:gd name="connsiteY35" fmla="*/ 896697 h 962317"/>
                <a:gd name="connsiteX36" fmla="*/ 0 w 1481959"/>
                <a:gd name="connsiteY36" fmla="*/ 65621 h 962317"/>
                <a:gd name="connsiteX37" fmla="*/ 65620 w 1481959"/>
                <a:gd name="connsiteY37" fmla="*/ 0 h 962317"/>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1402569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 name="connsiteX0" fmla="*/ 678350 w 1481959"/>
                <a:gd name="connsiteY0" fmla="*/ 282422 h 985749"/>
                <a:gd name="connsiteX1" fmla="*/ 688805 w 1481959"/>
                <a:gd name="connsiteY1" fmla="*/ 282656 h 985749"/>
                <a:gd name="connsiteX2" fmla="*/ 971484 w 1481959"/>
                <a:gd name="connsiteY2" fmla="*/ 282656 h 985749"/>
                <a:gd name="connsiteX3" fmla="*/ 1006067 w 1481959"/>
                <a:gd name="connsiteY3" fmla="*/ 315737 h 985749"/>
                <a:gd name="connsiteX4" fmla="*/ 1006067 w 1481959"/>
                <a:gd name="connsiteY4" fmla="*/ 599920 h 985749"/>
                <a:gd name="connsiteX5" fmla="*/ 1004269 w 1481959"/>
                <a:gd name="connsiteY5" fmla="*/ 618617 h 985749"/>
                <a:gd name="connsiteX6" fmla="*/ 996845 w 1481959"/>
                <a:gd name="connsiteY6" fmla="*/ 620135 h 985749"/>
                <a:gd name="connsiteX7" fmla="*/ 946477 w 1481959"/>
                <a:gd name="connsiteY7" fmla="*/ 570273 h 985749"/>
                <a:gd name="connsiteX8" fmla="*/ 903068 w 1481959"/>
                <a:gd name="connsiteY8" fmla="*/ 570491 h 985749"/>
                <a:gd name="connsiteX9" fmla="*/ 711725 w 1481959"/>
                <a:gd name="connsiteY9" fmla="*/ 763776 h 985749"/>
                <a:gd name="connsiteX10" fmla="*/ 661739 w 1481959"/>
                <a:gd name="connsiteY10" fmla="*/ 742764 h 985749"/>
                <a:gd name="connsiteX11" fmla="*/ 535436 w 1481959"/>
                <a:gd name="connsiteY11" fmla="*/ 616460 h 985749"/>
                <a:gd name="connsiteX12" fmla="*/ 520710 w 1481959"/>
                <a:gd name="connsiteY12" fmla="*/ 581034 h 985749"/>
                <a:gd name="connsiteX13" fmla="*/ 597984 w 1481959"/>
                <a:gd name="connsiteY13" fmla="*/ 502258 h 985749"/>
                <a:gd name="connsiteX14" fmla="*/ 709855 w 1481959"/>
                <a:gd name="connsiteY14" fmla="*/ 392420 h 985749"/>
                <a:gd name="connsiteX15" fmla="*/ 720565 w 1481959"/>
                <a:gd name="connsiteY15" fmla="*/ 374487 h 985749"/>
                <a:gd name="connsiteX16" fmla="*/ 722022 w 1481959"/>
                <a:gd name="connsiteY16" fmla="*/ 371349 h 985749"/>
                <a:gd name="connsiteX17" fmla="*/ 723721 w 1481959"/>
                <a:gd name="connsiteY17" fmla="*/ 362150 h 985749"/>
                <a:gd name="connsiteX18" fmla="*/ 723262 w 1481959"/>
                <a:gd name="connsiteY18" fmla="*/ 357770 h 985749"/>
                <a:gd name="connsiteX19" fmla="*/ 723111 w 1481959"/>
                <a:gd name="connsiteY19" fmla="*/ 357034 h 985749"/>
                <a:gd name="connsiteX20" fmla="*/ 714729 w 1481959"/>
                <a:gd name="connsiteY20" fmla="*/ 339411 h 985749"/>
                <a:gd name="connsiteX21" fmla="*/ 678087 w 1481959"/>
                <a:gd name="connsiteY21" fmla="*/ 303467 h 985749"/>
                <a:gd name="connsiteX22" fmla="*/ 668098 w 1481959"/>
                <a:gd name="connsiteY22" fmla="*/ 285733 h 985749"/>
                <a:gd name="connsiteX23" fmla="*/ 678350 w 1481959"/>
                <a:gd name="connsiteY23" fmla="*/ 282422 h 985749"/>
                <a:gd name="connsiteX24" fmla="*/ 1402569 w 1481959"/>
                <a:gd name="connsiteY24" fmla="*/ 95606 h 985749"/>
                <a:gd name="connsiteX25" fmla="*/ 72174 w 1481959"/>
                <a:gd name="connsiteY25" fmla="*/ 911169 h 985749"/>
                <a:gd name="connsiteX26" fmla="*/ 1402569 w 1481959"/>
                <a:gd name="connsiteY26" fmla="*/ 911169 h 985749"/>
                <a:gd name="connsiteX27" fmla="*/ 1402569 w 1481959"/>
                <a:gd name="connsiteY27" fmla="*/ 95606 h 985749"/>
                <a:gd name="connsiteX28" fmla="*/ 0 w 1481959"/>
                <a:gd name="connsiteY28" fmla="*/ 89053 h 985749"/>
                <a:gd name="connsiteX29" fmla="*/ 1416339 w 1481959"/>
                <a:gd name="connsiteY29" fmla="*/ 23432 h 985749"/>
                <a:gd name="connsiteX30" fmla="*/ 1481959 w 1481959"/>
                <a:gd name="connsiteY30" fmla="*/ 89053 h 985749"/>
                <a:gd name="connsiteX31" fmla="*/ 1481959 w 1481959"/>
                <a:gd name="connsiteY31" fmla="*/ 920129 h 985749"/>
                <a:gd name="connsiteX32" fmla="*/ 1416339 w 1481959"/>
                <a:gd name="connsiteY32" fmla="*/ 985749 h 985749"/>
                <a:gd name="connsiteX33" fmla="*/ 65620 w 1481959"/>
                <a:gd name="connsiteY33" fmla="*/ 985749 h 985749"/>
                <a:gd name="connsiteX34" fmla="*/ 0 w 1481959"/>
                <a:gd name="connsiteY34" fmla="*/ 920129 h 985749"/>
                <a:gd name="connsiteX35" fmla="*/ 0 w 1481959"/>
                <a:gd name="connsiteY35" fmla="*/ 89053 h 985749"/>
                <a:gd name="connsiteX0" fmla="*/ 701571 w 1505180"/>
                <a:gd name="connsiteY0" fmla="*/ 282422 h 985749"/>
                <a:gd name="connsiteX1" fmla="*/ 712026 w 1505180"/>
                <a:gd name="connsiteY1" fmla="*/ 282656 h 985749"/>
                <a:gd name="connsiteX2" fmla="*/ 994705 w 1505180"/>
                <a:gd name="connsiteY2" fmla="*/ 282656 h 985749"/>
                <a:gd name="connsiteX3" fmla="*/ 1029288 w 1505180"/>
                <a:gd name="connsiteY3" fmla="*/ 315737 h 985749"/>
                <a:gd name="connsiteX4" fmla="*/ 1029288 w 1505180"/>
                <a:gd name="connsiteY4" fmla="*/ 599920 h 985749"/>
                <a:gd name="connsiteX5" fmla="*/ 1027490 w 1505180"/>
                <a:gd name="connsiteY5" fmla="*/ 618617 h 985749"/>
                <a:gd name="connsiteX6" fmla="*/ 1020066 w 1505180"/>
                <a:gd name="connsiteY6" fmla="*/ 620135 h 985749"/>
                <a:gd name="connsiteX7" fmla="*/ 969698 w 1505180"/>
                <a:gd name="connsiteY7" fmla="*/ 570273 h 985749"/>
                <a:gd name="connsiteX8" fmla="*/ 926289 w 1505180"/>
                <a:gd name="connsiteY8" fmla="*/ 570491 h 985749"/>
                <a:gd name="connsiteX9" fmla="*/ 734946 w 1505180"/>
                <a:gd name="connsiteY9" fmla="*/ 763776 h 985749"/>
                <a:gd name="connsiteX10" fmla="*/ 684960 w 1505180"/>
                <a:gd name="connsiteY10" fmla="*/ 742764 h 985749"/>
                <a:gd name="connsiteX11" fmla="*/ 558657 w 1505180"/>
                <a:gd name="connsiteY11" fmla="*/ 616460 h 985749"/>
                <a:gd name="connsiteX12" fmla="*/ 543931 w 1505180"/>
                <a:gd name="connsiteY12" fmla="*/ 581034 h 985749"/>
                <a:gd name="connsiteX13" fmla="*/ 621205 w 1505180"/>
                <a:gd name="connsiteY13" fmla="*/ 502258 h 985749"/>
                <a:gd name="connsiteX14" fmla="*/ 733076 w 1505180"/>
                <a:gd name="connsiteY14" fmla="*/ 392420 h 985749"/>
                <a:gd name="connsiteX15" fmla="*/ 743786 w 1505180"/>
                <a:gd name="connsiteY15" fmla="*/ 374487 h 985749"/>
                <a:gd name="connsiteX16" fmla="*/ 745243 w 1505180"/>
                <a:gd name="connsiteY16" fmla="*/ 371349 h 985749"/>
                <a:gd name="connsiteX17" fmla="*/ 746942 w 1505180"/>
                <a:gd name="connsiteY17" fmla="*/ 362150 h 985749"/>
                <a:gd name="connsiteX18" fmla="*/ 746483 w 1505180"/>
                <a:gd name="connsiteY18" fmla="*/ 357770 h 985749"/>
                <a:gd name="connsiteX19" fmla="*/ 746332 w 1505180"/>
                <a:gd name="connsiteY19" fmla="*/ 357034 h 985749"/>
                <a:gd name="connsiteX20" fmla="*/ 737950 w 1505180"/>
                <a:gd name="connsiteY20" fmla="*/ 339411 h 985749"/>
                <a:gd name="connsiteX21" fmla="*/ 701308 w 1505180"/>
                <a:gd name="connsiteY21" fmla="*/ 303467 h 985749"/>
                <a:gd name="connsiteX22" fmla="*/ 691319 w 1505180"/>
                <a:gd name="connsiteY22" fmla="*/ 285733 h 985749"/>
                <a:gd name="connsiteX23" fmla="*/ 701571 w 1505180"/>
                <a:gd name="connsiteY23" fmla="*/ 282422 h 985749"/>
                <a:gd name="connsiteX24" fmla="*/ 1425790 w 1505180"/>
                <a:gd name="connsiteY24" fmla="*/ 95606 h 985749"/>
                <a:gd name="connsiteX25" fmla="*/ 95395 w 1505180"/>
                <a:gd name="connsiteY25" fmla="*/ 911169 h 985749"/>
                <a:gd name="connsiteX26" fmla="*/ 1425790 w 1505180"/>
                <a:gd name="connsiteY26" fmla="*/ 911169 h 985749"/>
                <a:gd name="connsiteX27" fmla="*/ 1425790 w 1505180"/>
                <a:gd name="connsiteY27" fmla="*/ 95606 h 985749"/>
                <a:gd name="connsiteX28" fmla="*/ 0 w 1505180"/>
                <a:gd name="connsiteY28" fmla="*/ 89053 h 985749"/>
                <a:gd name="connsiteX29" fmla="*/ 1439560 w 1505180"/>
                <a:gd name="connsiteY29" fmla="*/ 23432 h 985749"/>
                <a:gd name="connsiteX30" fmla="*/ 1505180 w 1505180"/>
                <a:gd name="connsiteY30" fmla="*/ 89053 h 985749"/>
                <a:gd name="connsiteX31" fmla="*/ 1505180 w 1505180"/>
                <a:gd name="connsiteY31" fmla="*/ 920129 h 985749"/>
                <a:gd name="connsiteX32" fmla="*/ 1439560 w 1505180"/>
                <a:gd name="connsiteY32" fmla="*/ 985749 h 985749"/>
                <a:gd name="connsiteX33" fmla="*/ 88841 w 1505180"/>
                <a:gd name="connsiteY33" fmla="*/ 985749 h 985749"/>
                <a:gd name="connsiteX34" fmla="*/ 23221 w 1505180"/>
                <a:gd name="connsiteY34" fmla="*/ 920129 h 985749"/>
                <a:gd name="connsiteX35" fmla="*/ 0 w 1505180"/>
                <a:gd name="connsiteY35" fmla="*/ 89053 h 985749"/>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1402569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0 w 1481959"/>
                <a:gd name="connsiteY28" fmla="*/ 896697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0" fmla="*/ 678350 w 1519998"/>
                <a:gd name="connsiteY0" fmla="*/ 325515 h 1028842"/>
                <a:gd name="connsiteX1" fmla="*/ 688805 w 1519998"/>
                <a:gd name="connsiteY1" fmla="*/ 325749 h 1028842"/>
                <a:gd name="connsiteX2" fmla="*/ 971484 w 1519998"/>
                <a:gd name="connsiteY2" fmla="*/ 325749 h 1028842"/>
                <a:gd name="connsiteX3" fmla="*/ 1006067 w 1519998"/>
                <a:gd name="connsiteY3" fmla="*/ 358830 h 1028842"/>
                <a:gd name="connsiteX4" fmla="*/ 1006067 w 1519998"/>
                <a:gd name="connsiteY4" fmla="*/ 643013 h 1028842"/>
                <a:gd name="connsiteX5" fmla="*/ 1004269 w 1519998"/>
                <a:gd name="connsiteY5" fmla="*/ 661710 h 1028842"/>
                <a:gd name="connsiteX6" fmla="*/ 996845 w 1519998"/>
                <a:gd name="connsiteY6" fmla="*/ 663228 h 1028842"/>
                <a:gd name="connsiteX7" fmla="*/ 946477 w 1519998"/>
                <a:gd name="connsiteY7" fmla="*/ 613366 h 1028842"/>
                <a:gd name="connsiteX8" fmla="*/ 903068 w 1519998"/>
                <a:gd name="connsiteY8" fmla="*/ 613584 h 1028842"/>
                <a:gd name="connsiteX9" fmla="*/ 711725 w 1519998"/>
                <a:gd name="connsiteY9" fmla="*/ 806869 h 1028842"/>
                <a:gd name="connsiteX10" fmla="*/ 661739 w 1519998"/>
                <a:gd name="connsiteY10" fmla="*/ 785857 h 1028842"/>
                <a:gd name="connsiteX11" fmla="*/ 535436 w 1519998"/>
                <a:gd name="connsiteY11" fmla="*/ 659553 h 1028842"/>
                <a:gd name="connsiteX12" fmla="*/ 520710 w 1519998"/>
                <a:gd name="connsiteY12" fmla="*/ 624127 h 1028842"/>
                <a:gd name="connsiteX13" fmla="*/ 597984 w 1519998"/>
                <a:gd name="connsiteY13" fmla="*/ 545351 h 1028842"/>
                <a:gd name="connsiteX14" fmla="*/ 709855 w 1519998"/>
                <a:gd name="connsiteY14" fmla="*/ 435513 h 1028842"/>
                <a:gd name="connsiteX15" fmla="*/ 720565 w 1519998"/>
                <a:gd name="connsiteY15" fmla="*/ 417580 h 1028842"/>
                <a:gd name="connsiteX16" fmla="*/ 722022 w 1519998"/>
                <a:gd name="connsiteY16" fmla="*/ 414442 h 1028842"/>
                <a:gd name="connsiteX17" fmla="*/ 723721 w 1519998"/>
                <a:gd name="connsiteY17" fmla="*/ 405243 h 1028842"/>
                <a:gd name="connsiteX18" fmla="*/ 723262 w 1519998"/>
                <a:gd name="connsiteY18" fmla="*/ 400863 h 1028842"/>
                <a:gd name="connsiteX19" fmla="*/ 723111 w 1519998"/>
                <a:gd name="connsiteY19" fmla="*/ 400127 h 1028842"/>
                <a:gd name="connsiteX20" fmla="*/ 714729 w 1519998"/>
                <a:gd name="connsiteY20" fmla="*/ 382504 h 1028842"/>
                <a:gd name="connsiteX21" fmla="*/ 678087 w 1519998"/>
                <a:gd name="connsiteY21" fmla="*/ 346560 h 1028842"/>
                <a:gd name="connsiteX22" fmla="*/ 668098 w 1519998"/>
                <a:gd name="connsiteY22" fmla="*/ 328826 h 1028842"/>
                <a:gd name="connsiteX23" fmla="*/ 678350 w 1519998"/>
                <a:gd name="connsiteY23" fmla="*/ 325515 h 1028842"/>
                <a:gd name="connsiteX24" fmla="*/ 1402569 w 1519998"/>
                <a:gd name="connsiteY24" fmla="*/ 138699 h 1028842"/>
                <a:gd name="connsiteX25" fmla="*/ 72174 w 1519998"/>
                <a:gd name="connsiteY25" fmla="*/ 954262 h 1028842"/>
                <a:gd name="connsiteX26" fmla="*/ 1402569 w 1519998"/>
                <a:gd name="connsiteY26" fmla="*/ 954262 h 1028842"/>
                <a:gd name="connsiteX27" fmla="*/ 1402569 w 1519998"/>
                <a:gd name="connsiteY27" fmla="*/ 138699 h 1028842"/>
                <a:gd name="connsiteX28" fmla="*/ 0 w 1519998"/>
                <a:gd name="connsiteY28" fmla="*/ 963222 h 1028842"/>
                <a:gd name="connsiteX29" fmla="*/ 1416339 w 1519998"/>
                <a:gd name="connsiteY29" fmla="*/ 66525 h 1028842"/>
                <a:gd name="connsiteX30" fmla="*/ 1419830 w 1519998"/>
                <a:gd name="connsiteY30" fmla="*/ 73512 h 1028842"/>
                <a:gd name="connsiteX31" fmla="*/ 1481959 w 1519998"/>
                <a:gd name="connsiteY31" fmla="*/ 132146 h 1028842"/>
                <a:gd name="connsiteX32" fmla="*/ 1481959 w 1519998"/>
                <a:gd name="connsiteY32" fmla="*/ 963222 h 1028842"/>
                <a:gd name="connsiteX33" fmla="*/ 1416339 w 1519998"/>
                <a:gd name="connsiteY33" fmla="*/ 1028842 h 1028842"/>
                <a:gd name="connsiteX34" fmla="*/ 65620 w 1519998"/>
                <a:gd name="connsiteY34" fmla="*/ 1028842 h 1028842"/>
                <a:gd name="connsiteX35" fmla="*/ 0 w 1519998"/>
                <a:gd name="connsiteY35" fmla="*/ 963222 h 1028842"/>
                <a:gd name="connsiteX0" fmla="*/ 678350 w 1520000"/>
                <a:gd name="connsiteY0" fmla="*/ 367198 h 1070525"/>
                <a:gd name="connsiteX1" fmla="*/ 688805 w 1520000"/>
                <a:gd name="connsiteY1" fmla="*/ 367432 h 1070525"/>
                <a:gd name="connsiteX2" fmla="*/ 971484 w 1520000"/>
                <a:gd name="connsiteY2" fmla="*/ 367432 h 1070525"/>
                <a:gd name="connsiteX3" fmla="*/ 1006067 w 1520000"/>
                <a:gd name="connsiteY3" fmla="*/ 400513 h 1070525"/>
                <a:gd name="connsiteX4" fmla="*/ 1006067 w 1520000"/>
                <a:gd name="connsiteY4" fmla="*/ 684696 h 1070525"/>
                <a:gd name="connsiteX5" fmla="*/ 1004269 w 1520000"/>
                <a:gd name="connsiteY5" fmla="*/ 703393 h 1070525"/>
                <a:gd name="connsiteX6" fmla="*/ 996845 w 1520000"/>
                <a:gd name="connsiteY6" fmla="*/ 704911 h 1070525"/>
                <a:gd name="connsiteX7" fmla="*/ 946477 w 1520000"/>
                <a:gd name="connsiteY7" fmla="*/ 655049 h 1070525"/>
                <a:gd name="connsiteX8" fmla="*/ 903068 w 1520000"/>
                <a:gd name="connsiteY8" fmla="*/ 655267 h 1070525"/>
                <a:gd name="connsiteX9" fmla="*/ 711725 w 1520000"/>
                <a:gd name="connsiteY9" fmla="*/ 848552 h 1070525"/>
                <a:gd name="connsiteX10" fmla="*/ 661739 w 1520000"/>
                <a:gd name="connsiteY10" fmla="*/ 827540 h 1070525"/>
                <a:gd name="connsiteX11" fmla="*/ 535436 w 1520000"/>
                <a:gd name="connsiteY11" fmla="*/ 701236 h 1070525"/>
                <a:gd name="connsiteX12" fmla="*/ 520710 w 1520000"/>
                <a:gd name="connsiteY12" fmla="*/ 665810 h 1070525"/>
                <a:gd name="connsiteX13" fmla="*/ 597984 w 1520000"/>
                <a:gd name="connsiteY13" fmla="*/ 587034 h 1070525"/>
                <a:gd name="connsiteX14" fmla="*/ 709855 w 1520000"/>
                <a:gd name="connsiteY14" fmla="*/ 477196 h 1070525"/>
                <a:gd name="connsiteX15" fmla="*/ 720565 w 1520000"/>
                <a:gd name="connsiteY15" fmla="*/ 459263 h 1070525"/>
                <a:gd name="connsiteX16" fmla="*/ 722022 w 1520000"/>
                <a:gd name="connsiteY16" fmla="*/ 456125 h 1070525"/>
                <a:gd name="connsiteX17" fmla="*/ 723721 w 1520000"/>
                <a:gd name="connsiteY17" fmla="*/ 446926 h 1070525"/>
                <a:gd name="connsiteX18" fmla="*/ 723262 w 1520000"/>
                <a:gd name="connsiteY18" fmla="*/ 442546 h 1070525"/>
                <a:gd name="connsiteX19" fmla="*/ 723111 w 1520000"/>
                <a:gd name="connsiteY19" fmla="*/ 441810 h 1070525"/>
                <a:gd name="connsiteX20" fmla="*/ 714729 w 1520000"/>
                <a:gd name="connsiteY20" fmla="*/ 424187 h 1070525"/>
                <a:gd name="connsiteX21" fmla="*/ 678087 w 1520000"/>
                <a:gd name="connsiteY21" fmla="*/ 388243 h 1070525"/>
                <a:gd name="connsiteX22" fmla="*/ 668098 w 1520000"/>
                <a:gd name="connsiteY22" fmla="*/ 370509 h 1070525"/>
                <a:gd name="connsiteX23" fmla="*/ 678350 w 1520000"/>
                <a:gd name="connsiteY23" fmla="*/ 367198 h 1070525"/>
                <a:gd name="connsiteX24" fmla="*/ 1402569 w 1520000"/>
                <a:gd name="connsiteY24" fmla="*/ 180382 h 1070525"/>
                <a:gd name="connsiteX25" fmla="*/ 72174 w 1520000"/>
                <a:gd name="connsiteY25" fmla="*/ 995945 h 1070525"/>
                <a:gd name="connsiteX26" fmla="*/ 1402569 w 1520000"/>
                <a:gd name="connsiteY26" fmla="*/ 995945 h 1070525"/>
                <a:gd name="connsiteX27" fmla="*/ 1402569 w 1520000"/>
                <a:gd name="connsiteY27" fmla="*/ 180382 h 1070525"/>
                <a:gd name="connsiteX28" fmla="*/ 0 w 1520000"/>
                <a:gd name="connsiteY28" fmla="*/ 1004905 h 1070525"/>
                <a:gd name="connsiteX29" fmla="*/ 1416339 w 1520000"/>
                <a:gd name="connsiteY29" fmla="*/ 108208 h 1070525"/>
                <a:gd name="connsiteX30" fmla="*/ 1419830 w 1520000"/>
                <a:gd name="connsiteY30" fmla="*/ 115195 h 1070525"/>
                <a:gd name="connsiteX31" fmla="*/ 1481959 w 1520000"/>
                <a:gd name="connsiteY31" fmla="*/ 1004905 h 1070525"/>
                <a:gd name="connsiteX32" fmla="*/ 1416339 w 1520000"/>
                <a:gd name="connsiteY32" fmla="*/ 1070525 h 1070525"/>
                <a:gd name="connsiteX33" fmla="*/ 65620 w 1520000"/>
                <a:gd name="connsiteY33" fmla="*/ 1070525 h 1070525"/>
                <a:gd name="connsiteX34" fmla="*/ 0 w 1520000"/>
                <a:gd name="connsiteY34" fmla="*/ 1004905 h 1070525"/>
                <a:gd name="connsiteX0" fmla="*/ 678350 w 1546152"/>
                <a:gd name="connsiteY0" fmla="*/ 258990 h 962317"/>
                <a:gd name="connsiteX1" fmla="*/ 688805 w 1546152"/>
                <a:gd name="connsiteY1" fmla="*/ 259224 h 962317"/>
                <a:gd name="connsiteX2" fmla="*/ 971484 w 1546152"/>
                <a:gd name="connsiteY2" fmla="*/ 259224 h 962317"/>
                <a:gd name="connsiteX3" fmla="*/ 1006067 w 1546152"/>
                <a:gd name="connsiteY3" fmla="*/ 292305 h 962317"/>
                <a:gd name="connsiteX4" fmla="*/ 1006067 w 1546152"/>
                <a:gd name="connsiteY4" fmla="*/ 576488 h 962317"/>
                <a:gd name="connsiteX5" fmla="*/ 1004269 w 1546152"/>
                <a:gd name="connsiteY5" fmla="*/ 595185 h 962317"/>
                <a:gd name="connsiteX6" fmla="*/ 996845 w 1546152"/>
                <a:gd name="connsiteY6" fmla="*/ 596703 h 962317"/>
                <a:gd name="connsiteX7" fmla="*/ 946477 w 1546152"/>
                <a:gd name="connsiteY7" fmla="*/ 546841 h 962317"/>
                <a:gd name="connsiteX8" fmla="*/ 903068 w 1546152"/>
                <a:gd name="connsiteY8" fmla="*/ 547059 h 962317"/>
                <a:gd name="connsiteX9" fmla="*/ 711725 w 1546152"/>
                <a:gd name="connsiteY9" fmla="*/ 740344 h 962317"/>
                <a:gd name="connsiteX10" fmla="*/ 661739 w 1546152"/>
                <a:gd name="connsiteY10" fmla="*/ 719332 h 962317"/>
                <a:gd name="connsiteX11" fmla="*/ 535436 w 1546152"/>
                <a:gd name="connsiteY11" fmla="*/ 593028 h 962317"/>
                <a:gd name="connsiteX12" fmla="*/ 520710 w 1546152"/>
                <a:gd name="connsiteY12" fmla="*/ 557602 h 962317"/>
                <a:gd name="connsiteX13" fmla="*/ 597984 w 1546152"/>
                <a:gd name="connsiteY13" fmla="*/ 478826 h 962317"/>
                <a:gd name="connsiteX14" fmla="*/ 709855 w 1546152"/>
                <a:gd name="connsiteY14" fmla="*/ 368988 h 962317"/>
                <a:gd name="connsiteX15" fmla="*/ 720565 w 1546152"/>
                <a:gd name="connsiteY15" fmla="*/ 351055 h 962317"/>
                <a:gd name="connsiteX16" fmla="*/ 722022 w 1546152"/>
                <a:gd name="connsiteY16" fmla="*/ 347917 h 962317"/>
                <a:gd name="connsiteX17" fmla="*/ 723721 w 1546152"/>
                <a:gd name="connsiteY17" fmla="*/ 338718 h 962317"/>
                <a:gd name="connsiteX18" fmla="*/ 723262 w 1546152"/>
                <a:gd name="connsiteY18" fmla="*/ 334338 h 962317"/>
                <a:gd name="connsiteX19" fmla="*/ 723111 w 1546152"/>
                <a:gd name="connsiteY19" fmla="*/ 333602 h 962317"/>
                <a:gd name="connsiteX20" fmla="*/ 714729 w 1546152"/>
                <a:gd name="connsiteY20" fmla="*/ 315979 h 962317"/>
                <a:gd name="connsiteX21" fmla="*/ 678087 w 1546152"/>
                <a:gd name="connsiteY21" fmla="*/ 280035 h 962317"/>
                <a:gd name="connsiteX22" fmla="*/ 668098 w 1546152"/>
                <a:gd name="connsiteY22" fmla="*/ 262301 h 962317"/>
                <a:gd name="connsiteX23" fmla="*/ 678350 w 1546152"/>
                <a:gd name="connsiteY23" fmla="*/ 258990 h 962317"/>
                <a:gd name="connsiteX24" fmla="*/ 1402569 w 1546152"/>
                <a:gd name="connsiteY24" fmla="*/ 72174 h 962317"/>
                <a:gd name="connsiteX25" fmla="*/ 72174 w 1546152"/>
                <a:gd name="connsiteY25" fmla="*/ 887737 h 962317"/>
                <a:gd name="connsiteX26" fmla="*/ 1402569 w 1546152"/>
                <a:gd name="connsiteY26" fmla="*/ 887737 h 962317"/>
                <a:gd name="connsiteX27" fmla="*/ 1402569 w 1546152"/>
                <a:gd name="connsiteY27" fmla="*/ 72174 h 962317"/>
                <a:gd name="connsiteX28" fmla="*/ 0 w 1546152"/>
                <a:gd name="connsiteY28" fmla="*/ 896697 h 962317"/>
                <a:gd name="connsiteX29" fmla="*/ 1416339 w 1546152"/>
                <a:gd name="connsiteY29" fmla="*/ 0 h 962317"/>
                <a:gd name="connsiteX30" fmla="*/ 1481959 w 1546152"/>
                <a:gd name="connsiteY30" fmla="*/ 896697 h 962317"/>
                <a:gd name="connsiteX31" fmla="*/ 1416339 w 1546152"/>
                <a:gd name="connsiteY31" fmla="*/ 962317 h 962317"/>
                <a:gd name="connsiteX32" fmla="*/ 65620 w 1546152"/>
                <a:gd name="connsiteY32" fmla="*/ 962317 h 962317"/>
                <a:gd name="connsiteX33" fmla="*/ 0 w 1546152"/>
                <a:gd name="connsiteY33" fmla="*/ 896697 h 962317"/>
                <a:gd name="connsiteX0" fmla="*/ 678350 w 1481959"/>
                <a:gd name="connsiteY0" fmla="*/ 186815 h 890142"/>
                <a:gd name="connsiteX1" fmla="*/ 688805 w 1481959"/>
                <a:gd name="connsiteY1" fmla="*/ 187049 h 890142"/>
                <a:gd name="connsiteX2" fmla="*/ 971484 w 1481959"/>
                <a:gd name="connsiteY2" fmla="*/ 187049 h 890142"/>
                <a:gd name="connsiteX3" fmla="*/ 1006067 w 1481959"/>
                <a:gd name="connsiteY3" fmla="*/ 220130 h 890142"/>
                <a:gd name="connsiteX4" fmla="*/ 1006067 w 1481959"/>
                <a:gd name="connsiteY4" fmla="*/ 504313 h 890142"/>
                <a:gd name="connsiteX5" fmla="*/ 1004269 w 1481959"/>
                <a:gd name="connsiteY5" fmla="*/ 523010 h 890142"/>
                <a:gd name="connsiteX6" fmla="*/ 996845 w 1481959"/>
                <a:gd name="connsiteY6" fmla="*/ 524528 h 890142"/>
                <a:gd name="connsiteX7" fmla="*/ 946477 w 1481959"/>
                <a:gd name="connsiteY7" fmla="*/ 474666 h 890142"/>
                <a:gd name="connsiteX8" fmla="*/ 903068 w 1481959"/>
                <a:gd name="connsiteY8" fmla="*/ 474884 h 890142"/>
                <a:gd name="connsiteX9" fmla="*/ 711725 w 1481959"/>
                <a:gd name="connsiteY9" fmla="*/ 668169 h 890142"/>
                <a:gd name="connsiteX10" fmla="*/ 661739 w 1481959"/>
                <a:gd name="connsiteY10" fmla="*/ 647157 h 890142"/>
                <a:gd name="connsiteX11" fmla="*/ 535436 w 1481959"/>
                <a:gd name="connsiteY11" fmla="*/ 520853 h 890142"/>
                <a:gd name="connsiteX12" fmla="*/ 520710 w 1481959"/>
                <a:gd name="connsiteY12" fmla="*/ 485427 h 890142"/>
                <a:gd name="connsiteX13" fmla="*/ 597984 w 1481959"/>
                <a:gd name="connsiteY13" fmla="*/ 406651 h 890142"/>
                <a:gd name="connsiteX14" fmla="*/ 709855 w 1481959"/>
                <a:gd name="connsiteY14" fmla="*/ 296813 h 890142"/>
                <a:gd name="connsiteX15" fmla="*/ 720565 w 1481959"/>
                <a:gd name="connsiteY15" fmla="*/ 278880 h 890142"/>
                <a:gd name="connsiteX16" fmla="*/ 722022 w 1481959"/>
                <a:gd name="connsiteY16" fmla="*/ 275742 h 890142"/>
                <a:gd name="connsiteX17" fmla="*/ 723721 w 1481959"/>
                <a:gd name="connsiteY17" fmla="*/ 266543 h 890142"/>
                <a:gd name="connsiteX18" fmla="*/ 723262 w 1481959"/>
                <a:gd name="connsiteY18" fmla="*/ 262163 h 890142"/>
                <a:gd name="connsiteX19" fmla="*/ 723111 w 1481959"/>
                <a:gd name="connsiteY19" fmla="*/ 261427 h 890142"/>
                <a:gd name="connsiteX20" fmla="*/ 714729 w 1481959"/>
                <a:gd name="connsiteY20" fmla="*/ 243804 h 890142"/>
                <a:gd name="connsiteX21" fmla="*/ 678087 w 1481959"/>
                <a:gd name="connsiteY21" fmla="*/ 207860 h 890142"/>
                <a:gd name="connsiteX22" fmla="*/ 668098 w 1481959"/>
                <a:gd name="connsiteY22" fmla="*/ 190126 h 890142"/>
                <a:gd name="connsiteX23" fmla="*/ 678350 w 1481959"/>
                <a:gd name="connsiteY23" fmla="*/ 186815 h 890142"/>
                <a:gd name="connsiteX24" fmla="*/ 1402569 w 1481959"/>
                <a:gd name="connsiteY24" fmla="*/ -1 h 890142"/>
                <a:gd name="connsiteX25" fmla="*/ 72174 w 1481959"/>
                <a:gd name="connsiteY25" fmla="*/ 815562 h 890142"/>
                <a:gd name="connsiteX26" fmla="*/ 1402569 w 1481959"/>
                <a:gd name="connsiteY26" fmla="*/ 815562 h 890142"/>
                <a:gd name="connsiteX27" fmla="*/ 1402569 w 1481959"/>
                <a:gd name="connsiteY27" fmla="*/ -1 h 890142"/>
                <a:gd name="connsiteX28" fmla="*/ 0 w 1481959"/>
                <a:gd name="connsiteY28" fmla="*/ 824522 h 890142"/>
                <a:gd name="connsiteX29" fmla="*/ 1481959 w 1481959"/>
                <a:gd name="connsiteY29" fmla="*/ 824522 h 890142"/>
                <a:gd name="connsiteX30" fmla="*/ 1416339 w 1481959"/>
                <a:gd name="connsiteY30" fmla="*/ 890142 h 890142"/>
                <a:gd name="connsiteX31" fmla="*/ 65620 w 1481959"/>
                <a:gd name="connsiteY31" fmla="*/ 890142 h 890142"/>
                <a:gd name="connsiteX32" fmla="*/ 0 w 1481959"/>
                <a:gd name="connsiteY32" fmla="*/ 824522 h 890142"/>
                <a:gd name="connsiteX0" fmla="*/ 678350 w 1481959"/>
                <a:gd name="connsiteY0" fmla="*/ 55 h 703382"/>
                <a:gd name="connsiteX1" fmla="*/ 688805 w 1481959"/>
                <a:gd name="connsiteY1" fmla="*/ 289 h 703382"/>
                <a:gd name="connsiteX2" fmla="*/ 971484 w 1481959"/>
                <a:gd name="connsiteY2" fmla="*/ 289 h 703382"/>
                <a:gd name="connsiteX3" fmla="*/ 1006067 w 1481959"/>
                <a:gd name="connsiteY3" fmla="*/ 33370 h 703382"/>
                <a:gd name="connsiteX4" fmla="*/ 1006067 w 1481959"/>
                <a:gd name="connsiteY4" fmla="*/ 317553 h 703382"/>
                <a:gd name="connsiteX5" fmla="*/ 1004269 w 1481959"/>
                <a:gd name="connsiteY5" fmla="*/ 336250 h 703382"/>
                <a:gd name="connsiteX6" fmla="*/ 996845 w 1481959"/>
                <a:gd name="connsiteY6" fmla="*/ 337768 h 703382"/>
                <a:gd name="connsiteX7" fmla="*/ 946477 w 1481959"/>
                <a:gd name="connsiteY7" fmla="*/ 287906 h 703382"/>
                <a:gd name="connsiteX8" fmla="*/ 903068 w 1481959"/>
                <a:gd name="connsiteY8" fmla="*/ 288124 h 703382"/>
                <a:gd name="connsiteX9" fmla="*/ 711725 w 1481959"/>
                <a:gd name="connsiteY9" fmla="*/ 481409 h 703382"/>
                <a:gd name="connsiteX10" fmla="*/ 661739 w 1481959"/>
                <a:gd name="connsiteY10" fmla="*/ 460397 h 703382"/>
                <a:gd name="connsiteX11" fmla="*/ 535436 w 1481959"/>
                <a:gd name="connsiteY11" fmla="*/ 334093 h 703382"/>
                <a:gd name="connsiteX12" fmla="*/ 520710 w 1481959"/>
                <a:gd name="connsiteY12" fmla="*/ 298667 h 703382"/>
                <a:gd name="connsiteX13" fmla="*/ 597984 w 1481959"/>
                <a:gd name="connsiteY13" fmla="*/ 219891 h 703382"/>
                <a:gd name="connsiteX14" fmla="*/ 709855 w 1481959"/>
                <a:gd name="connsiteY14" fmla="*/ 110053 h 703382"/>
                <a:gd name="connsiteX15" fmla="*/ 720565 w 1481959"/>
                <a:gd name="connsiteY15" fmla="*/ 92120 h 703382"/>
                <a:gd name="connsiteX16" fmla="*/ 722022 w 1481959"/>
                <a:gd name="connsiteY16" fmla="*/ 88982 h 703382"/>
                <a:gd name="connsiteX17" fmla="*/ 723721 w 1481959"/>
                <a:gd name="connsiteY17" fmla="*/ 79783 h 703382"/>
                <a:gd name="connsiteX18" fmla="*/ 723262 w 1481959"/>
                <a:gd name="connsiteY18" fmla="*/ 75403 h 703382"/>
                <a:gd name="connsiteX19" fmla="*/ 723111 w 1481959"/>
                <a:gd name="connsiteY19" fmla="*/ 74667 h 703382"/>
                <a:gd name="connsiteX20" fmla="*/ 714729 w 1481959"/>
                <a:gd name="connsiteY20" fmla="*/ 57044 h 703382"/>
                <a:gd name="connsiteX21" fmla="*/ 678087 w 1481959"/>
                <a:gd name="connsiteY21" fmla="*/ 21100 h 703382"/>
                <a:gd name="connsiteX22" fmla="*/ 668098 w 1481959"/>
                <a:gd name="connsiteY22" fmla="*/ 3366 h 703382"/>
                <a:gd name="connsiteX23" fmla="*/ 678350 w 1481959"/>
                <a:gd name="connsiteY23" fmla="*/ 55 h 703382"/>
                <a:gd name="connsiteX24" fmla="*/ 1402569 w 1481959"/>
                <a:gd name="connsiteY24" fmla="*/ 628802 h 703382"/>
                <a:gd name="connsiteX25" fmla="*/ 72174 w 1481959"/>
                <a:gd name="connsiteY25" fmla="*/ 628802 h 703382"/>
                <a:gd name="connsiteX26" fmla="*/ 1402569 w 1481959"/>
                <a:gd name="connsiteY26" fmla="*/ 628802 h 703382"/>
                <a:gd name="connsiteX27" fmla="*/ 0 w 1481959"/>
                <a:gd name="connsiteY27" fmla="*/ 637762 h 703382"/>
                <a:gd name="connsiteX28" fmla="*/ 1481959 w 1481959"/>
                <a:gd name="connsiteY28" fmla="*/ 637762 h 703382"/>
                <a:gd name="connsiteX29" fmla="*/ 1416339 w 1481959"/>
                <a:gd name="connsiteY29" fmla="*/ 703382 h 703382"/>
                <a:gd name="connsiteX30" fmla="*/ 65620 w 1481959"/>
                <a:gd name="connsiteY30" fmla="*/ 703382 h 703382"/>
                <a:gd name="connsiteX31" fmla="*/ 0 w 1481959"/>
                <a:gd name="connsiteY31" fmla="*/ 637762 h 703382"/>
                <a:gd name="connsiteX0" fmla="*/ 678350 w 1481959"/>
                <a:gd name="connsiteY0" fmla="*/ 55 h 703382"/>
                <a:gd name="connsiteX1" fmla="*/ 688805 w 1481959"/>
                <a:gd name="connsiteY1" fmla="*/ 289 h 703382"/>
                <a:gd name="connsiteX2" fmla="*/ 971484 w 1481959"/>
                <a:gd name="connsiteY2" fmla="*/ 289 h 703382"/>
                <a:gd name="connsiteX3" fmla="*/ 1006067 w 1481959"/>
                <a:gd name="connsiteY3" fmla="*/ 33370 h 703382"/>
                <a:gd name="connsiteX4" fmla="*/ 1006067 w 1481959"/>
                <a:gd name="connsiteY4" fmla="*/ 317553 h 703382"/>
                <a:gd name="connsiteX5" fmla="*/ 1004269 w 1481959"/>
                <a:gd name="connsiteY5" fmla="*/ 336250 h 703382"/>
                <a:gd name="connsiteX6" fmla="*/ 996845 w 1481959"/>
                <a:gd name="connsiteY6" fmla="*/ 337768 h 703382"/>
                <a:gd name="connsiteX7" fmla="*/ 946477 w 1481959"/>
                <a:gd name="connsiteY7" fmla="*/ 287906 h 703382"/>
                <a:gd name="connsiteX8" fmla="*/ 903068 w 1481959"/>
                <a:gd name="connsiteY8" fmla="*/ 288124 h 703382"/>
                <a:gd name="connsiteX9" fmla="*/ 711725 w 1481959"/>
                <a:gd name="connsiteY9" fmla="*/ 481409 h 703382"/>
                <a:gd name="connsiteX10" fmla="*/ 661739 w 1481959"/>
                <a:gd name="connsiteY10" fmla="*/ 460397 h 703382"/>
                <a:gd name="connsiteX11" fmla="*/ 535436 w 1481959"/>
                <a:gd name="connsiteY11" fmla="*/ 334093 h 703382"/>
                <a:gd name="connsiteX12" fmla="*/ 520710 w 1481959"/>
                <a:gd name="connsiteY12" fmla="*/ 298667 h 703382"/>
                <a:gd name="connsiteX13" fmla="*/ 597984 w 1481959"/>
                <a:gd name="connsiteY13" fmla="*/ 219891 h 703382"/>
                <a:gd name="connsiteX14" fmla="*/ 709855 w 1481959"/>
                <a:gd name="connsiteY14" fmla="*/ 110053 h 703382"/>
                <a:gd name="connsiteX15" fmla="*/ 720565 w 1481959"/>
                <a:gd name="connsiteY15" fmla="*/ 92120 h 703382"/>
                <a:gd name="connsiteX16" fmla="*/ 722022 w 1481959"/>
                <a:gd name="connsiteY16" fmla="*/ 88982 h 703382"/>
                <a:gd name="connsiteX17" fmla="*/ 723721 w 1481959"/>
                <a:gd name="connsiteY17" fmla="*/ 79783 h 703382"/>
                <a:gd name="connsiteX18" fmla="*/ 723262 w 1481959"/>
                <a:gd name="connsiteY18" fmla="*/ 75403 h 703382"/>
                <a:gd name="connsiteX19" fmla="*/ 723111 w 1481959"/>
                <a:gd name="connsiteY19" fmla="*/ 74667 h 703382"/>
                <a:gd name="connsiteX20" fmla="*/ 714729 w 1481959"/>
                <a:gd name="connsiteY20" fmla="*/ 57044 h 703382"/>
                <a:gd name="connsiteX21" fmla="*/ 678087 w 1481959"/>
                <a:gd name="connsiteY21" fmla="*/ 21100 h 703382"/>
                <a:gd name="connsiteX22" fmla="*/ 668098 w 1481959"/>
                <a:gd name="connsiteY22" fmla="*/ 3366 h 703382"/>
                <a:gd name="connsiteX23" fmla="*/ 678350 w 1481959"/>
                <a:gd name="connsiteY23" fmla="*/ 55 h 703382"/>
                <a:gd name="connsiteX24" fmla="*/ 0 w 1481959"/>
                <a:gd name="connsiteY24" fmla="*/ 637762 h 703382"/>
                <a:gd name="connsiteX25" fmla="*/ 1481959 w 1481959"/>
                <a:gd name="connsiteY25" fmla="*/ 637762 h 703382"/>
                <a:gd name="connsiteX26" fmla="*/ 1416339 w 1481959"/>
                <a:gd name="connsiteY26" fmla="*/ 703382 h 703382"/>
                <a:gd name="connsiteX27" fmla="*/ 65620 w 1481959"/>
                <a:gd name="connsiteY27" fmla="*/ 703382 h 703382"/>
                <a:gd name="connsiteX28" fmla="*/ 0 w 1481959"/>
                <a:gd name="connsiteY28" fmla="*/ 637762 h 703382"/>
                <a:gd name="connsiteX0" fmla="*/ 678350 w 1481959"/>
                <a:gd name="connsiteY0" fmla="*/ 55 h 703382"/>
                <a:gd name="connsiteX1" fmla="*/ 688805 w 1481959"/>
                <a:gd name="connsiteY1" fmla="*/ 289 h 703382"/>
                <a:gd name="connsiteX2" fmla="*/ 971484 w 1481959"/>
                <a:gd name="connsiteY2" fmla="*/ 289 h 703382"/>
                <a:gd name="connsiteX3" fmla="*/ 1006067 w 1481959"/>
                <a:gd name="connsiteY3" fmla="*/ 33370 h 703382"/>
                <a:gd name="connsiteX4" fmla="*/ 1006067 w 1481959"/>
                <a:gd name="connsiteY4" fmla="*/ 317553 h 703382"/>
                <a:gd name="connsiteX5" fmla="*/ 1004269 w 1481959"/>
                <a:gd name="connsiteY5" fmla="*/ 336250 h 703382"/>
                <a:gd name="connsiteX6" fmla="*/ 996845 w 1481959"/>
                <a:gd name="connsiteY6" fmla="*/ 337768 h 703382"/>
                <a:gd name="connsiteX7" fmla="*/ 946477 w 1481959"/>
                <a:gd name="connsiteY7" fmla="*/ 287906 h 703382"/>
                <a:gd name="connsiteX8" fmla="*/ 903068 w 1481959"/>
                <a:gd name="connsiteY8" fmla="*/ 288124 h 703382"/>
                <a:gd name="connsiteX9" fmla="*/ 711725 w 1481959"/>
                <a:gd name="connsiteY9" fmla="*/ 481409 h 703382"/>
                <a:gd name="connsiteX10" fmla="*/ 661739 w 1481959"/>
                <a:gd name="connsiteY10" fmla="*/ 460397 h 703382"/>
                <a:gd name="connsiteX11" fmla="*/ 535436 w 1481959"/>
                <a:gd name="connsiteY11" fmla="*/ 334093 h 703382"/>
                <a:gd name="connsiteX12" fmla="*/ 520710 w 1481959"/>
                <a:gd name="connsiteY12" fmla="*/ 298667 h 703382"/>
                <a:gd name="connsiteX13" fmla="*/ 597984 w 1481959"/>
                <a:gd name="connsiteY13" fmla="*/ 219891 h 703382"/>
                <a:gd name="connsiteX14" fmla="*/ 709855 w 1481959"/>
                <a:gd name="connsiteY14" fmla="*/ 110053 h 703382"/>
                <a:gd name="connsiteX15" fmla="*/ 720565 w 1481959"/>
                <a:gd name="connsiteY15" fmla="*/ 92120 h 703382"/>
                <a:gd name="connsiteX16" fmla="*/ 722022 w 1481959"/>
                <a:gd name="connsiteY16" fmla="*/ 88982 h 703382"/>
                <a:gd name="connsiteX17" fmla="*/ 723721 w 1481959"/>
                <a:gd name="connsiteY17" fmla="*/ 79783 h 703382"/>
                <a:gd name="connsiteX18" fmla="*/ 723262 w 1481959"/>
                <a:gd name="connsiteY18" fmla="*/ 75403 h 703382"/>
                <a:gd name="connsiteX19" fmla="*/ 723111 w 1481959"/>
                <a:gd name="connsiteY19" fmla="*/ 74667 h 703382"/>
                <a:gd name="connsiteX20" fmla="*/ 714729 w 1481959"/>
                <a:gd name="connsiteY20" fmla="*/ 57044 h 703382"/>
                <a:gd name="connsiteX21" fmla="*/ 678087 w 1481959"/>
                <a:gd name="connsiteY21" fmla="*/ 21100 h 703382"/>
                <a:gd name="connsiteX22" fmla="*/ 668098 w 1481959"/>
                <a:gd name="connsiteY22" fmla="*/ 3366 h 703382"/>
                <a:gd name="connsiteX23" fmla="*/ 678350 w 1481959"/>
                <a:gd name="connsiteY23" fmla="*/ 55 h 703382"/>
                <a:gd name="connsiteX24" fmla="*/ 0 w 1481959"/>
                <a:gd name="connsiteY24" fmla="*/ 637762 h 703382"/>
                <a:gd name="connsiteX25" fmla="*/ 1481959 w 1481959"/>
                <a:gd name="connsiteY25" fmla="*/ 637762 h 703382"/>
                <a:gd name="connsiteX26" fmla="*/ 1416339 w 1481959"/>
                <a:gd name="connsiteY26" fmla="*/ 703382 h 703382"/>
                <a:gd name="connsiteX27" fmla="*/ 0 w 1481959"/>
                <a:gd name="connsiteY27" fmla="*/ 637762 h 703382"/>
                <a:gd name="connsiteX0" fmla="*/ 158632 w 962241"/>
                <a:gd name="connsiteY0" fmla="*/ 55 h 703382"/>
                <a:gd name="connsiteX1" fmla="*/ 169087 w 962241"/>
                <a:gd name="connsiteY1" fmla="*/ 289 h 703382"/>
                <a:gd name="connsiteX2" fmla="*/ 451766 w 962241"/>
                <a:gd name="connsiteY2" fmla="*/ 289 h 703382"/>
                <a:gd name="connsiteX3" fmla="*/ 486349 w 962241"/>
                <a:gd name="connsiteY3" fmla="*/ 33370 h 703382"/>
                <a:gd name="connsiteX4" fmla="*/ 486349 w 962241"/>
                <a:gd name="connsiteY4" fmla="*/ 317553 h 703382"/>
                <a:gd name="connsiteX5" fmla="*/ 484551 w 962241"/>
                <a:gd name="connsiteY5" fmla="*/ 336250 h 703382"/>
                <a:gd name="connsiteX6" fmla="*/ 477127 w 962241"/>
                <a:gd name="connsiteY6" fmla="*/ 337768 h 703382"/>
                <a:gd name="connsiteX7" fmla="*/ 426759 w 962241"/>
                <a:gd name="connsiteY7" fmla="*/ 287906 h 703382"/>
                <a:gd name="connsiteX8" fmla="*/ 383350 w 962241"/>
                <a:gd name="connsiteY8" fmla="*/ 288124 h 703382"/>
                <a:gd name="connsiteX9" fmla="*/ 192007 w 962241"/>
                <a:gd name="connsiteY9" fmla="*/ 481409 h 703382"/>
                <a:gd name="connsiteX10" fmla="*/ 142021 w 962241"/>
                <a:gd name="connsiteY10" fmla="*/ 460397 h 703382"/>
                <a:gd name="connsiteX11" fmla="*/ 15718 w 962241"/>
                <a:gd name="connsiteY11" fmla="*/ 334093 h 703382"/>
                <a:gd name="connsiteX12" fmla="*/ 992 w 962241"/>
                <a:gd name="connsiteY12" fmla="*/ 298667 h 703382"/>
                <a:gd name="connsiteX13" fmla="*/ 78266 w 962241"/>
                <a:gd name="connsiteY13" fmla="*/ 219891 h 703382"/>
                <a:gd name="connsiteX14" fmla="*/ 190137 w 962241"/>
                <a:gd name="connsiteY14" fmla="*/ 110053 h 703382"/>
                <a:gd name="connsiteX15" fmla="*/ 200847 w 962241"/>
                <a:gd name="connsiteY15" fmla="*/ 92120 h 703382"/>
                <a:gd name="connsiteX16" fmla="*/ 202304 w 962241"/>
                <a:gd name="connsiteY16" fmla="*/ 88982 h 703382"/>
                <a:gd name="connsiteX17" fmla="*/ 204003 w 962241"/>
                <a:gd name="connsiteY17" fmla="*/ 79783 h 703382"/>
                <a:gd name="connsiteX18" fmla="*/ 203544 w 962241"/>
                <a:gd name="connsiteY18" fmla="*/ 75403 h 703382"/>
                <a:gd name="connsiteX19" fmla="*/ 203393 w 962241"/>
                <a:gd name="connsiteY19" fmla="*/ 74667 h 703382"/>
                <a:gd name="connsiteX20" fmla="*/ 195011 w 962241"/>
                <a:gd name="connsiteY20" fmla="*/ 57044 h 703382"/>
                <a:gd name="connsiteX21" fmla="*/ 158369 w 962241"/>
                <a:gd name="connsiteY21" fmla="*/ 21100 h 703382"/>
                <a:gd name="connsiteX22" fmla="*/ 148380 w 962241"/>
                <a:gd name="connsiteY22" fmla="*/ 3366 h 703382"/>
                <a:gd name="connsiteX23" fmla="*/ 158632 w 962241"/>
                <a:gd name="connsiteY23" fmla="*/ 55 h 703382"/>
                <a:gd name="connsiteX24" fmla="*/ 896621 w 962241"/>
                <a:gd name="connsiteY24" fmla="*/ 703382 h 703382"/>
                <a:gd name="connsiteX25" fmla="*/ 962241 w 962241"/>
                <a:gd name="connsiteY25" fmla="*/ 637762 h 703382"/>
                <a:gd name="connsiteX26" fmla="*/ 896621 w 962241"/>
                <a:gd name="connsiteY26" fmla="*/ 703382 h 703382"/>
                <a:gd name="connsiteX0" fmla="*/ 158632 w 486646"/>
                <a:gd name="connsiteY0" fmla="*/ 55 h 485065"/>
                <a:gd name="connsiteX1" fmla="*/ 169087 w 486646"/>
                <a:gd name="connsiteY1" fmla="*/ 289 h 485065"/>
                <a:gd name="connsiteX2" fmla="*/ 451766 w 486646"/>
                <a:gd name="connsiteY2" fmla="*/ 289 h 485065"/>
                <a:gd name="connsiteX3" fmla="*/ 486349 w 486646"/>
                <a:gd name="connsiteY3" fmla="*/ 33370 h 485065"/>
                <a:gd name="connsiteX4" fmla="*/ 486349 w 486646"/>
                <a:gd name="connsiteY4" fmla="*/ 317553 h 485065"/>
                <a:gd name="connsiteX5" fmla="*/ 484551 w 486646"/>
                <a:gd name="connsiteY5" fmla="*/ 336250 h 485065"/>
                <a:gd name="connsiteX6" fmla="*/ 477127 w 486646"/>
                <a:gd name="connsiteY6" fmla="*/ 337768 h 485065"/>
                <a:gd name="connsiteX7" fmla="*/ 426759 w 486646"/>
                <a:gd name="connsiteY7" fmla="*/ 287906 h 485065"/>
                <a:gd name="connsiteX8" fmla="*/ 383350 w 486646"/>
                <a:gd name="connsiteY8" fmla="*/ 288124 h 485065"/>
                <a:gd name="connsiteX9" fmla="*/ 192007 w 486646"/>
                <a:gd name="connsiteY9" fmla="*/ 481409 h 485065"/>
                <a:gd name="connsiteX10" fmla="*/ 142021 w 486646"/>
                <a:gd name="connsiteY10" fmla="*/ 460397 h 485065"/>
                <a:gd name="connsiteX11" fmla="*/ 15718 w 486646"/>
                <a:gd name="connsiteY11" fmla="*/ 334093 h 485065"/>
                <a:gd name="connsiteX12" fmla="*/ 992 w 486646"/>
                <a:gd name="connsiteY12" fmla="*/ 298667 h 485065"/>
                <a:gd name="connsiteX13" fmla="*/ 78266 w 486646"/>
                <a:gd name="connsiteY13" fmla="*/ 219891 h 485065"/>
                <a:gd name="connsiteX14" fmla="*/ 190137 w 486646"/>
                <a:gd name="connsiteY14" fmla="*/ 110053 h 485065"/>
                <a:gd name="connsiteX15" fmla="*/ 200847 w 486646"/>
                <a:gd name="connsiteY15" fmla="*/ 92120 h 485065"/>
                <a:gd name="connsiteX16" fmla="*/ 202304 w 486646"/>
                <a:gd name="connsiteY16" fmla="*/ 88982 h 485065"/>
                <a:gd name="connsiteX17" fmla="*/ 204003 w 486646"/>
                <a:gd name="connsiteY17" fmla="*/ 79783 h 485065"/>
                <a:gd name="connsiteX18" fmla="*/ 203544 w 486646"/>
                <a:gd name="connsiteY18" fmla="*/ 75403 h 485065"/>
                <a:gd name="connsiteX19" fmla="*/ 203393 w 486646"/>
                <a:gd name="connsiteY19" fmla="*/ 74667 h 485065"/>
                <a:gd name="connsiteX20" fmla="*/ 195011 w 486646"/>
                <a:gd name="connsiteY20" fmla="*/ 57044 h 485065"/>
                <a:gd name="connsiteX21" fmla="*/ 158369 w 486646"/>
                <a:gd name="connsiteY21" fmla="*/ 21100 h 485065"/>
                <a:gd name="connsiteX22" fmla="*/ 148380 w 486646"/>
                <a:gd name="connsiteY22" fmla="*/ 3366 h 485065"/>
                <a:gd name="connsiteX23" fmla="*/ 158632 w 486646"/>
                <a:gd name="connsiteY23" fmla="*/ 55 h 485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86646" h="485065">
                  <a:moveTo>
                    <a:pt x="158632" y="55"/>
                  </a:moveTo>
                  <a:lnTo>
                    <a:pt x="169087" y="289"/>
                  </a:lnTo>
                  <a:lnTo>
                    <a:pt x="451766" y="289"/>
                  </a:lnTo>
                  <a:cubicBezTo>
                    <a:pt x="480584" y="-2217"/>
                    <a:pt x="488353" y="11818"/>
                    <a:pt x="486349" y="33370"/>
                  </a:cubicBezTo>
                  <a:lnTo>
                    <a:pt x="486349" y="317553"/>
                  </a:lnTo>
                  <a:lnTo>
                    <a:pt x="484551" y="336250"/>
                  </a:lnTo>
                  <a:cubicBezTo>
                    <a:pt x="482733" y="339091"/>
                    <a:pt x="479977" y="339068"/>
                    <a:pt x="477127" y="337768"/>
                  </a:cubicBezTo>
                  <a:lnTo>
                    <a:pt x="426759" y="287906"/>
                  </a:lnTo>
                  <a:cubicBezTo>
                    <a:pt x="414712" y="275979"/>
                    <a:pt x="395277" y="276076"/>
                    <a:pt x="383350" y="288124"/>
                  </a:cubicBezTo>
                  <a:lnTo>
                    <a:pt x="192007" y="481409"/>
                  </a:lnTo>
                  <a:cubicBezTo>
                    <a:pt x="179642" y="489291"/>
                    <a:pt x="169595" y="485360"/>
                    <a:pt x="142021" y="460397"/>
                  </a:cubicBezTo>
                  <a:lnTo>
                    <a:pt x="15718" y="334093"/>
                  </a:lnTo>
                  <a:cubicBezTo>
                    <a:pt x="5152" y="320618"/>
                    <a:pt x="-2888" y="310510"/>
                    <a:pt x="992" y="298667"/>
                  </a:cubicBezTo>
                  <a:lnTo>
                    <a:pt x="78266" y="219891"/>
                  </a:lnTo>
                  <a:lnTo>
                    <a:pt x="190137" y="110053"/>
                  </a:lnTo>
                  <a:cubicBezTo>
                    <a:pt x="195360" y="103041"/>
                    <a:pt x="198864" y="97182"/>
                    <a:pt x="200847" y="92120"/>
                  </a:cubicBezTo>
                  <a:cubicBezTo>
                    <a:pt x="201687" y="91224"/>
                    <a:pt x="202130" y="90148"/>
                    <a:pt x="202304" y="88982"/>
                  </a:cubicBezTo>
                  <a:cubicBezTo>
                    <a:pt x="203608" y="85474"/>
                    <a:pt x="204144" y="82444"/>
                    <a:pt x="204003" y="79783"/>
                  </a:cubicBezTo>
                  <a:cubicBezTo>
                    <a:pt x="204241" y="78306"/>
                    <a:pt x="204174" y="76824"/>
                    <a:pt x="203544" y="75403"/>
                  </a:cubicBezTo>
                  <a:cubicBezTo>
                    <a:pt x="203573" y="75136"/>
                    <a:pt x="203507" y="74894"/>
                    <a:pt x="203393" y="74667"/>
                  </a:cubicBezTo>
                  <a:cubicBezTo>
                    <a:pt x="202982" y="68153"/>
                    <a:pt x="200016" y="61952"/>
                    <a:pt x="195011" y="57044"/>
                  </a:cubicBezTo>
                  <a:lnTo>
                    <a:pt x="158369" y="21100"/>
                  </a:lnTo>
                  <a:lnTo>
                    <a:pt x="148380" y="3366"/>
                  </a:lnTo>
                  <a:cubicBezTo>
                    <a:pt x="149287" y="485"/>
                    <a:pt x="153565" y="7"/>
                    <a:pt x="158632" y="55"/>
                  </a:cubicBezTo>
                  <a:close/>
                </a:path>
              </a:pathLst>
            </a:custGeom>
            <a:solidFill>
              <a:srgbClr val="1E1E1E"/>
            </a:solidFill>
            <a:ln w="9525" cap="flat" cmpd="sng" algn="ctr">
              <a:noFill/>
              <a:prstDash val="soli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eaLnBrk="1" fontAlgn="auto" latinLnBrk="0" hangingPunct="1">
                <a:lnSpc>
                  <a:spcPct val="100000"/>
                </a:lnSpc>
                <a:spcBef>
                  <a:spcPts val="0"/>
                </a:spcBef>
                <a:spcAft>
                  <a:spcPts val="0"/>
                </a:spcAft>
                <a:buClrTx/>
                <a:buSzTx/>
                <a:buFontTx/>
                <a:buNone/>
                <a:tabLst/>
                <a:defRPr/>
              </a:pPr>
              <a:endParaRPr kumimoji="0" lang="en-US" sz="1398" b="0" i="0" u="none" strike="noStrike" kern="0" cap="none" spc="-50" normalizeH="0" baseline="0" noProof="0" dirty="0">
                <a:ln>
                  <a:solidFill>
                    <a:srgbClr val="FFFFFF">
                      <a:alpha val="0"/>
                    </a:srgbClr>
                  </a:solidFill>
                </a:ln>
                <a:solidFill>
                  <a:srgbClr val="000000"/>
                </a:solidFill>
                <a:effectLst/>
                <a:uLnTx/>
                <a:uFillTx/>
                <a:latin typeface="Segoe UI"/>
                <a:ea typeface="Segoe UI" pitchFamily="34" charset="0"/>
                <a:cs typeface="Segoe UI" pitchFamily="34" charset="0"/>
              </a:endParaRPr>
            </a:p>
          </p:txBody>
        </p:sp>
        <p:sp>
          <p:nvSpPr>
            <p:cNvPr id="35" name="Freeform 100"/>
            <p:cNvSpPr/>
            <p:nvPr/>
          </p:nvSpPr>
          <p:spPr>
            <a:xfrm>
              <a:off x="10467794" y="2369307"/>
              <a:ext cx="1004386" cy="752113"/>
            </a:xfrm>
            <a:custGeom>
              <a:avLst/>
              <a:gdLst>
                <a:gd name="connsiteX0" fmla="*/ 95091 w 1344068"/>
                <a:gd name="connsiteY0" fmla="*/ 183749 h 1006476"/>
                <a:gd name="connsiteX1" fmla="*/ 1234463 w 1344068"/>
                <a:gd name="connsiteY1" fmla="*/ 183749 h 1006476"/>
                <a:gd name="connsiteX2" fmla="*/ 1234463 w 1344068"/>
                <a:gd name="connsiteY2" fmla="*/ 912133 h 1006476"/>
                <a:gd name="connsiteX3" fmla="*/ 95091 w 1344068"/>
                <a:gd name="connsiteY3" fmla="*/ 912133 h 1006476"/>
                <a:gd name="connsiteX4" fmla="*/ 36697 w 1344068"/>
                <a:gd name="connsiteY4" fmla="*/ 138779 h 1006476"/>
                <a:gd name="connsiteX5" fmla="*/ 36697 w 1344068"/>
                <a:gd name="connsiteY5" fmla="*/ 979442 h 1006476"/>
                <a:gd name="connsiteX6" fmla="*/ 1307371 w 1344068"/>
                <a:gd name="connsiteY6" fmla="*/ 979442 h 1006476"/>
                <a:gd name="connsiteX7" fmla="*/ 1307371 w 1344068"/>
                <a:gd name="connsiteY7" fmla="*/ 138779 h 1006476"/>
                <a:gd name="connsiteX8" fmla="*/ 1239333 w 1344068"/>
                <a:gd name="connsiteY8" fmla="*/ 37932 h 1006476"/>
                <a:gd name="connsiteX9" fmla="*/ 1239333 w 1344068"/>
                <a:gd name="connsiteY9" fmla="*/ 105968 h 1006476"/>
                <a:gd name="connsiteX10" fmla="*/ 1307371 w 1344068"/>
                <a:gd name="connsiteY10" fmla="*/ 105968 h 1006476"/>
                <a:gd name="connsiteX11" fmla="*/ 1307371 w 1344068"/>
                <a:gd name="connsiteY11" fmla="*/ 37932 h 1006476"/>
                <a:gd name="connsiteX12" fmla="*/ 839679 w 1344068"/>
                <a:gd name="connsiteY12" fmla="*/ 37932 h 1006476"/>
                <a:gd name="connsiteX13" fmla="*/ 839679 w 1344068"/>
                <a:gd name="connsiteY13" fmla="*/ 105968 h 1006476"/>
                <a:gd name="connsiteX14" fmla="*/ 1173745 w 1344068"/>
                <a:gd name="connsiteY14" fmla="*/ 105968 h 1006476"/>
                <a:gd name="connsiteX15" fmla="*/ 1173745 w 1344068"/>
                <a:gd name="connsiteY15" fmla="*/ 37932 h 1006476"/>
                <a:gd name="connsiteX16" fmla="*/ 170323 w 1344068"/>
                <a:gd name="connsiteY16" fmla="*/ 37932 h 1006476"/>
                <a:gd name="connsiteX17" fmla="*/ 170323 w 1344068"/>
                <a:gd name="connsiteY17" fmla="*/ 105968 h 1006476"/>
                <a:gd name="connsiteX18" fmla="*/ 504389 w 1344068"/>
                <a:gd name="connsiteY18" fmla="*/ 105968 h 1006476"/>
                <a:gd name="connsiteX19" fmla="*/ 504389 w 1344068"/>
                <a:gd name="connsiteY19" fmla="*/ 37932 h 1006476"/>
                <a:gd name="connsiteX20" fmla="*/ 36697 w 1344068"/>
                <a:gd name="connsiteY20" fmla="*/ 37932 h 1006476"/>
                <a:gd name="connsiteX21" fmla="*/ 36697 w 1344068"/>
                <a:gd name="connsiteY21" fmla="*/ 105968 h 1006476"/>
                <a:gd name="connsiteX22" fmla="*/ 104736 w 1344068"/>
                <a:gd name="connsiteY22" fmla="*/ 105968 h 1006476"/>
                <a:gd name="connsiteX23" fmla="*/ 104736 w 1344068"/>
                <a:gd name="connsiteY23" fmla="*/ 37932 h 1006476"/>
                <a:gd name="connsiteX24" fmla="*/ 0 w 1344068"/>
                <a:gd name="connsiteY24" fmla="*/ 0 h 1006476"/>
                <a:gd name="connsiteX25" fmla="*/ 1344068 w 1344068"/>
                <a:gd name="connsiteY25" fmla="*/ 0 h 1006476"/>
                <a:gd name="connsiteX26" fmla="*/ 1344068 w 1344068"/>
                <a:gd name="connsiteY26" fmla="*/ 1006476 h 1006476"/>
                <a:gd name="connsiteX27" fmla="*/ 0 w 1344068"/>
                <a:gd name="connsiteY27" fmla="*/ 1006476 h 1006476"/>
                <a:gd name="connsiteX0" fmla="*/ 95091 w 1344068"/>
                <a:gd name="connsiteY0" fmla="*/ 912133 h 1006476"/>
                <a:gd name="connsiteX1" fmla="*/ 1234463 w 1344068"/>
                <a:gd name="connsiteY1" fmla="*/ 183749 h 1006476"/>
                <a:gd name="connsiteX2" fmla="*/ 1234463 w 1344068"/>
                <a:gd name="connsiteY2" fmla="*/ 912133 h 1006476"/>
                <a:gd name="connsiteX3" fmla="*/ 95091 w 1344068"/>
                <a:gd name="connsiteY3" fmla="*/ 912133 h 1006476"/>
                <a:gd name="connsiteX4" fmla="*/ 36697 w 1344068"/>
                <a:gd name="connsiteY4" fmla="*/ 138779 h 1006476"/>
                <a:gd name="connsiteX5" fmla="*/ 36697 w 1344068"/>
                <a:gd name="connsiteY5" fmla="*/ 979442 h 1006476"/>
                <a:gd name="connsiteX6" fmla="*/ 1307371 w 1344068"/>
                <a:gd name="connsiteY6" fmla="*/ 979442 h 1006476"/>
                <a:gd name="connsiteX7" fmla="*/ 1307371 w 1344068"/>
                <a:gd name="connsiteY7" fmla="*/ 138779 h 1006476"/>
                <a:gd name="connsiteX8" fmla="*/ 36697 w 1344068"/>
                <a:gd name="connsiteY8" fmla="*/ 138779 h 1006476"/>
                <a:gd name="connsiteX9" fmla="*/ 1239333 w 1344068"/>
                <a:gd name="connsiteY9" fmla="*/ 37932 h 1006476"/>
                <a:gd name="connsiteX10" fmla="*/ 1239333 w 1344068"/>
                <a:gd name="connsiteY10" fmla="*/ 105968 h 1006476"/>
                <a:gd name="connsiteX11" fmla="*/ 1307371 w 1344068"/>
                <a:gd name="connsiteY11" fmla="*/ 105968 h 1006476"/>
                <a:gd name="connsiteX12" fmla="*/ 1307371 w 1344068"/>
                <a:gd name="connsiteY12" fmla="*/ 37932 h 1006476"/>
                <a:gd name="connsiteX13" fmla="*/ 1239333 w 1344068"/>
                <a:gd name="connsiteY13" fmla="*/ 37932 h 1006476"/>
                <a:gd name="connsiteX14" fmla="*/ 839679 w 1344068"/>
                <a:gd name="connsiteY14" fmla="*/ 37932 h 1006476"/>
                <a:gd name="connsiteX15" fmla="*/ 839679 w 1344068"/>
                <a:gd name="connsiteY15" fmla="*/ 105968 h 1006476"/>
                <a:gd name="connsiteX16" fmla="*/ 1173745 w 1344068"/>
                <a:gd name="connsiteY16" fmla="*/ 105968 h 1006476"/>
                <a:gd name="connsiteX17" fmla="*/ 1173745 w 1344068"/>
                <a:gd name="connsiteY17" fmla="*/ 37932 h 1006476"/>
                <a:gd name="connsiteX18" fmla="*/ 839679 w 1344068"/>
                <a:gd name="connsiteY18" fmla="*/ 37932 h 1006476"/>
                <a:gd name="connsiteX19" fmla="*/ 170323 w 1344068"/>
                <a:gd name="connsiteY19" fmla="*/ 37932 h 1006476"/>
                <a:gd name="connsiteX20" fmla="*/ 170323 w 1344068"/>
                <a:gd name="connsiteY20" fmla="*/ 105968 h 1006476"/>
                <a:gd name="connsiteX21" fmla="*/ 504389 w 1344068"/>
                <a:gd name="connsiteY21" fmla="*/ 105968 h 1006476"/>
                <a:gd name="connsiteX22" fmla="*/ 504389 w 1344068"/>
                <a:gd name="connsiteY22" fmla="*/ 37932 h 1006476"/>
                <a:gd name="connsiteX23" fmla="*/ 170323 w 1344068"/>
                <a:gd name="connsiteY23" fmla="*/ 37932 h 1006476"/>
                <a:gd name="connsiteX24" fmla="*/ 36697 w 1344068"/>
                <a:gd name="connsiteY24" fmla="*/ 37932 h 1006476"/>
                <a:gd name="connsiteX25" fmla="*/ 36697 w 1344068"/>
                <a:gd name="connsiteY25" fmla="*/ 105968 h 1006476"/>
                <a:gd name="connsiteX26" fmla="*/ 104736 w 1344068"/>
                <a:gd name="connsiteY26" fmla="*/ 105968 h 1006476"/>
                <a:gd name="connsiteX27" fmla="*/ 104736 w 1344068"/>
                <a:gd name="connsiteY27" fmla="*/ 37932 h 1006476"/>
                <a:gd name="connsiteX28" fmla="*/ 36697 w 1344068"/>
                <a:gd name="connsiteY28" fmla="*/ 37932 h 1006476"/>
                <a:gd name="connsiteX29" fmla="*/ 0 w 1344068"/>
                <a:gd name="connsiteY29" fmla="*/ 0 h 1006476"/>
                <a:gd name="connsiteX30" fmla="*/ 1344068 w 1344068"/>
                <a:gd name="connsiteY30" fmla="*/ 0 h 1006476"/>
                <a:gd name="connsiteX31" fmla="*/ 1344068 w 1344068"/>
                <a:gd name="connsiteY31" fmla="*/ 1006476 h 1006476"/>
                <a:gd name="connsiteX32" fmla="*/ 0 w 1344068"/>
                <a:gd name="connsiteY32" fmla="*/ 1006476 h 1006476"/>
                <a:gd name="connsiteX33" fmla="*/ 0 w 1344068"/>
                <a:gd name="connsiteY33" fmla="*/ 0 h 1006476"/>
                <a:gd name="connsiteX0" fmla="*/ 1234463 w 1344068"/>
                <a:gd name="connsiteY0" fmla="*/ 912133 h 1006476"/>
                <a:gd name="connsiteX1" fmla="*/ 1234463 w 1344068"/>
                <a:gd name="connsiteY1" fmla="*/ 183749 h 1006476"/>
                <a:gd name="connsiteX2" fmla="*/ 1234463 w 1344068"/>
                <a:gd name="connsiteY2" fmla="*/ 912133 h 1006476"/>
                <a:gd name="connsiteX3" fmla="*/ 36697 w 1344068"/>
                <a:gd name="connsiteY3" fmla="*/ 138779 h 1006476"/>
                <a:gd name="connsiteX4" fmla="*/ 36697 w 1344068"/>
                <a:gd name="connsiteY4" fmla="*/ 979442 h 1006476"/>
                <a:gd name="connsiteX5" fmla="*/ 1307371 w 1344068"/>
                <a:gd name="connsiteY5" fmla="*/ 979442 h 1006476"/>
                <a:gd name="connsiteX6" fmla="*/ 1307371 w 1344068"/>
                <a:gd name="connsiteY6" fmla="*/ 138779 h 1006476"/>
                <a:gd name="connsiteX7" fmla="*/ 36697 w 1344068"/>
                <a:gd name="connsiteY7" fmla="*/ 138779 h 1006476"/>
                <a:gd name="connsiteX8" fmla="*/ 1239333 w 1344068"/>
                <a:gd name="connsiteY8" fmla="*/ 37932 h 1006476"/>
                <a:gd name="connsiteX9" fmla="*/ 1239333 w 1344068"/>
                <a:gd name="connsiteY9" fmla="*/ 105968 h 1006476"/>
                <a:gd name="connsiteX10" fmla="*/ 1307371 w 1344068"/>
                <a:gd name="connsiteY10" fmla="*/ 105968 h 1006476"/>
                <a:gd name="connsiteX11" fmla="*/ 1307371 w 1344068"/>
                <a:gd name="connsiteY11" fmla="*/ 37932 h 1006476"/>
                <a:gd name="connsiteX12" fmla="*/ 1239333 w 1344068"/>
                <a:gd name="connsiteY12" fmla="*/ 37932 h 1006476"/>
                <a:gd name="connsiteX13" fmla="*/ 839679 w 1344068"/>
                <a:gd name="connsiteY13" fmla="*/ 37932 h 1006476"/>
                <a:gd name="connsiteX14" fmla="*/ 839679 w 1344068"/>
                <a:gd name="connsiteY14" fmla="*/ 105968 h 1006476"/>
                <a:gd name="connsiteX15" fmla="*/ 1173745 w 1344068"/>
                <a:gd name="connsiteY15" fmla="*/ 105968 h 1006476"/>
                <a:gd name="connsiteX16" fmla="*/ 1173745 w 1344068"/>
                <a:gd name="connsiteY16" fmla="*/ 37932 h 1006476"/>
                <a:gd name="connsiteX17" fmla="*/ 839679 w 1344068"/>
                <a:gd name="connsiteY17" fmla="*/ 37932 h 1006476"/>
                <a:gd name="connsiteX18" fmla="*/ 170323 w 1344068"/>
                <a:gd name="connsiteY18" fmla="*/ 37932 h 1006476"/>
                <a:gd name="connsiteX19" fmla="*/ 170323 w 1344068"/>
                <a:gd name="connsiteY19" fmla="*/ 105968 h 1006476"/>
                <a:gd name="connsiteX20" fmla="*/ 504389 w 1344068"/>
                <a:gd name="connsiteY20" fmla="*/ 105968 h 1006476"/>
                <a:gd name="connsiteX21" fmla="*/ 504389 w 1344068"/>
                <a:gd name="connsiteY21" fmla="*/ 37932 h 1006476"/>
                <a:gd name="connsiteX22" fmla="*/ 170323 w 1344068"/>
                <a:gd name="connsiteY22" fmla="*/ 37932 h 1006476"/>
                <a:gd name="connsiteX23" fmla="*/ 36697 w 1344068"/>
                <a:gd name="connsiteY23" fmla="*/ 37932 h 1006476"/>
                <a:gd name="connsiteX24" fmla="*/ 36697 w 1344068"/>
                <a:gd name="connsiteY24" fmla="*/ 105968 h 1006476"/>
                <a:gd name="connsiteX25" fmla="*/ 104736 w 1344068"/>
                <a:gd name="connsiteY25" fmla="*/ 105968 h 1006476"/>
                <a:gd name="connsiteX26" fmla="*/ 104736 w 1344068"/>
                <a:gd name="connsiteY26" fmla="*/ 37932 h 1006476"/>
                <a:gd name="connsiteX27" fmla="*/ 36697 w 1344068"/>
                <a:gd name="connsiteY27" fmla="*/ 37932 h 1006476"/>
                <a:gd name="connsiteX28" fmla="*/ 0 w 1344068"/>
                <a:gd name="connsiteY28" fmla="*/ 0 h 1006476"/>
                <a:gd name="connsiteX29" fmla="*/ 1344068 w 1344068"/>
                <a:gd name="connsiteY29" fmla="*/ 0 h 1006476"/>
                <a:gd name="connsiteX30" fmla="*/ 1344068 w 1344068"/>
                <a:gd name="connsiteY30" fmla="*/ 1006476 h 1006476"/>
                <a:gd name="connsiteX31" fmla="*/ 0 w 1344068"/>
                <a:gd name="connsiteY31" fmla="*/ 1006476 h 1006476"/>
                <a:gd name="connsiteX32" fmla="*/ 0 w 1344068"/>
                <a:gd name="connsiteY32" fmla="*/ 0 h 1006476"/>
                <a:gd name="connsiteX0" fmla="*/ 36697 w 1344068"/>
                <a:gd name="connsiteY0" fmla="*/ 138779 h 1006476"/>
                <a:gd name="connsiteX1" fmla="*/ 36697 w 1344068"/>
                <a:gd name="connsiteY1" fmla="*/ 979442 h 1006476"/>
                <a:gd name="connsiteX2" fmla="*/ 1307371 w 1344068"/>
                <a:gd name="connsiteY2" fmla="*/ 979442 h 1006476"/>
                <a:gd name="connsiteX3" fmla="*/ 1307371 w 1344068"/>
                <a:gd name="connsiteY3" fmla="*/ 138779 h 1006476"/>
                <a:gd name="connsiteX4" fmla="*/ 36697 w 1344068"/>
                <a:gd name="connsiteY4" fmla="*/ 138779 h 1006476"/>
                <a:gd name="connsiteX5" fmla="*/ 1239333 w 1344068"/>
                <a:gd name="connsiteY5" fmla="*/ 37932 h 1006476"/>
                <a:gd name="connsiteX6" fmla="*/ 1239333 w 1344068"/>
                <a:gd name="connsiteY6" fmla="*/ 105968 h 1006476"/>
                <a:gd name="connsiteX7" fmla="*/ 1307371 w 1344068"/>
                <a:gd name="connsiteY7" fmla="*/ 105968 h 1006476"/>
                <a:gd name="connsiteX8" fmla="*/ 1307371 w 1344068"/>
                <a:gd name="connsiteY8" fmla="*/ 37932 h 1006476"/>
                <a:gd name="connsiteX9" fmla="*/ 1239333 w 1344068"/>
                <a:gd name="connsiteY9" fmla="*/ 37932 h 1006476"/>
                <a:gd name="connsiteX10" fmla="*/ 839679 w 1344068"/>
                <a:gd name="connsiteY10" fmla="*/ 37932 h 1006476"/>
                <a:gd name="connsiteX11" fmla="*/ 839679 w 1344068"/>
                <a:gd name="connsiteY11" fmla="*/ 105968 h 1006476"/>
                <a:gd name="connsiteX12" fmla="*/ 1173745 w 1344068"/>
                <a:gd name="connsiteY12" fmla="*/ 105968 h 1006476"/>
                <a:gd name="connsiteX13" fmla="*/ 1173745 w 1344068"/>
                <a:gd name="connsiteY13" fmla="*/ 37932 h 1006476"/>
                <a:gd name="connsiteX14" fmla="*/ 839679 w 1344068"/>
                <a:gd name="connsiteY14" fmla="*/ 37932 h 1006476"/>
                <a:gd name="connsiteX15" fmla="*/ 170323 w 1344068"/>
                <a:gd name="connsiteY15" fmla="*/ 37932 h 1006476"/>
                <a:gd name="connsiteX16" fmla="*/ 170323 w 1344068"/>
                <a:gd name="connsiteY16" fmla="*/ 105968 h 1006476"/>
                <a:gd name="connsiteX17" fmla="*/ 504389 w 1344068"/>
                <a:gd name="connsiteY17" fmla="*/ 105968 h 1006476"/>
                <a:gd name="connsiteX18" fmla="*/ 504389 w 1344068"/>
                <a:gd name="connsiteY18" fmla="*/ 37932 h 1006476"/>
                <a:gd name="connsiteX19" fmla="*/ 170323 w 1344068"/>
                <a:gd name="connsiteY19" fmla="*/ 37932 h 1006476"/>
                <a:gd name="connsiteX20" fmla="*/ 36697 w 1344068"/>
                <a:gd name="connsiteY20" fmla="*/ 37932 h 1006476"/>
                <a:gd name="connsiteX21" fmla="*/ 36697 w 1344068"/>
                <a:gd name="connsiteY21" fmla="*/ 105968 h 1006476"/>
                <a:gd name="connsiteX22" fmla="*/ 104736 w 1344068"/>
                <a:gd name="connsiteY22" fmla="*/ 105968 h 1006476"/>
                <a:gd name="connsiteX23" fmla="*/ 104736 w 1344068"/>
                <a:gd name="connsiteY23" fmla="*/ 37932 h 1006476"/>
                <a:gd name="connsiteX24" fmla="*/ 36697 w 1344068"/>
                <a:gd name="connsiteY24" fmla="*/ 37932 h 1006476"/>
                <a:gd name="connsiteX25" fmla="*/ 0 w 1344068"/>
                <a:gd name="connsiteY25" fmla="*/ 0 h 1006476"/>
                <a:gd name="connsiteX26" fmla="*/ 1344068 w 1344068"/>
                <a:gd name="connsiteY26" fmla="*/ 0 h 1006476"/>
                <a:gd name="connsiteX27" fmla="*/ 1344068 w 1344068"/>
                <a:gd name="connsiteY27" fmla="*/ 1006476 h 1006476"/>
                <a:gd name="connsiteX28" fmla="*/ 0 w 1344068"/>
                <a:gd name="connsiteY28" fmla="*/ 1006476 h 1006476"/>
                <a:gd name="connsiteX29" fmla="*/ 0 w 1344068"/>
                <a:gd name="connsiteY29" fmla="*/ 0 h 1006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344068" h="1006476">
                  <a:moveTo>
                    <a:pt x="36697" y="138779"/>
                  </a:moveTo>
                  <a:lnTo>
                    <a:pt x="36697" y="979442"/>
                  </a:lnTo>
                  <a:lnTo>
                    <a:pt x="1307371" y="979442"/>
                  </a:lnTo>
                  <a:lnTo>
                    <a:pt x="1307371" y="138779"/>
                  </a:lnTo>
                  <a:lnTo>
                    <a:pt x="36697" y="138779"/>
                  </a:lnTo>
                  <a:close/>
                  <a:moveTo>
                    <a:pt x="1239333" y="37932"/>
                  </a:moveTo>
                  <a:lnTo>
                    <a:pt x="1239333" y="105968"/>
                  </a:lnTo>
                  <a:lnTo>
                    <a:pt x="1307371" y="105968"/>
                  </a:lnTo>
                  <a:lnTo>
                    <a:pt x="1307371" y="37932"/>
                  </a:lnTo>
                  <a:lnTo>
                    <a:pt x="1239333" y="37932"/>
                  </a:lnTo>
                  <a:close/>
                  <a:moveTo>
                    <a:pt x="839679" y="37932"/>
                  </a:moveTo>
                  <a:lnTo>
                    <a:pt x="839679" y="105968"/>
                  </a:lnTo>
                  <a:lnTo>
                    <a:pt x="1173745" y="105968"/>
                  </a:lnTo>
                  <a:lnTo>
                    <a:pt x="1173745" y="37932"/>
                  </a:lnTo>
                  <a:lnTo>
                    <a:pt x="839679" y="37932"/>
                  </a:lnTo>
                  <a:close/>
                  <a:moveTo>
                    <a:pt x="170323" y="37932"/>
                  </a:moveTo>
                  <a:lnTo>
                    <a:pt x="170323" y="105968"/>
                  </a:lnTo>
                  <a:lnTo>
                    <a:pt x="504389" y="105968"/>
                  </a:lnTo>
                  <a:lnTo>
                    <a:pt x="504389" y="37932"/>
                  </a:lnTo>
                  <a:lnTo>
                    <a:pt x="170323" y="37932"/>
                  </a:lnTo>
                  <a:close/>
                  <a:moveTo>
                    <a:pt x="36697" y="37932"/>
                  </a:moveTo>
                  <a:lnTo>
                    <a:pt x="36697" y="105968"/>
                  </a:lnTo>
                  <a:lnTo>
                    <a:pt x="104736" y="105968"/>
                  </a:lnTo>
                  <a:lnTo>
                    <a:pt x="104736" y="37932"/>
                  </a:lnTo>
                  <a:lnTo>
                    <a:pt x="36697" y="37932"/>
                  </a:lnTo>
                  <a:close/>
                  <a:moveTo>
                    <a:pt x="0" y="0"/>
                  </a:moveTo>
                  <a:lnTo>
                    <a:pt x="1344068" y="0"/>
                  </a:lnTo>
                  <a:lnTo>
                    <a:pt x="1344068" y="1006476"/>
                  </a:lnTo>
                  <a:lnTo>
                    <a:pt x="0" y="1006476"/>
                  </a:lnTo>
                  <a:lnTo>
                    <a:pt x="0" y="0"/>
                  </a:lnTo>
                  <a:close/>
                </a:path>
              </a:pathLst>
            </a:custGeom>
            <a:solidFill>
              <a:srgbClr val="1E1E1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grpSp>
      <p:sp>
        <p:nvSpPr>
          <p:cNvPr id="36" name="Left Bracket 101"/>
          <p:cNvSpPr/>
          <p:nvPr/>
        </p:nvSpPr>
        <p:spPr>
          <a:xfrm rot="5400000" flipV="1">
            <a:off x="7930371" y="464794"/>
            <a:ext cx="184802" cy="4754880"/>
          </a:xfrm>
          <a:prstGeom prst="leftBracket">
            <a:avLst/>
          </a:prstGeom>
          <a:ln w="19050">
            <a:solidFill>
              <a:srgbClr val="EDC30D"/>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836" b="1" dirty="0"/>
          </a:p>
        </p:txBody>
      </p:sp>
      <p:sp>
        <p:nvSpPr>
          <p:cNvPr id="37" name="Right Arrow 38"/>
          <p:cNvSpPr/>
          <p:nvPr/>
        </p:nvSpPr>
        <p:spPr>
          <a:xfrm>
            <a:off x="5076543" y="3794841"/>
            <a:ext cx="274718" cy="345138"/>
          </a:xfrm>
          <a:prstGeom prst="rightArrow">
            <a:avLst/>
          </a:prstGeom>
          <a:solidFill>
            <a:srgbClr val="EDC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 name="Left Bracket 39"/>
          <p:cNvSpPr/>
          <p:nvPr/>
        </p:nvSpPr>
        <p:spPr>
          <a:xfrm rot="10800000" flipV="1">
            <a:off x="4891741" y="3158237"/>
            <a:ext cx="184802" cy="3200400"/>
          </a:xfrm>
          <a:prstGeom prst="leftBracket">
            <a:avLst/>
          </a:prstGeom>
          <a:ln w="19050">
            <a:solidFill>
              <a:srgbClr val="EDC30D"/>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836" b="1" dirty="0"/>
          </a:p>
        </p:txBody>
      </p:sp>
      <p:cxnSp>
        <p:nvCxnSpPr>
          <p:cNvPr id="39" name="Straight Connector 44"/>
          <p:cNvCxnSpPr/>
          <p:nvPr/>
        </p:nvCxnSpPr>
        <p:spPr>
          <a:xfrm flipH="1">
            <a:off x="449662" y="4890824"/>
            <a:ext cx="4157125" cy="0"/>
          </a:xfrm>
          <a:prstGeom prst="line">
            <a:avLst/>
          </a:prstGeom>
          <a:ln w="6350">
            <a:solidFill>
              <a:srgbClr val="1E1E1E">
                <a:alpha val="50000"/>
              </a:srgb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5921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a:t>確保</a:t>
            </a:r>
            <a:r>
              <a:rPr lang="zh-TW" altLang="en-US" b="1" dirty="0"/>
              <a:t>跨裝置</a:t>
            </a:r>
            <a:r>
              <a:rPr lang="zh-TW" altLang="en-US" dirty="0"/>
              <a:t>體驗一致性</a:t>
            </a:r>
          </a:p>
        </p:txBody>
      </p:sp>
      <p:sp>
        <p:nvSpPr>
          <p:cNvPr id="3" name="內容版面配置區 2"/>
          <p:cNvSpPr>
            <a:spLocks noGrp="1"/>
          </p:cNvSpPr>
          <p:nvPr>
            <p:ph sz="quarter" idx="10"/>
          </p:nvPr>
        </p:nvSpPr>
        <p:spPr/>
        <p:txBody>
          <a:bodyPr/>
          <a:lstStyle/>
          <a:p>
            <a:r>
              <a:rPr lang="zh-TW" altLang="en-US" dirty="0"/>
              <a:t>高品質、響應式的視覺化體驗，並且使用開放技術</a:t>
            </a:r>
          </a:p>
        </p:txBody>
      </p:sp>
      <p:pic>
        <p:nvPicPr>
          <p:cNvPr id="5" name="Picture 2" descr="WebGL Logo.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656104" y="2095102"/>
            <a:ext cx="828352" cy="34460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http://www.w3.org/html/logo/downloads/HTML5_Logo_51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947935" y="1992276"/>
            <a:ext cx="550258" cy="550258"/>
          </a:xfrm>
          <a:prstGeom prst="rect">
            <a:avLst/>
          </a:prstGeom>
          <a:noFill/>
          <a:extLst>
            <a:ext uri="{909E8E84-426E-40DD-AFC4-6F175D3DCCD1}">
              <a14:hiddenFill xmlns:a14="http://schemas.microsoft.com/office/drawing/2010/main">
                <a:solidFill>
                  <a:srgbClr val="FFFFFF"/>
                </a:solidFill>
              </a14:hiddenFill>
            </a:ext>
          </a:extLst>
        </p:spPr>
      </p:pic>
      <p:sp>
        <p:nvSpPr>
          <p:cNvPr id="7" name="Left Bracket 14"/>
          <p:cNvSpPr/>
          <p:nvPr/>
        </p:nvSpPr>
        <p:spPr>
          <a:xfrm rot="16200000" flipV="1">
            <a:off x="5932936" y="973986"/>
            <a:ext cx="184802" cy="3108960"/>
          </a:xfrm>
          <a:prstGeom prst="leftBracket">
            <a:avLst/>
          </a:prstGeom>
          <a:ln w="19050">
            <a:solidFill>
              <a:srgbClr val="EDC30D"/>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836" b="1" dirty="0"/>
          </a:p>
        </p:txBody>
      </p:sp>
      <p:grpSp>
        <p:nvGrpSpPr>
          <p:cNvPr id="8" name="Group 4"/>
          <p:cNvGrpSpPr/>
          <p:nvPr/>
        </p:nvGrpSpPr>
        <p:grpSpPr>
          <a:xfrm>
            <a:off x="7749376" y="6069032"/>
            <a:ext cx="1230728" cy="326992"/>
            <a:chOff x="10475955" y="5621578"/>
            <a:chExt cx="1046886" cy="278147"/>
          </a:xfrm>
        </p:grpSpPr>
        <p:sp>
          <p:nvSpPr>
            <p:cNvPr id="9" name="Freeform 12"/>
            <p:cNvSpPr>
              <a:spLocks/>
            </p:cNvSpPr>
            <p:nvPr/>
          </p:nvSpPr>
          <p:spPr bwMode="auto">
            <a:xfrm>
              <a:off x="11331887" y="5621578"/>
              <a:ext cx="190954" cy="235782"/>
            </a:xfrm>
            <a:custGeom>
              <a:avLst/>
              <a:gdLst>
                <a:gd name="connsiteX0" fmla="*/ 129808 w 426363"/>
                <a:gd name="connsiteY0" fmla="*/ 126536 h 526455"/>
                <a:gd name="connsiteX1" fmla="*/ 218389 w 426363"/>
                <a:gd name="connsiteY1" fmla="*/ 149608 h 526455"/>
                <a:gd name="connsiteX2" fmla="*/ 318525 w 426363"/>
                <a:gd name="connsiteY2" fmla="*/ 126536 h 526455"/>
                <a:gd name="connsiteX3" fmla="*/ 414809 w 426363"/>
                <a:gd name="connsiteY3" fmla="*/ 176526 h 526455"/>
                <a:gd name="connsiteX4" fmla="*/ 357039 w 426363"/>
                <a:gd name="connsiteY4" fmla="*/ 276505 h 526455"/>
                <a:gd name="connsiteX5" fmla="*/ 426363 w 426363"/>
                <a:gd name="connsiteY5" fmla="*/ 384176 h 526455"/>
                <a:gd name="connsiteX6" fmla="*/ 391701 w 426363"/>
                <a:gd name="connsiteY6" fmla="*/ 461084 h 526455"/>
                <a:gd name="connsiteX7" fmla="*/ 310822 w 426363"/>
                <a:gd name="connsiteY7" fmla="*/ 522610 h 526455"/>
                <a:gd name="connsiteX8" fmla="*/ 222241 w 426363"/>
                <a:gd name="connsiteY8" fmla="*/ 503383 h 526455"/>
                <a:gd name="connsiteX9" fmla="*/ 137511 w 426363"/>
                <a:gd name="connsiteY9" fmla="*/ 526455 h 526455"/>
                <a:gd name="connsiteX10" fmla="*/ 52780 w 426363"/>
                <a:gd name="connsiteY10" fmla="*/ 457238 h 526455"/>
                <a:gd name="connsiteX11" fmla="*/ 21970 w 426363"/>
                <a:gd name="connsiteY11" fmla="*/ 191907 h 526455"/>
                <a:gd name="connsiteX12" fmla="*/ 129808 w 426363"/>
                <a:gd name="connsiteY12" fmla="*/ 126536 h 526455"/>
                <a:gd name="connsiteX13" fmla="*/ 317672 w 426363"/>
                <a:gd name="connsiteY13" fmla="*/ 0 h 526455"/>
                <a:gd name="connsiteX14" fmla="*/ 290749 w 426363"/>
                <a:gd name="connsiteY14" fmla="*/ 84351 h 526455"/>
                <a:gd name="connsiteX15" fmla="*/ 213827 w 426363"/>
                <a:gd name="connsiteY15" fmla="*/ 118858 h 526455"/>
                <a:gd name="connsiteX16" fmla="*/ 240750 w 426363"/>
                <a:gd name="connsiteY16" fmla="*/ 38341 h 526455"/>
                <a:gd name="connsiteX17" fmla="*/ 317672 w 426363"/>
                <a:gd name="connsiteY17" fmla="*/ 0 h 526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6363" h="526455">
                  <a:moveTo>
                    <a:pt x="129808" y="126536"/>
                  </a:moveTo>
                  <a:cubicBezTo>
                    <a:pt x="164470" y="126536"/>
                    <a:pt x="195281" y="149608"/>
                    <a:pt x="218389" y="149608"/>
                  </a:cubicBezTo>
                  <a:cubicBezTo>
                    <a:pt x="237646" y="149608"/>
                    <a:pt x="276160" y="122690"/>
                    <a:pt x="318525" y="126536"/>
                  </a:cubicBezTo>
                  <a:cubicBezTo>
                    <a:pt x="333930" y="126536"/>
                    <a:pt x="383998" y="134226"/>
                    <a:pt x="414809" y="176526"/>
                  </a:cubicBezTo>
                  <a:cubicBezTo>
                    <a:pt x="410958" y="180371"/>
                    <a:pt x="357039" y="211134"/>
                    <a:pt x="357039" y="276505"/>
                  </a:cubicBezTo>
                  <a:cubicBezTo>
                    <a:pt x="357039" y="357258"/>
                    <a:pt x="426363" y="384176"/>
                    <a:pt x="426363" y="384176"/>
                  </a:cubicBezTo>
                  <a:cubicBezTo>
                    <a:pt x="426363" y="388022"/>
                    <a:pt x="418660" y="422630"/>
                    <a:pt x="391701" y="461084"/>
                  </a:cubicBezTo>
                  <a:cubicBezTo>
                    <a:pt x="368593" y="491847"/>
                    <a:pt x="345484" y="522610"/>
                    <a:pt x="310822" y="522610"/>
                  </a:cubicBezTo>
                  <a:cubicBezTo>
                    <a:pt x="276160" y="526455"/>
                    <a:pt x="264606" y="503383"/>
                    <a:pt x="222241" y="503383"/>
                  </a:cubicBezTo>
                  <a:cubicBezTo>
                    <a:pt x="183727" y="503383"/>
                    <a:pt x="172173" y="522610"/>
                    <a:pt x="137511" y="526455"/>
                  </a:cubicBezTo>
                  <a:cubicBezTo>
                    <a:pt x="102848" y="526455"/>
                    <a:pt x="75889" y="491847"/>
                    <a:pt x="52780" y="457238"/>
                  </a:cubicBezTo>
                  <a:cubicBezTo>
                    <a:pt x="10415" y="391867"/>
                    <a:pt x="-24247" y="272660"/>
                    <a:pt x="21970" y="191907"/>
                  </a:cubicBezTo>
                  <a:cubicBezTo>
                    <a:pt x="45078" y="153453"/>
                    <a:pt x="83591" y="126536"/>
                    <a:pt x="129808" y="126536"/>
                  </a:cubicBezTo>
                  <a:close/>
                  <a:moveTo>
                    <a:pt x="317672" y="0"/>
                  </a:moveTo>
                  <a:cubicBezTo>
                    <a:pt x="321518" y="30673"/>
                    <a:pt x="309980" y="61346"/>
                    <a:pt x="290749" y="84351"/>
                  </a:cubicBezTo>
                  <a:cubicBezTo>
                    <a:pt x="271519" y="103521"/>
                    <a:pt x="240750" y="122692"/>
                    <a:pt x="213827" y="118858"/>
                  </a:cubicBezTo>
                  <a:cubicBezTo>
                    <a:pt x="209981" y="88185"/>
                    <a:pt x="221519" y="57512"/>
                    <a:pt x="240750" y="38341"/>
                  </a:cubicBezTo>
                  <a:cubicBezTo>
                    <a:pt x="259980" y="15336"/>
                    <a:pt x="290749" y="0"/>
                    <a:pt x="317672" y="0"/>
                  </a:cubicBezTo>
                  <a:close/>
                </a:path>
              </a:pathLst>
            </a:custGeom>
            <a:solidFill>
              <a:srgbClr val="1E1E1E"/>
            </a:solidFill>
            <a:ln>
              <a:noFill/>
            </a:ln>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10" name="Group 13"/>
            <p:cNvGrpSpPr>
              <a:grpSpLocks noChangeAspect="1"/>
            </p:cNvGrpSpPr>
            <p:nvPr/>
          </p:nvGrpSpPr>
          <p:grpSpPr>
            <a:xfrm>
              <a:off x="10905966" y="5640344"/>
              <a:ext cx="217668" cy="259381"/>
              <a:chOff x="4130675" y="1004888"/>
              <a:chExt cx="4175126" cy="4975225"/>
            </a:xfrm>
          </p:grpSpPr>
          <p:sp>
            <p:nvSpPr>
              <p:cNvPr id="12" name="Freeform 10"/>
              <p:cNvSpPr>
                <a:spLocks/>
              </p:cNvSpPr>
              <p:nvPr/>
            </p:nvSpPr>
            <p:spPr bwMode="auto">
              <a:xfrm>
                <a:off x="4130675" y="2624135"/>
                <a:ext cx="609600" cy="1879601"/>
              </a:xfrm>
              <a:custGeom>
                <a:avLst/>
                <a:gdLst>
                  <a:gd name="T0" fmla="*/ 59 w 119"/>
                  <a:gd name="T1" fmla="*/ 0 h 367"/>
                  <a:gd name="T2" fmla="*/ 0 w 119"/>
                  <a:gd name="T3" fmla="*/ 60 h 367"/>
                  <a:gd name="T4" fmla="*/ 0 w 119"/>
                  <a:gd name="T5" fmla="*/ 60 h 367"/>
                  <a:gd name="T6" fmla="*/ 0 w 119"/>
                  <a:gd name="T7" fmla="*/ 160 h 367"/>
                  <a:gd name="T8" fmla="*/ 0 w 119"/>
                  <a:gd name="T9" fmla="*/ 208 h 367"/>
                  <a:gd name="T10" fmla="*/ 0 w 119"/>
                  <a:gd name="T11" fmla="*/ 308 h 367"/>
                  <a:gd name="T12" fmla="*/ 0 w 119"/>
                  <a:gd name="T13" fmla="*/ 308 h 367"/>
                  <a:gd name="T14" fmla="*/ 59 w 119"/>
                  <a:gd name="T15" fmla="*/ 367 h 367"/>
                  <a:gd name="T16" fmla="*/ 119 w 119"/>
                  <a:gd name="T17" fmla="*/ 308 h 367"/>
                  <a:gd name="T18" fmla="*/ 119 w 119"/>
                  <a:gd name="T19" fmla="*/ 308 h 367"/>
                  <a:gd name="T20" fmla="*/ 119 w 119"/>
                  <a:gd name="T21" fmla="*/ 208 h 367"/>
                  <a:gd name="T22" fmla="*/ 119 w 119"/>
                  <a:gd name="T23" fmla="*/ 160 h 367"/>
                  <a:gd name="T24" fmla="*/ 119 w 119"/>
                  <a:gd name="T25" fmla="*/ 60 h 367"/>
                  <a:gd name="T26" fmla="*/ 119 w 119"/>
                  <a:gd name="T27" fmla="*/ 60 h 367"/>
                  <a:gd name="T28" fmla="*/ 59 w 119"/>
                  <a:gd name="T29" fmla="*/ 0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9" h="367">
                    <a:moveTo>
                      <a:pt x="59" y="0"/>
                    </a:moveTo>
                    <a:cubicBezTo>
                      <a:pt x="27" y="0"/>
                      <a:pt x="0" y="27"/>
                      <a:pt x="0" y="60"/>
                    </a:cubicBezTo>
                    <a:cubicBezTo>
                      <a:pt x="0" y="60"/>
                      <a:pt x="0" y="60"/>
                      <a:pt x="0" y="60"/>
                    </a:cubicBezTo>
                    <a:cubicBezTo>
                      <a:pt x="0" y="160"/>
                      <a:pt x="0" y="160"/>
                      <a:pt x="0" y="160"/>
                    </a:cubicBezTo>
                    <a:cubicBezTo>
                      <a:pt x="0" y="208"/>
                      <a:pt x="0" y="208"/>
                      <a:pt x="0" y="208"/>
                    </a:cubicBezTo>
                    <a:cubicBezTo>
                      <a:pt x="0" y="308"/>
                      <a:pt x="0" y="308"/>
                      <a:pt x="0" y="308"/>
                    </a:cubicBezTo>
                    <a:cubicBezTo>
                      <a:pt x="0" y="308"/>
                      <a:pt x="0" y="308"/>
                      <a:pt x="0" y="308"/>
                    </a:cubicBezTo>
                    <a:cubicBezTo>
                      <a:pt x="0" y="341"/>
                      <a:pt x="27" y="367"/>
                      <a:pt x="59" y="367"/>
                    </a:cubicBezTo>
                    <a:cubicBezTo>
                      <a:pt x="92" y="367"/>
                      <a:pt x="119" y="341"/>
                      <a:pt x="119" y="308"/>
                    </a:cubicBezTo>
                    <a:cubicBezTo>
                      <a:pt x="119" y="308"/>
                      <a:pt x="119" y="308"/>
                      <a:pt x="119" y="308"/>
                    </a:cubicBezTo>
                    <a:cubicBezTo>
                      <a:pt x="119" y="208"/>
                      <a:pt x="119" y="208"/>
                      <a:pt x="119" y="208"/>
                    </a:cubicBezTo>
                    <a:cubicBezTo>
                      <a:pt x="119" y="160"/>
                      <a:pt x="119" y="160"/>
                      <a:pt x="119" y="160"/>
                    </a:cubicBezTo>
                    <a:cubicBezTo>
                      <a:pt x="119" y="60"/>
                      <a:pt x="119" y="60"/>
                      <a:pt x="119" y="60"/>
                    </a:cubicBezTo>
                    <a:cubicBezTo>
                      <a:pt x="119" y="60"/>
                      <a:pt x="119" y="60"/>
                      <a:pt x="119" y="60"/>
                    </a:cubicBezTo>
                    <a:cubicBezTo>
                      <a:pt x="119" y="27"/>
                      <a:pt x="92" y="0"/>
                      <a:pt x="59" y="0"/>
                    </a:cubicBezTo>
                    <a:close/>
                  </a:path>
                </a:pathLst>
              </a:custGeom>
              <a:solidFill>
                <a:srgbClr val="A4CA39"/>
              </a:solidFill>
              <a:ln w="9525">
                <a:noFill/>
                <a:round/>
                <a:headEnd/>
                <a:tailEnd/>
              </a:ln>
              <a:extLst/>
            </p:spPr>
            <p:txBody>
              <a:bodyPr vert="horz" wrap="square" lIns="89642" tIns="0" rIns="0" bIns="0" numCol="1" anchor="t" anchorCtr="0" compatLnSpc="1">
                <a:prstTxWarp prst="textNoShape">
                  <a:avLst/>
                </a:prstTxWarp>
              </a:bodyPr>
              <a:lstStyle/>
              <a:p>
                <a:endParaRPr lang="en-US" sz="500"/>
              </a:p>
            </p:txBody>
          </p:sp>
          <p:sp>
            <p:nvSpPr>
              <p:cNvPr id="13" name="Freeform 11"/>
              <p:cNvSpPr>
                <a:spLocks/>
              </p:cNvSpPr>
              <p:nvPr/>
            </p:nvSpPr>
            <p:spPr bwMode="auto">
              <a:xfrm>
                <a:off x="7700963" y="2624135"/>
                <a:ext cx="604838" cy="1879601"/>
              </a:xfrm>
              <a:custGeom>
                <a:avLst/>
                <a:gdLst>
                  <a:gd name="T0" fmla="*/ 118 w 118"/>
                  <a:gd name="T1" fmla="*/ 60 h 367"/>
                  <a:gd name="T2" fmla="*/ 59 w 118"/>
                  <a:gd name="T3" fmla="*/ 0 h 367"/>
                  <a:gd name="T4" fmla="*/ 0 w 118"/>
                  <a:gd name="T5" fmla="*/ 60 h 367"/>
                  <a:gd name="T6" fmla="*/ 0 w 118"/>
                  <a:gd name="T7" fmla="*/ 60 h 367"/>
                  <a:gd name="T8" fmla="*/ 0 w 118"/>
                  <a:gd name="T9" fmla="*/ 160 h 367"/>
                  <a:gd name="T10" fmla="*/ 0 w 118"/>
                  <a:gd name="T11" fmla="*/ 208 h 367"/>
                  <a:gd name="T12" fmla="*/ 0 w 118"/>
                  <a:gd name="T13" fmla="*/ 308 h 367"/>
                  <a:gd name="T14" fmla="*/ 0 w 118"/>
                  <a:gd name="T15" fmla="*/ 308 h 367"/>
                  <a:gd name="T16" fmla="*/ 59 w 118"/>
                  <a:gd name="T17" fmla="*/ 367 h 367"/>
                  <a:gd name="T18" fmla="*/ 118 w 118"/>
                  <a:gd name="T19" fmla="*/ 308 h 367"/>
                  <a:gd name="T20" fmla="*/ 118 w 118"/>
                  <a:gd name="T21" fmla="*/ 308 h 367"/>
                  <a:gd name="T22" fmla="*/ 118 w 118"/>
                  <a:gd name="T23" fmla="*/ 208 h 367"/>
                  <a:gd name="T24" fmla="*/ 118 w 118"/>
                  <a:gd name="T25" fmla="*/ 160 h 367"/>
                  <a:gd name="T26" fmla="*/ 118 w 118"/>
                  <a:gd name="T27" fmla="*/ 60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8" h="367">
                    <a:moveTo>
                      <a:pt x="118" y="60"/>
                    </a:moveTo>
                    <a:cubicBezTo>
                      <a:pt x="118" y="27"/>
                      <a:pt x="92" y="0"/>
                      <a:pt x="59" y="0"/>
                    </a:cubicBezTo>
                    <a:cubicBezTo>
                      <a:pt x="26" y="0"/>
                      <a:pt x="0" y="27"/>
                      <a:pt x="0" y="60"/>
                    </a:cubicBezTo>
                    <a:cubicBezTo>
                      <a:pt x="0" y="60"/>
                      <a:pt x="0" y="60"/>
                      <a:pt x="0" y="60"/>
                    </a:cubicBezTo>
                    <a:cubicBezTo>
                      <a:pt x="0" y="160"/>
                      <a:pt x="0" y="160"/>
                      <a:pt x="0" y="160"/>
                    </a:cubicBezTo>
                    <a:cubicBezTo>
                      <a:pt x="0" y="208"/>
                      <a:pt x="0" y="208"/>
                      <a:pt x="0" y="208"/>
                    </a:cubicBezTo>
                    <a:cubicBezTo>
                      <a:pt x="0" y="308"/>
                      <a:pt x="0" y="308"/>
                      <a:pt x="0" y="308"/>
                    </a:cubicBezTo>
                    <a:cubicBezTo>
                      <a:pt x="0" y="308"/>
                      <a:pt x="0" y="308"/>
                      <a:pt x="0" y="308"/>
                    </a:cubicBezTo>
                    <a:cubicBezTo>
                      <a:pt x="0" y="341"/>
                      <a:pt x="26" y="367"/>
                      <a:pt x="59" y="367"/>
                    </a:cubicBezTo>
                    <a:cubicBezTo>
                      <a:pt x="92" y="367"/>
                      <a:pt x="118" y="341"/>
                      <a:pt x="118" y="308"/>
                    </a:cubicBezTo>
                    <a:cubicBezTo>
                      <a:pt x="118" y="308"/>
                      <a:pt x="118" y="308"/>
                      <a:pt x="118" y="308"/>
                    </a:cubicBezTo>
                    <a:cubicBezTo>
                      <a:pt x="118" y="208"/>
                      <a:pt x="118" y="208"/>
                      <a:pt x="118" y="208"/>
                    </a:cubicBezTo>
                    <a:cubicBezTo>
                      <a:pt x="118" y="160"/>
                      <a:pt x="118" y="160"/>
                      <a:pt x="118" y="160"/>
                    </a:cubicBezTo>
                    <a:cubicBezTo>
                      <a:pt x="118" y="60"/>
                      <a:pt x="118" y="60"/>
                      <a:pt x="118" y="60"/>
                    </a:cubicBezTo>
                    <a:close/>
                  </a:path>
                </a:pathLst>
              </a:custGeom>
              <a:solidFill>
                <a:srgbClr val="A4CA39"/>
              </a:solidFill>
              <a:ln w="9525">
                <a:noFill/>
                <a:round/>
                <a:headEnd/>
                <a:tailEnd/>
              </a:ln>
              <a:extLst/>
            </p:spPr>
            <p:txBody>
              <a:bodyPr vert="horz" wrap="square" lIns="89642" tIns="0" rIns="0" bIns="0" numCol="1" anchor="t" anchorCtr="0" compatLnSpc="1">
                <a:prstTxWarp prst="textNoShape">
                  <a:avLst/>
                </a:prstTxWarp>
              </a:bodyPr>
              <a:lstStyle/>
              <a:p>
                <a:endParaRPr lang="en-US" sz="500"/>
              </a:p>
            </p:txBody>
          </p:sp>
          <p:sp>
            <p:nvSpPr>
              <p:cNvPr id="14" name="Freeform 12"/>
              <p:cNvSpPr>
                <a:spLocks/>
              </p:cNvSpPr>
              <p:nvPr/>
            </p:nvSpPr>
            <p:spPr bwMode="auto">
              <a:xfrm>
                <a:off x="4848226" y="2679700"/>
                <a:ext cx="2740023" cy="3300413"/>
              </a:xfrm>
              <a:custGeom>
                <a:avLst/>
                <a:gdLst>
                  <a:gd name="T0" fmla="*/ 3 w 535"/>
                  <a:gd name="T1" fmla="*/ 0 h 644"/>
                  <a:gd name="T2" fmla="*/ 0 w 535"/>
                  <a:gd name="T3" fmla="*/ 0 h 644"/>
                  <a:gd name="T4" fmla="*/ 0 w 535"/>
                  <a:gd name="T5" fmla="*/ 390 h 644"/>
                  <a:gd name="T6" fmla="*/ 59 w 535"/>
                  <a:gd name="T7" fmla="*/ 449 h 644"/>
                  <a:gd name="T8" fmla="*/ 109 w 535"/>
                  <a:gd name="T9" fmla="*/ 449 h 644"/>
                  <a:gd name="T10" fmla="*/ 109 w 535"/>
                  <a:gd name="T11" fmla="*/ 485 h 644"/>
                  <a:gd name="T12" fmla="*/ 109 w 535"/>
                  <a:gd name="T13" fmla="*/ 585 h 644"/>
                  <a:gd name="T14" fmla="*/ 109 w 535"/>
                  <a:gd name="T15" fmla="*/ 585 h 644"/>
                  <a:gd name="T16" fmla="*/ 168 w 535"/>
                  <a:gd name="T17" fmla="*/ 644 h 644"/>
                  <a:gd name="T18" fmla="*/ 227 w 535"/>
                  <a:gd name="T19" fmla="*/ 585 h 644"/>
                  <a:gd name="T20" fmla="*/ 227 w 535"/>
                  <a:gd name="T21" fmla="*/ 585 h 644"/>
                  <a:gd name="T22" fmla="*/ 227 w 535"/>
                  <a:gd name="T23" fmla="*/ 485 h 644"/>
                  <a:gd name="T24" fmla="*/ 227 w 535"/>
                  <a:gd name="T25" fmla="*/ 449 h 644"/>
                  <a:gd name="T26" fmla="*/ 308 w 535"/>
                  <a:gd name="T27" fmla="*/ 449 h 644"/>
                  <a:gd name="T28" fmla="*/ 308 w 535"/>
                  <a:gd name="T29" fmla="*/ 485 h 644"/>
                  <a:gd name="T30" fmla="*/ 308 w 535"/>
                  <a:gd name="T31" fmla="*/ 585 h 644"/>
                  <a:gd name="T32" fmla="*/ 367 w 535"/>
                  <a:gd name="T33" fmla="*/ 644 h 644"/>
                  <a:gd name="T34" fmla="*/ 426 w 535"/>
                  <a:gd name="T35" fmla="*/ 585 h 644"/>
                  <a:gd name="T36" fmla="*/ 426 w 535"/>
                  <a:gd name="T37" fmla="*/ 485 h 644"/>
                  <a:gd name="T38" fmla="*/ 426 w 535"/>
                  <a:gd name="T39" fmla="*/ 449 h 644"/>
                  <a:gd name="T40" fmla="*/ 476 w 535"/>
                  <a:gd name="T41" fmla="*/ 449 h 644"/>
                  <a:gd name="T42" fmla="*/ 535 w 535"/>
                  <a:gd name="T43" fmla="*/ 390 h 644"/>
                  <a:gd name="T44" fmla="*/ 535 w 535"/>
                  <a:gd name="T45" fmla="*/ 0 h 644"/>
                  <a:gd name="T46" fmla="*/ 534 w 535"/>
                  <a:gd name="T47" fmla="*/ 0 h 644"/>
                  <a:gd name="T48" fmla="*/ 3 w 535"/>
                  <a:gd name="T49" fmla="*/ 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5" h="644">
                    <a:moveTo>
                      <a:pt x="3" y="0"/>
                    </a:moveTo>
                    <a:cubicBezTo>
                      <a:pt x="0" y="0"/>
                      <a:pt x="0" y="0"/>
                      <a:pt x="0" y="0"/>
                    </a:cubicBezTo>
                    <a:cubicBezTo>
                      <a:pt x="0" y="390"/>
                      <a:pt x="0" y="390"/>
                      <a:pt x="0" y="390"/>
                    </a:cubicBezTo>
                    <a:cubicBezTo>
                      <a:pt x="0" y="423"/>
                      <a:pt x="26" y="449"/>
                      <a:pt x="59" y="449"/>
                    </a:cubicBezTo>
                    <a:cubicBezTo>
                      <a:pt x="109" y="449"/>
                      <a:pt x="109" y="449"/>
                      <a:pt x="109" y="449"/>
                    </a:cubicBezTo>
                    <a:cubicBezTo>
                      <a:pt x="109" y="485"/>
                      <a:pt x="109" y="485"/>
                      <a:pt x="109" y="485"/>
                    </a:cubicBezTo>
                    <a:cubicBezTo>
                      <a:pt x="109" y="585"/>
                      <a:pt x="109" y="585"/>
                      <a:pt x="109" y="585"/>
                    </a:cubicBezTo>
                    <a:cubicBezTo>
                      <a:pt x="109" y="585"/>
                      <a:pt x="109" y="585"/>
                      <a:pt x="109" y="585"/>
                    </a:cubicBezTo>
                    <a:cubicBezTo>
                      <a:pt x="109" y="618"/>
                      <a:pt x="135" y="644"/>
                      <a:pt x="168" y="644"/>
                    </a:cubicBezTo>
                    <a:cubicBezTo>
                      <a:pt x="201" y="644"/>
                      <a:pt x="227" y="618"/>
                      <a:pt x="227" y="585"/>
                    </a:cubicBezTo>
                    <a:cubicBezTo>
                      <a:pt x="227" y="585"/>
                      <a:pt x="227" y="585"/>
                      <a:pt x="227" y="585"/>
                    </a:cubicBezTo>
                    <a:cubicBezTo>
                      <a:pt x="227" y="485"/>
                      <a:pt x="227" y="485"/>
                      <a:pt x="227" y="485"/>
                    </a:cubicBezTo>
                    <a:cubicBezTo>
                      <a:pt x="227" y="449"/>
                      <a:pt x="227" y="449"/>
                      <a:pt x="227" y="449"/>
                    </a:cubicBezTo>
                    <a:cubicBezTo>
                      <a:pt x="308" y="449"/>
                      <a:pt x="308" y="449"/>
                      <a:pt x="308" y="449"/>
                    </a:cubicBezTo>
                    <a:cubicBezTo>
                      <a:pt x="308" y="485"/>
                      <a:pt x="308" y="485"/>
                      <a:pt x="308" y="485"/>
                    </a:cubicBezTo>
                    <a:cubicBezTo>
                      <a:pt x="308" y="585"/>
                      <a:pt x="308" y="585"/>
                      <a:pt x="308" y="585"/>
                    </a:cubicBezTo>
                    <a:cubicBezTo>
                      <a:pt x="308" y="618"/>
                      <a:pt x="334" y="644"/>
                      <a:pt x="367" y="644"/>
                    </a:cubicBezTo>
                    <a:cubicBezTo>
                      <a:pt x="400" y="644"/>
                      <a:pt x="426" y="618"/>
                      <a:pt x="426" y="585"/>
                    </a:cubicBezTo>
                    <a:cubicBezTo>
                      <a:pt x="426" y="485"/>
                      <a:pt x="426" y="485"/>
                      <a:pt x="426" y="485"/>
                    </a:cubicBezTo>
                    <a:cubicBezTo>
                      <a:pt x="426" y="449"/>
                      <a:pt x="426" y="449"/>
                      <a:pt x="426" y="449"/>
                    </a:cubicBezTo>
                    <a:cubicBezTo>
                      <a:pt x="476" y="449"/>
                      <a:pt x="476" y="449"/>
                      <a:pt x="476" y="449"/>
                    </a:cubicBezTo>
                    <a:cubicBezTo>
                      <a:pt x="509" y="449"/>
                      <a:pt x="535" y="423"/>
                      <a:pt x="535" y="390"/>
                    </a:cubicBezTo>
                    <a:cubicBezTo>
                      <a:pt x="535" y="0"/>
                      <a:pt x="535" y="0"/>
                      <a:pt x="535" y="0"/>
                    </a:cubicBezTo>
                    <a:cubicBezTo>
                      <a:pt x="534" y="0"/>
                      <a:pt x="534" y="0"/>
                      <a:pt x="534" y="0"/>
                    </a:cubicBezTo>
                    <a:lnTo>
                      <a:pt x="3" y="0"/>
                    </a:lnTo>
                    <a:close/>
                  </a:path>
                </a:pathLst>
              </a:custGeom>
              <a:solidFill>
                <a:srgbClr val="A4CA39"/>
              </a:solidFill>
              <a:ln w="9525">
                <a:noFill/>
                <a:round/>
                <a:headEnd/>
                <a:tailEnd/>
              </a:ln>
              <a:extLst/>
            </p:spPr>
            <p:txBody>
              <a:bodyPr vert="horz" wrap="square" lIns="89642" tIns="0" rIns="0" bIns="0" numCol="1" anchor="t" anchorCtr="0" compatLnSpc="1">
                <a:prstTxWarp prst="textNoShape">
                  <a:avLst/>
                </a:prstTxWarp>
              </a:bodyPr>
              <a:lstStyle/>
              <a:p>
                <a:endParaRPr lang="en-US" sz="500"/>
              </a:p>
            </p:txBody>
          </p:sp>
          <p:sp>
            <p:nvSpPr>
              <p:cNvPr id="15" name="Freeform 13"/>
              <p:cNvSpPr>
                <a:spLocks noEditPoints="1"/>
              </p:cNvSpPr>
              <p:nvPr/>
            </p:nvSpPr>
            <p:spPr bwMode="auto">
              <a:xfrm>
                <a:off x="4848227" y="1004888"/>
                <a:ext cx="2740022" cy="1566870"/>
              </a:xfrm>
              <a:custGeom>
                <a:avLst/>
                <a:gdLst>
                  <a:gd name="T0" fmla="*/ 535 w 535"/>
                  <a:gd name="T1" fmla="*/ 306 h 306"/>
                  <a:gd name="T2" fmla="*/ 535 w 535"/>
                  <a:gd name="T3" fmla="*/ 278 h 306"/>
                  <a:gd name="T4" fmla="*/ 531 w 535"/>
                  <a:gd name="T5" fmla="*/ 254 h 306"/>
                  <a:gd name="T6" fmla="*/ 402 w 535"/>
                  <a:gd name="T7" fmla="*/ 91 h 306"/>
                  <a:gd name="T8" fmla="*/ 443 w 535"/>
                  <a:gd name="T9" fmla="*/ 16 h 306"/>
                  <a:gd name="T10" fmla="*/ 439 w 535"/>
                  <a:gd name="T11" fmla="*/ 3 h 306"/>
                  <a:gd name="T12" fmla="*/ 426 w 535"/>
                  <a:gd name="T13" fmla="*/ 7 h 306"/>
                  <a:gd name="T14" fmla="*/ 384 w 535"/>
                  <a:gd name="T15" fmla="*/ 83 h 306"/>
                  <a:gd name="T16" fmla="*/ 268 w 535"/>
                  <a:gd name="T17" fmla="*/ 59 h 306"/>
                  <a:gd name="T18" fmla="*/ 151 w 535"/>
                  <a:gd name="T19" fmla="*/ 83 h 306"/>
                  <a:gd name="T20" fmla="*/ 109 w 535"/>
                  <a:gd name="T21" fmla="*/ 7 h 306"/>
                  <a:gd name="T22" fmla="*/ 96 w 535"/>
                  <a:gd name="T23" fmla="*/ 3 h 306"/>
                  <a:gd name="T24" fmla="*/ 93 w 535"/>
                  <a:gd name="T25" fmla="*/ 16 h 306"/>
                  <a:gd name="T26" fmla="*/ 134 w 535"/>
                  <a:gd name="T27" fmla="*/ 92 h 306"/>
                  <a:gd name="T28" fmla="*/ 7 w 535"/>
                  <a:gd name="T29" fmla="*/ 245 h 306"/>
                  <a:gd name="T30" fmla="*/ 0 w 535"/>
                  <a:gd name="T31" fmla="*/ 298 h 306"/>
                  <a:gd name="T32" fmla="*/ 0 w 535"/>
                  <a:gd name="T33" fmla="*/ 306 h 306"/>
                  <a:gd name="T34" fmla="*/ 535 w 535"/>
                  <a:gd name="T35" fmla="*/ 306 h 306"/>
                  <a:gd name="T36" fmla="*/ 389 w 535"/>
                  <a:gd name="T37" fmla="*/ 161 h 306"/>
                  <a:gd name="T38" fmla="*/ 415 w 535"/>
                  <a:gd name="T39" fmla="*/ 186 h 306"/>
                  <a:gd name="T40" fmla="*/ 389 w 535"/>
                  <a:gd name="T41" fmla="*/ 211 h 306"/>
                  <a:gd name="T42" fmla="*/ 364 w 535"/>
                  <a:gd name="T43" fmla="*/ 186 h 306"/>
                  <a:gd name="T44" fmla="*/ 389 w 535"/>
                  <a:gd name="T45" fmla="*/ 161 h 306"/>
                  <a:gd name="T46" fmla="*/ 146 w 535"/>
                  <a:gd name="T47" fmla="*/ 161 h 306"/>
                  <a:gd name="T48" fmla="*/ 171 w 535"/>
                  <a:gd name="T49" fmla="*/ 186 h 306"/>
                  <a:gd name="T50" fmla="*/ 146 w 535"/>
                  <a:gd name="T51" fmla="*/ 211 h 306"/>
                  <a:gd name="T52" fmla="*/ 121 w 535"/>
                  <a:gd name="T53" fmla="*/ 186 h 306"/>
                  <a:gd name="T54" fmla="*/ 146 w 535"/>
                  <a:gd name="T55" fmla="*/ 161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35" h="306">
                    <a:moveTo>
                      <a:pt x="535" y="306"/>
                    </a:moveTo>
                    <a:cubicBezTo>
                      <a:pt x="535" y="278"/>
                      <a:pt x="535" y="278"/>
                      <a:pt x="535" y="278"/>
                    </a:cubicBezTo>
                    <a:cubicBezTo>
                      <a:pt x="534" y="269"/>
                      <a:pt x="533" y="261"/>
                      <a:pt x="531" y="254"/>
                    </a:cubicBezTo>
                    <a:cubicBezTo>
                      <a:pt x="517" y="184"/>
                      <a:pt x="468" y="125"/>
                      <a:pt x="402" y="91"/>
                    </a:cubicBezTo>
                    <a:cubicBezTo>
                      <a:pt x="443" y="16"/>
                      <a:pt x="443" y="16"/>
                      <a:pt x="443" y="16"/>
                    </a:cubicBezTo>
                    <a:cubicBezTo>
                      <a:pt x="445" y="11"/>
                      <a:pt x="443" y="5"/>
                      <a:pt x="439" y="3"/>
                    </a:cubicBezTo>
                    <a:cubicBezTo>
                      <a:pt x="434" y="0"/>
                      <a:pt x="428" y="2"/>
                      <a:pt x="426" y="7"/>
                    </a:cubicBezTo>
                    <a:cubicBezTo>
                      <a:pt x="384" y="83"/>
                      <a:pt x="384" y="83"/>
                      <a:pt x="384" y="83"/>
                    </a:cubicBezTo>
                    <a:cubicBezTo>
                      <a:pt x="349" y="68"/>
                      <a:pt x="310" y="59"/>
                      <a:pt x="268" y="59"/>
                    </a:cubicBezTo>
                    <a:cubicBezTo>
                      <a:pt x="226" y="59"/>
                      <a:pt x="186" y="68"/>
                      <a:pt x="151" y="83"/>
                    </a:cubicBezTo>
                    <a:cubicBezTo>
                      <a:pt x="109" y="7"/>
                      <a:pt x="109" y="7"/>
                      <a:pt x="109" y="7"/>
                    </a:cubicBezTo>
                    <a:cubicBezTo>
                      <a:pt x="107" y="2"/>
                      <a:pt x="101" y="0"/>
                      <a:pt x="96" y="3"/>
                    </a:cubicBezTo>
                    <a:cubicBezTo>
                      <a:pt x="92" y="5"/>
                      <a:pt x="90" y="11"/>
                      <a:pt x="93" y="16"/>
                    </a:cubicBezTo>
                    <a:cubicBezTo>
                      <a:pt x="134" y="92"/>
                      <a:pt x="134" y="92"/>
                      <a:pt x="134" y="92"/>
                    </a:cubicBezTo>
                    <a:cubicBezTo>
                      <a:pt x="70" y="124"/>
                      <a:pt x="23" y="180"/>
                      <a:pt x="7" y="245"/>
                    </a:cubicBezTo>
                    <a:cubicBezTo>
                      <a:pt x="3" y="262"/>
                      <a:pt x="0" y="280"/>
                      <a:pt x="0" y="298"/>
                    </a:cubicBezTo>
                    <a:cubicBezTo>
                      <a:pt x="0" y="301"/>
                      <a:pt x="0" y="303"/>
                      <a:pt x="0" y="306"/>
                    </a:cubicBezTo>
                    <a:lnTo>
                      <a:pt x="535" y="306"/>
                    </a:lnTo>
                    <a:close/>
                    <a:moveTo>
                      <a:pt x="389" y="161"/>
                    </a:moveTo>
                    <a:cubicBezTo>
                      <a:pt x="403" y="161"/>
                      <a:pt x="415" y="172"/>
                      <a:pt x="415" y="186"/>
                    </a:cubicBezTo>
                    <a:cubicBezTo>
                      <a:pt x="415" y="200"/>
                      <a:pt x="403" y="211"/>
                      <a:pt x="389" y="211"/>
                    </a:cubicBezTo>
                    <a:cubicBezTo>
                      <a:pt x="376" y="211"/>
                      <a:pt x="364" y="200"/>
                      <a:pt x="364" y="186"/>
                    </a:cubicBezTo>
                    <a:cubicBezTo>
                      <a:pt x="364" y="172"/>
                      <a:pt x="376" y="161"/>
                      <a:pt x="389" y="161"/>
                    </a:cubicBezTo>
                    <a:close/>
                    <a:moveTo>
                      <a:pt x="146" y="161"/>
                    </a:moveTo>
                    <a:cubicBezTo>
                      <a:pt x="160" y="161"/>
                      <a:pt x="171" y="172"/>
                      <a:pt x="171" y="186"/>
                    </a:cubicBezTo>
                    <a:cubicBezTo>
                      <a:pt x="171" y="200"/>
                      <a:pt x="160" y="211"/>
                      <a:pt x="146" y="211"/>
                    </a:cubicBezTo>
                    <a:cubicBezTo>
                      <a:pt x="132" y="211"/>
                      <a:pt x="121" y="200"/>
                      <a:pt x="121" y="186"/>
                    </a:cubicBezTo>
                    <a:cubicBezTo>
                      <a:pt x="121" y="172"/>
                      <a:pt x="132" y="161"/>
                      <a:pt x="146" y="161"/>
                    </a:cubicBezTo>
                    <a:close/>
                  </a:path>
                </a:pathLst>
              </a:custGeom>
              <a:solidFill>
                <a:srgbClr val="A4CA39"/>
              </a:solidFill>
              <a:ln w="9525">
                <a:noFill/>
                <a:round/>
                <a:headEnd/>
                <a:tailEnd/>
              </a:ln>
              <a:extLst/>
            </p:spPr>
            <p:txBody>
              <a:bodyPr vert="horz" wrap="square" lIns="89642" tIns="0" rIns="0" bIns="0" numCol="1" anchor="t" anchorCtr="0" compatLnSpc="1">
                <a:prstTxWarp prst="textNoShape">
                  <a:avLst/>
                </a:prstTxWarp>
              </a:bodyPr>
              <a:lstStyle/>
              <a:p>
                <a:endParaRPr lang="en-US" sz="500"/>
              </a:p>
            </p:txBody>
          </p:sp>
        </p:grpSp>
        <p:sp>
          <p:nvSpPr>
            <p:cNvPr id="11" name="Freeform 20"/>
            <p:cNvSpPr>
              <a:spLocks noChangeAspect="1" noEditPoints="1"/>
            </p:cNvSpPr>
            <p:nvPr/>
          </p:nvSpPr>
          <p:spPr bwMode="black">
            <a:xfrm>
              <a:off x="10475955" y="5641158"/>
              <a:ext cx="217084" cy="216202"/>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079D6"/>
            </a:solidFill>
            <a:ln>
              <a:noFill/>
            </a:ln>
            <a:extLst/>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latin typeface="Segoe UI"/>
              </a:endParaRPr>
            </a:p>
          </p:txBody>
        </p:sp>
      </p:grpSp>
      <p:sp>
        <p:nvSpPr>
          <p:cNvPr id="16" name="Right Arrow 21"/>
          <p:cNvSpPr/>
          <p:nvPr/>
        </p:nvSpPr>
        <p:spPr>
          <a:xfrm rot="5400000">
            <a:off x="5887978" y="2585657"/>
            <a:ext cx="274718" cy="345138"/>
          </a:xfrm>
          <a:prstGeom prst="rightArrow">
            <a:avLst/>
          </a:prstGeom>
          <a:solidFill>
            <a:srgbClr val="EDC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pic>
        <p:nvPicPr>
          <p:cNvPr id="17" name="Picture 2" descr="https://upload.wikimedia.org/wikipedia/en/thumb/1/15/Logo_D3.svg/632px-Logo_D3.svg.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17600" y="2041919"/>
            <a:ext cx="475024" cy="450972"/>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oup 71"/>
          <p:cNvGrpSpPr/>
          <p:nvPr/>
        </p:nvGrpSpPr>
        <p:grpSpPr>
          <a:xfrm>
            <a:off x="2960464" y="3279476"/>
            <a:ext cx="6216612" cy="2804466"/>
            <a:chOff x="5508171" y="2648857"/>
            <a:chExt cx="6216612" cy="2804466"/>
          </a:xfrm>
        </p:grpSpPr>
        <p:pic>
          <p:nvPicPr>
            <p:cNvPr id="19" name="Picture 9"/>
            <p:cNvPicPr>
              <a:picLocks noChangeAspect="1"/>
            </p:cNvPicPr>
            <p:nvPr/>
          </p:nvPicPr>
          <p:blipFill rotWithShape="1">
            <a:blip r:embed="rId5" cstate="print">
              <a:extLst>
                <a:ext uri="{28A0092B-C50C-407E-A947-70E740481C1C}">
                  <a14:useLocalDpi xmlns:a14="http://schemas.microsoft.com/office/drawing/2010/main" val="0"/>
                </a:ext>
              </a:extLst>
            </a:blip>
            <a:srcRect l="3369" t="6680" r="29021" b="6414"/>
            <a:stretch/>
          </p:blipFill>
          <p:spPr>
            <a:xfrm>
              <a:off x="5508171" y="2648857"/>
              <a:ext cx="4537730" cy="2804466"/>
            </a:xfrm>
            <a:prstGeom prst="rect">
              <a:avLst/>
            </a:prstGeom>
          </p:spPr>
        </p:pic>
        <p:grpSp>
          <p:nvGrpSpPr>
            <p:cNvPr id="20" name="Group 70"/>
            <p:cNvGrpSpPr/>
            <p:nvPr/>
          </p:nvGrpSpPr>
          <p:grpSpPr>
            <a:xfrm>
              <a:off x="6002958" y="2837999"/>
              <a:ext cx="3841310" cy="2266377"/>
              <a:chOff x="6002958" y="2837999"/>
              <a:chExt cx="3841310" cy="2266377"/>
            </a:xfrm>
          </p:grpSpPr>
          <p:grpSp>
            <p:nvGrpSpPr>
              <p:cNvPr id="74" name="Group 50"/>
              <p:cNvGrpSpPr/>
              <p:nvPr/>
            </p:nvGrpSpPr>
            <p:grpSpPr>
              <a:xfrm>
                <a:off x="6120567" y="4453100"/>
                <a:ext cx="2404209" cy="651276"/>
                <a:chOff x="-2653979" y="3205843"/>
                <a:chExt cx="2208776" cy="1551273"/>
              </a:xfrm>
            </p:grpSpPr>
            <p:sp>
              <p:nvSpPr>
                <p:cNvPr id="96" name="Rectangle 23"/>
                <p:cNvSpPr/>
                <p:nvPr/>
              </p:nvSpPr>
              <p:spPr>
                <a:xfrm>
                  <a:off x="-2653979" y="3205843"/>
                  <a:ext cx="2208776" cy="155127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7" name="Group 24"/>
                <p:cNvGrpSpPr/>
                <p:nvPr/>
              </p:nvGrpSpPr>
              <p:grpSpPr>
                <a:xfrm>
                  <a:off x="-2519788" y="3485769"/>
                  <a:ext cx="1920244" cy="991420"/>
                  <a:chOff x="578918" y="4230914"/>
                  <a:chExt cx="1836673" cy="785213"/>
                </a:xfrm>
              </p:grpSpPr>
              <p:cxnSp>
                <p:nvCxnSpPr>
                  <p:cNvPr id="98" name="Straight Connector 45"/>
                  <p:cNvCxnSpPr/>
                  <p:nvPr/>
                </p:nvCxnSpPr>
                <p:spPr>
                  <a:xfrm>
                    <a:off x="578918" y="4230914"/>
                    <a:ext cx="1836673" cy="0"/>
                  </a:xfrm>
                  <a:prstGeom prst="line">
                    <a:avLst/>
                  </a:prstGeom>
                  <a:ln w="12700">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99" name="Straight Connector 46"/>
                  <p:cNvCxnSpPr/>
                  <p:nvPr/>
                </p:nvCxnSpPr>
                <p:spPr>
                  <a:xfrm>
                    <a:off x="578918" y="4427217"/>
                    <a:ext cx="1836673" cy="0"/>
                  </a:xfrm>
                  <a:prstGeom prst="line">
                    <a:avLst/>
                  </a:prstGeom>
                  <a:ln w="12700">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00" name="Straight Connector 47"/>
                  <p:cNvCxnSpPr/>
                  <p:nvPr/>
                </p:nvCxnSpPr>
                <p:spPr>
                  <a:xfrm>
                    <a:off x="578918" y="4623520"/>
                    <a:ext cx="1836673" cy="0"/>
                  </a:xfrm>
                  <a:prstGeom prst="line">
                    <a:avLst/>
                  </a:prstGeom>
                  <a:ln w="12700">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01" name="Straight Connector 48"/>
                  <p:cNvCxnSpPr/>
                  <p:nvPr/>
                </p:nvCxnSpPr>
                <p:spPr>
                  <a:xfrm>
                    <a:off x="578918" y="4819823"/>
                    <a:ext cx="1836673" cy="0"/>
                  </a:xfrm>
                  <a:prstGeom prst="line">
                    <a:avLst/>
                  </a:prstGeom>
                  <a:ln w="12700">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02" name="Straight Connector 49"/>
                  <p:cNvCxnSpPr/>
                  <p:nvPr/>
                </p:nvCxnSpPr>
                <p:spPr>
                  <a:xfrm>
                    <a:off x="578918" y="5016127"/>
                    <a:ext cx="1836673" cy="0"/>
                  </a:xfrm>
                  <a:prstGeom prst="line">
                    <a:avLst/>
                  </a:prstGeom>
                  <a:ln w="12700">
                    <a:solidFill>
                      <a:srgbClr val="E6E6E7"/>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75" name="Group 52"/>
              <p:cNvGrpSpPr/>
              <p:nvPr/>
            </p:nvGrpSpPr>
            <p:grpSpPr>
              <a:xfrm>
                <a:off x="8524776" y="2950602"/>
                <a:ext cx="1319492" cy="2153773"/>
                <a:chOff x="-4889270" y="1105572"/>
                <a:chExt cx="2116442" cy="3651543"/>
              </a:xfrm>
            </p:grpSpPr>
            <p:sp>
              <p:nvSpPr>
                <p:cNvPr id="80" name="Rectangle 53"/>
                <p:cNvSpPr/>
                <p:nvPr/>
              </p:nvSpPr>
              <p:spPr>
                <a:xfrm>
                  <a:off x="-4889270" y="1105572"/>
                  <a:ext cx="2116442" cy="365154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p>
              </p:txBody>
            </p:sp>
            <p:cxnSp>
              <p:nvCxnSpPr>
                <p:cNvPr id="81" name="Straight Connector 54"/>
                <p:cNvCxnSpPr/>
                <p:nvPr/>
              </p:nvCxnSpPr>
              <p:spPr>
                <a:xfrm>
                  <a:off x="-4774213" y="1287242"/>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82" name="Straight Connector 55"/>
                <p:cNvCxnSpPr/>
                <p:nvPr/>
              </p:nvCxnSpPr>
              <p:spPr>
                <a:xfrm>
                  <a:off x="-4774213" y="1523811"/>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83" name="Straight Connector 56"/>
                <p:cNvCxnSpPr/>
                <p:nvPr/>
              </p:nvCxnSpPr>
              <p:spPr>
                <a:xfrm flipH="1">
                  <a:off x="-4774213" y="1760380"/>
                  <a:ext cx="1889357" cy="0"/>
                </a:xfrm>
                <a:prstGeom prst="line">
                  <a:avLst/>
                </a:prstGeom>
                <a:ln w="1270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84" name="Straight Connector 57"/>
                <p:cNvCxnSpPr/>
                <p:nvPr/>
              </p:nvCxnSpPr>
              <p:spPr>
                <a:xfrm>
                  <a:off x="-4774213" y="1996949"/>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85" name="Straight Connector 58"/>
                <p:cNvCxnSpPr/>
                <p:nvPr/>
              </p:nvCxnSpPr>
              <p:spPr>
                <a:xfrm>
                  <a:off x="-4774213" y="2233518"/>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86" name="Straight Connector 59"/>
                <p:cNvCxnSpPr/>
                <p:nvPr/>
              </p:nvCxnSpPr>
              <p:spPr>
                <a:xfrm>
                  <a:off x="-4774213" y="2470087"/>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87" name="Straight Connector 60"/>
                <p:cNvCxnSpPr/>
                <p:nvPr/>
              </p:nvCxnSpPr>
              <p:spPr>
                <a:xfrm>
                  <a:off x="-4774213" y="2706656"/>
                  <a:ext cx="1889357" cy="0"/>
                </a:xfrm>
                <a:prstGeom prst="line">
                  <a:avLst/>
                </a:prstGeom>
                <a:ln w="1270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88" name="Straight Connector 61"/>
                <p:cNvCxnSpPr/>
                <p:nvPr/>
              </p:nvCxnSpPr>
              <p:spPr>
                <a:xfrm>
                  <a:off x="-4774213" y="2943225"/>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89" name="Straight Connector 62"/>
                <p:cNvCxnSpPr/>
                <p:nvPr/>
              </p:nvCxnSpPr>
              <p:spPr>
                <a:xfrm>
                  <a:off x="-4774213" y="3179794"/>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90" name="Straight Connector 63"/>
                <p:cNvCxnSpPr/>
                <p:nvPr/>
              </p:nvCxnSpPr>
              <p:spPr>
                <a:xfrm>
                  <a:off x="-4774213" y="3416363"/>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91" name="Straight Connector 64"/>
                <p:cNvCxnSpPr/>
                <p:nvPr/>
              </p:nvCxnSpPr>
              <p:spPr>
                <a:xfrm flipH="1">
                  <a:off x="-4774213" y="3652932"/>
                  <a:ext cx="1889357" cy="0"/>
                </a:xfrm>
                <a:prstGeom prst="line">
                  <a:avLst/>
                </a:prstGeom>
                <a:ln w="1270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92" name="Straight Connector 65"/>
                <p:cNvCxnSpPr/>
                <p:nvPr/>
              </p:nvCxnSpPr>
              <p:spPr>
                <a:xfrm>
                  <a:off x="-4774213" y="3889501"/>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93" name="Straight Connector 66"/>
                <p:cNvCxnSpPr/>
                <p:nvPr/>
              </p:nvCxnSpPr>
              <p:spPr>
                <a:xfrm>
                  <a:off x="-4774213" y="4126070"/>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94" name="Straight Connector 67"/>
                <p:cNvCxnSpPr/>
                <p:nvPr/>
              </p:nvCxnSpPr>
              <p:spPr>
                <a:xfrm>
                  <a:off x="-4774213" y="4362639"/>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95" name="Straight Connector 68"/>
                <p:cNvCxnSpPr/>
                <p:nvPr/>
              </p:nvCxnSpPr>
              <p:spPr>
                <a:xfrm>
                  <a:off x="-4774213" y="4599214"/>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grpSp>
          <p:grpSp>
            <p:nvGrpSpPr>
              <p:cNvPr id="76" name="Group 18"/>
              <p:cNvGrpSpPr/>
              <p:nvPr/>
            </p:nvGrpSpPr>
            <p:grpSpPr>
              <a:xfrm>
                <a:off x="6002958" y="2837999"/>
                <a:ext cx="3841310" cy="112272"/>
                <a:chOff x="6350859" y="637169"/>
                <a:chExt cx="8756422" cy="255928"/>
              </a:xfrm>
            </p:grpSpPr>
            <p:sp>
              <p:nvSpPr>
                <p:cNvPr id="78" name="Rectangle 137"/>
                <p:cNvSpPr/>
                <p:nvPr/>
              </p:nvSpPr>
              <p:spPr>
                <a:xfrm>
                  <a:off x="6350859" y="637363"/>
                  <a:ext cx="8756422" cy="25573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Rectangle 138"/>
                <p:cNvSpPr/>
                <p:nvPr/>
              </p:nvSpPr>
              <p:spPr>
                <a:xfrm>
                  <a:off x="6350859" y="637169"/>
                  <a:ext cx="255929" cy="255928"/>
                </a:xfrm>
                <a:prstGeom prst="rect">
                  <a:avLst/>
                </a:prstGeom>
                <a:solidFill>
                  <a:srgbClr val="01B8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25000" dirty="0"/>
                </a:p>
              </p:txBody>
            </p:sp>
          </p:grpSp>
          <p:pic>
            <p:nvPicPr>
              <p:cNvPr id="77" name="Picture 79"/>
              <p:cNvPicPr>
                <a:picLocks noChangeAspect="1"/>
              </p:cNvPicPr>
              <p:nvPr/>
            </p:nvPicPr>
            <p:blipFill>
              <a:blip r:embed="rId6"/>
              <a:stretch>
                <a:fillRect/>
              </a:stretch>
            </p:blipFill>
            <p:spPr>
              <a:xfrm>
                <a:off x="6119353" y="2950271"/>
                <a:ext cx="2409125" cy="1545695"/>
              </a:xfrm>
              <a:prstGeom prst="rect">
                <a:avLst/>
              </a:prstGeom>
            </p:spPr>
          </p:pic>
        </p:grpSp>
        <p:pic>
          <p:nvPicPr>
            <p:cNvPr id="21" name="Picture 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42094" y="3416364"/>
              <a:ext cx="2982689" cy="1908621"/>
            </a:xfrm>
            <a:prstGeom prst="rect">
              <a:avLst/>
            </a:prstGeom>
          </p:spPr>
        </p:pic>
        <p:grpSp>
          <p:nvGrpSpPr>
            <p:cNvPr id="22" name="Group 69"/>
            <p:cNvGrpSpPr/>
            <p:nvPr/>
          </p:nvGrpSpPr>
          <p:grpSpPr>
            <a:xfrm>
              <a:off x="9502037" y="3656281"/>
              <a:ext cx="2008151" cy="1458982"/>
              <a:chOff x="9502037" y="3656281"/>
              <a:chExt cx="2008151" cy="1458982"/>
            </a:xfrm>
          </p:grpSpPr>
          <p:grpSp>
            <p:nvGrpSpPr>
              <p:cNvPr id="45" name="Group 88"/>
              <p:cNvGrpSpPr/>
              <p:nvPr/>
            </p:nvGrpSpPr>
            <p:grpSpPr>
              <a:xfrm>
                <a:off x="10393329" y="4655762"/>
                <a:ext cx="1114137" cy="459501"/>
                <a:chOff x="-2653979" y="3205843"/>
                <a:chExt cx="2208776" cy="1551273"/>
              </a:xfrm>
            </p:grpSpPr>
            <p:sp>
              <p:nvSpPr>
                <p:cNvPr id="67" name="Rectangle 89"/>
                <p:cNvSpPr/>
                <p:nvPr/>
              </p:nvSpPr>
              <p:spPr>
                <a:xfrm>
                  <a:off x="-2653979" y="3205843"/>
                  <a:ext cx="2208776" cy="155127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8" name="Group 90"/>
                <p:cNvGrpSpPr/>
                <p:nvPr/>
              </p:nvGrpSpPr>
              <p:grpSpPr>
                <a:xfrm>
                  <a:off x="-2519788" y="3485769"/>
                  <a:ext cx="1920244" cy="991420"/>
                  <a:chOff x="578918" y="4230914"/>
                  <a:chExt cx="1836673" cy="785213"/>
                </a:xfrm>
              </p:grpSpPr>
              <p:cxnSp>
                <p:nvCxnSpPr>
                  <p:cNvPr id="69" name="Straight Connector 91"/>
                  <p:cNvCxnSpPr/>
                  <p:nvPr/>
                </p:nvCxnSpPr>
                <p:spPr>
                  <a:xfrm>
                    <a:off x="578918" y="4230914"/>
                    <a:ext cx="1836673"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70" name="Straight Connector 92"/>
                  <p:cNvCxnSpPr/>
                  <p:nvPr/>
                </p:nvCxnSpPr>
                <p:spPr>
                  <a:xfrm>
                    <a:off x="578918" y="4427217"/>
                    <a:ext cx="1836673"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71" name="Straight Connector 93"/>
                  <p:cNvCxnSpPr/>
                  <p:nvPr/>
                </p:nvCxnSpPr>
                <p:spPr>
                  <a:xfrm>
                    <a:off x="578918" y="4623520"/>
                    <a:ext cx="1836673"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72" name="Straight Connector 94"/>
                  <p:cNvCxnSpPr/>
                  <p:nvPr/>
                </p:nvCxnSpPr>
                <p:spPr>
                  <a:xfrm>
                    <a:off x="578918" y="4819823"/>
                    <a:ext cx="1836673"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73" name="Straight Connector 95"/>
                  <p:cNvCxnSpPr/>
                  <p:nvPr/>
                </p:nvCxnSpPr>
                <p:spPr>
                  <a:xfrm>
                    <a:off x="578918" y="5016127"/>
                    <a:ext cx="1836673"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46" name="Group 96"/>
              <p:cNvGrpSpPr/>
              <p:nvPr/>
            </p:nvGrpSpPr>
            <p:grpSpPr>
              <a:xfrm>
                <a:off x="9506831" y="3747556"/>
                <a:ext cx="899804" cy="1356819"/>
                <a:chOff x="-4889270" y="1105572"/>
                <a:chExt cx="2116442" cy="3651543"/>
              </a:xfrm>
            </p:grpSpPr>
            <p:sp>
              <p:nvSpPr>
                <p:cNvPr id="51" name="Rectangle 97"/>
                <p:cNvSpPr/>
                <p:nvPr/>
              </p:nvSpPr>
              <p:spPr>
                <a:xfrm>
                  <a:off x="-4889270" y="1105572"/>
                  <a:ext cx="2116442" cy="365154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2" name="Straight Connector 98"/>
                <p:cNvCxnSpPr/>
                <p:nvPr/>
              </p:nvCxnSpPr>
              <p:spPr>
                <a:xfrm>
                  <a:off x="-4774213" y="1287242"/>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53" name="Straight Connector 99"/>
                <p:cNvCxnSpPr/>
                <p:nvPr/>
              </p:nvCxnSpPr>
              <p:spPr>
                <a:xfrm>
                  <a:off x="-4774213" y="1523811"/>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54" name="Straight Connector 100"/>
                <p:cNvCxnSpPr/>
                <p:nvPr/>
              </p:nvCxnSpPr>
              <p:spPr>
                <a:xfrm flipH="1">
                  <a:off x="-4774213" y="1760380"/>
                  <a:ext cx="1889357" cy="0"/>
                </a:xfrm>
                <a:prstGeom prst="line">
                  <a:avLst/>
                </a:prstGeom>
                <a:ln w="9525">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55" name="Straight Connector 101"/>
                <p:cNvCxnSpPr/>
                <p:nvPr/>
              </p:nvCxnSpPr>
              <p:spPr>
                <a:xfrm>
                  <a:off x="-4774213" y="1996949"/>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56" name="Straight Connector 102"/>
                <p:cNvCxnSpPr/>
                <p:nvPr/>
              </p:nvCxnSpPr>
              <p:spPr>
                <a:xfrm>
                  <a:off x="-4774213" y="2233518"/>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57" name="Straight Connector 103"/>
                <p:cNvCxnSpPr/>
                <p:nvPr/>
              </p:nvCxnSpPr>
              <p:spPr>
                <a:xfrm>
                  <a:off x="-4774213" y="2470087"/>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58" name="Straight Connector 104"/>
                <p:cNvCxnSpPr/>
                <p:nvPr/>
              </p:nvCxnSpPr>
              <p:spPr>
                <a:xfrm>
                  <a:off x="-4774213" y="2706656"/>
                  <a:ext cx="1889357" cy="0"/>
                </a:xfrm>
                <a:prstGeom prst="line">
                  <a:avLst/>
                </a:prstGeom>
                <a:ln w="9525">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105"/>
                <p:cNvCxnSpPr/>
                <p:nvPr/>
              </p:nvCxnSpPr>
              <p:spPr>
                <a:xfrm>
                  <a:off x="-4774213" y="2943225"/>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60" name="Straight Connector 106"/>
                <p:cNvCxnSpPr/>
                <p:nvPr/>
              </p:nvCxnSpPr>
              <p:spPr>
                <a:xfrm>
                  <a:off x="-4774213" y="3179794"/>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61" name="Straight Connector 107"/>
                <p:cNvCxnSpPr/>
                <p:nvPr/>
              </p:nvCxnSpPr>
              <p:spPr>
                <a:xfrm>
                  <a:off x="-4774213" y="3416363"/>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62" name="Straight Connector 108"/>
                <p:cNvCxnSpPr/>
                <p:nvPr/>
              </p:nvCxnSpPr>
              <p:spPr>
                <a:xfrm flipH="1">
                  <a:off x="-4774213" y="3652932"/>
                  <a:ext cx="1889357" cy="0"/>
                </a:xfrm>
                <a:prstGeom prst="line">
                  <a:avLst/>
                </a:prstGeom>
                <a:ln w="9525">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109"/>
                <p:cNvCxnSpPr/>
                <p:nvPr/>
              </p:nvCxnSpPr>
              <p:spPr>
                <a:xfrm>
                  <a:off x="-4774213" y="3889501"/>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64" name="Straight Connector 110"/>
                <p:cNvCxnSpPr/>
                <p:nvPr/>
              </p:nvCxnSpPr>
              <p:spPr>
                <a:xfrm>
                  <a:off x="-4774213" y="4126070"/>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65" name="Straight Connector 111"/>
                <p:cNvCxnSpPr/>
                <p:nvPr/>
              </p:nvCxnSpPr>
              <p:spPr>
                <a:xfrm>
                  <a:off x="-4774213" y="4362639"/>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66" name="Straight Connector 112"/>
                <p:cNvCxnSpPr/>
                <p:nvPr/>
              </p:nvCxnSpPr>
              <p:spPr>
                <a:xfrm>
                  <a:off x="-4774213" y="4599214"/>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grpSp>
          <p:grpSp>
            <p:nvGrpSpPr>
              <p:cNvPr id="47" name="Group 147"/>
              <p:cNvGrpSpPr/>
              <p:nvPr/>
            </p:nvGrpSpPr>
            <p:grpSpPr>
              <a:xfrm>
                <a:off x="9502037" y="3656281"/>
                <a:ext cx="2008151" cy="127959"/>
                <a:chOff x="6350859" y="637169"/>
                <a:chExt cx="4016458" cy="255928"/>
              </a:xfrm>
            </p:grpSpPr>
            <p:sp>
              <p:nvSpPr>
                <p:cNvPr id="49" name="Rectangle 148"/>
                <p:cNvSpPr/>
                <p:nvPr/>
              </p:nvSpPr>
              <p:spPr>
                <a:xfrm>
                  <a:off x="6356303" y="637361"/>
                  <a:ext cx="4011014" cy="255736"/>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149"/>
                <p:cNvSpPr/>
                <p:nvPr/>
              </p:nvSpPr>
              <p:spPr>
                <a:xfrm>
                  <a:off x="6350859" y="637169"/>
                  <a:ext cx="255928" cy="255928"/>
                </a:xfrm>
                <a:prstGeom prst="rect">
                  <a:avLst/>
                </a:prstGeom>
                <a:solidFill>
                  <a:srgbClr val="01B8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25000" dirty="0"/>
                </a:p>
              </p:txBody>
            </p:sp>
          </p:grpSp>
          <p:pic>
            <p:nvPicPr>
              <p:cNvPr id="48" name="Picture 76"/>
              <p:cNvPicPr>
                <a:picLocks noChangeAspect="1"/>
              </p:cNvPicPr>
              <p:nvPr/>
            </p:nvPicPr>
            <p:blipFill>
              <a:blip r:embed="rId8"/>
              <a:stretch>
                <a:fillRect/>
              </a:stretch>
            </p:blipFill>
            <p:spPr>
              <a:xfrm>
                <a:off x="10406636" y="3786753"/>
                <a:ext cx="1100830" cy="904575"/>
              </a:xfrm>
              <a:prstGeom prst="rect">
                <a:avLst/>
              </a:prstGeom>
            </p:spPr>
          </p:pic>
        </p:grpSp>
        <p:grpSp>
          <p:nvGrpSpPr>
            <p:cNvPr id="23" name="Group 7"/>
            <p:cNvGrpSpPr/>
            <p:nvPr/>
          </p:nvGrpSpPr>
          <p:grpSpPr>
            <a:xfrm>
              <a:off x="8775227" y="4039267"/>
              <a:ext cx="630944" cy="1069938"/>
              <a:chOff x="8775227" y="4039267"/>
              <a:chExt cx="630944" cy="1069938"/>
            </a:xfrm>
          </p:grpSpPr>
          <p:grpSp>
            <p:nvGrpSpPr>
              <p:cNvPr id="24" name="Group 6"/>
              <p:cNvGrpSpPr/>
              <p:nvPr/>
            </p:nvGrpSpPr>
            <p:grpSpPr>
              <a:xfrm>
                <a:off x="8795657" y="4120242"/>
                <a:ext cx="219578" cy="984133"/>
                <a:chOff x="-4889270" y="1105572"/>
                <a:chExt cx="2116442" cy="3651543"/>
              </a:xfrm>
            </p:grpSpPr>
            <p:sp>
              <p:nvSpPr>
                <p:cNvPr id="29" name="Rectangle 22"/>
                <p:cNvSpPr/>
                <p:nvPr/>
              </p:nvSpPr>
              <p:spPr>
                <a:xfrm>
                  <a:off x="-4889270" y="1105572"/>
                  <a:ext cx="2116442" cy="3651543"/>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0" name="Straight Connector 25"/>
                <p:cNvCxnSpPr/>
                <p:nvPr/>
              </p:nvCxnSpPr>
              <p:spPr>
                <a:xfrm>
                  <a:off x="-4774213" y="1287242"/>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31" name="Straight Connector 26"/>
                <p:cNvCxnSpPr/>
                <p:nvPr/>
              </p:nvCxnSpPr>
              <p:spPr>
                <a:xfrm>
                  <a:off x="-4774213" y="1523811"/>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32" name="Straight Connector 27"/>
                <p:cNvCxnSpPr/>
                <p:nvPr/>
              </p:nvCxnSpPr>
              <p:spPr>
                <a:xfrm flipH="1">
                  <a:off x="-4774213" y="1760380"/>
                  <a:ext cx="1889357" cy="0"/>
                </a:xfrm>
                <a:prstGeom prst="line">
                  <a:avLst/>
                </a:prstGeom>
                <a:ln w="635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33" name="Straight Connector 28"/>
                <p:cNvCxnSpPr/>
                <p:nvPr/>
              </p:nvCxnSpPr>
              <p:spPr>
                <a:xfrm>
                  <a:off x="-4774213" y="1996949"/>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34" name="Straight Connector 29"/>
                <p:cNvCxnSpPr/>
                <p:nvPr/>
              </p:nvCxnSpPr>
              <p:spPr>
                <a:xfrm>
                  <a:off x="-4774213" y="2233518"/>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35" name="Straight Connector 30"/>
                <p:cNvCxnSpPr/>
                <p:nvPr/>
              </p:nvCxnSpPr>
              <p:spPr>
                <a:xfrm>
                  <a:off x="-4774213" y="2470087"/>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36" name="Straight Connector 31"/>
                <p:cNvCxnSpPr/>
                <p:nvPr/>
              </p:nvCxnSpPr>
              <p:spPr>
                <a:xfrm>
                  <a:off x="-4774213" y="2706656"/>
                  <a:ext cx="1889357" cy="0"/>
                </a:xfrm>
                <a:prstGeom prst="line">
                  <a:avLst/>
                </a:prstGeom>
                <a:ln w="635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37" name="Straight Connector 32"/>
                <p:cNvCxnSpPr/>
                <p:nvPr/>
              </p:nvCxnSpPr>
              <p:spPr>
                <a:xfrm>
                  <a:off x="-4774213" y="2943225"/>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38" name="Straight Connector 33"/>
                <p:cNvCxnSpPr/>
                <p:nvPr/>
              </p:nvCxnSpPr>
              <p:spPr>
                <a:xfrm>
                  <a:off x="-4774213" y="3179794"/>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39" name="Straight Connector 34"/>
                <p:cNvCxnSpPr/>
                <p:nvPr/>
              </p:nvCxnSpPr>
              <p:spPr>
                <a:xfrm>
                  <a:off x="-4774213" y="3416363"/>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40" name="Straight Connector 35"/>
                <p:cNvCxnSpPr/>
                <p:nvPr/>
              </p:nvCxnSpPr>
              <p:spPr>
                <a:xfrm flipH="1">
                  <a:off x="-4774213" y="3652932"/>
                  <a:ext cx="1889357" cy="0"/>
                </a:xfrm>
                <a:prstGeom prst="line">
                  <a:avLst/>
                </a:prstGeom>
                <a:ln w="635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41" name="Straight Connector 36"/>
                <p:cNvCxnSpPr/>
                <p:nvPr/>
              </p:nvCxnSpPr>
              <p:spPr>
                <a:xfrm>
                  <a:off x="-4774213" y="3889501"/>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42" name="Straight Connector 37"/>
                <p:cNvCxnSpPr/>
                <p:nvPr/>
              </p:nvCxnSpPr>
              <p:spPr>
                <a:xfrm>
                  <a:off x="-4774213" y="4126070"/>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43" name="Straight Connector 38"/>
                <p:cNvCxnSpPr/>
                <p:nvPr/>
              </p:nvCxnSpPr>
              <p:spPr>
                <a:xfrm>
                  <a:off x="-4774213" y="4362639"/>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44" name="Straight Connector 39"/>
                <p:cNvCxnSpPr/>
                <p:nvPr/>
              </p:nvCxnSpPr>
              <p:spPr>
                <a:xfrm>
                  <a:off x="-4774213" y="4599214"/>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grpSp>
          <p:grpSp>
            <p:nvGrpSpPr>
              <p:cNvPr id="25" name="Group 144"/>
              <p:cNvGrpSpPr/>
              <p:nvPr/>
            </p:nvGrpSpPr>
            <p:grpSpPr>
              <a:xfrm>
                <a:off x="8775227" y="4039267"/>
                <a:ext cx="630944" cy="80494"/>
                <a:chOff x="6350859" y="637169"/>
                <a:chExt cx="2006064" cy="255928"/>
              </a:xfrm>
            </p:grpSpPr>
            <p:sp>
              <p:nvSpPr>
                <p:cNvPr id="27" name="Rectangle 145"/>
                <p:cNvSpPr/>
                <p:nvPr/>
              </p:nvSpPr>
              <p:spPr>
                <a:xfrm>
                  <a:off x="6372498" y="637363"/>
                  <a:ext cx="1984425" cy="25573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146"/>
                <p:cNvSpPr/>
                <p:nvPr/>
              </p:nvSpPr>
              <p:spPr>
                <a:xfrm>
                  <a:off x="6350859" y="637169"/>
                  <a:ext cx="255928" cy="255928"/>
                </a:xfrm>
                <a:prstGeom prst="rect">
                  <a:avLst/>
                </a:prstGeom>
                <a:solidFill>
                  <a:srgbClr val="01B8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25000" dirty="0"/>
                </a:p>
              </p:txBody>
            </p:sp>
          </p:grpSp>
          <p:pic>
            <p:nvPicPr>
              <p:cNvPr id="26" name="Picture 77"/>
              <p:cNvPicPr>
                <a:picLocks noChangeAspect="1"/>
              </p:cNvPicPr>
              <p:nvPr/>
            </p:nvPicPr>
            <p:blipFill>
              <a:blip r:embed="rId9"/>
              <a:stretch>
                <a:fillRect/>
              </a:stretch>
            </p:blipFill>
            <p:spPr>
              <a:xfrm>
                <a:off x="9015235" y="4124555"/>
                <a:ext cx="388213" cy="984650"/>
              </a:xfrm>
              <a:prstGeom prst="rect">
                <a:avLst/>
              </a:prstGeom>
            </p:spPr>
          </p:pic>
        </p:grpSp>
      </p:grpSp>
    </p:spTree>
    <p:extLst>
      <p:ext uri="{BB962C8B-B14F-4D97-AF65-F5344CB8AC3E}">
        <p14:creationId xmlns:p14="http://schemas.microsoft.com/office/powerpoint/2010/main" val="2565468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422113" y="1485140"/>
            <a:ext cx="3047811" cy="4945380"/>
          </a:xfrm>
          <a:prstGeom prst="rect">
            <a:avLst/>
          </a:prstGeom>
          <a:noFill/>
          <a:ln w="12700">
            <a:solidFill>
              <a:srgbClr val="1E1E1E">
                <a:alpha val="50000"/>
              </a:srgb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dirty="0">
              <a:gradFill>
                <a:gsLst>
                  <a:gs pos="0">
                    <a:srgbClr val="FFFFFF"/>
                  </a:gs>
                  <a:gs pos="100000">
                    <a:srgbClr val="FFFFFF"/>
                  </a:gs>
                </a:gsLst>
                <a:lin ang="5400000" scaled="0"/>
              </a:gradFill>
            </a:endParaRPr>
          </a:p>
        </p:txBody>
      </p:sp>
      <p:sp>
        <p:nvSpPr>
          <p:cNvPr id="5" name="Rectangle 4"/>
          <p:cNvSpPr/>
          <p:nvPr/>
        </p:nvSpPr>
        <p:spPr bwMode="auto">
          <a:xfrm>
            <a:off x="988035" y="2266813"/>
            <a:ext cx="1972511"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defTabSz="914102" fontAlgn="base">
              <a:spcBef>
                <a:spcPct val="0"/>
              </a:spcBef>
              <a:spcAft>
                <a:spcPct val="0"/>
              </a:spcAft>
            </a:pPr>
            <a:r>
              <a:rPr lang="en-US" sz="1961" kern="0" dirty="0">
                <a:solidFill>
                  <a:srgbClr val="F2F2F2"/>
                </a:solidFill>
                <a:latin typeface="Segoe UI Light" panose="020B0502040204020203" pitchFamily="34" charset="0"/>
                <a:cs typeface="Segoe UI Light" panose="020B0502040204020203" pitchFamily="34" charset="0"/>
              </a:rPr>
              <a:t>Users</a:t>
            </a:r>
          </a:p>
        </p:txBody>
      </p:sp>
      <p:sp>
        <p:nvSpPr>
          <p:cNvPr id="6" name="TextBox 5"/>
          <p:cNvSpPr txBox="1"/>
          <p:nvPr/>
        </p:nvSpPr>
        <p:spPr>
          <a:xfrm>
            <a:off x="422112" y="1485140"/>
            <a:ext cx="2509962" cy="622056"/>
          </a:xfrm>
          <a:prstGeom prst="rect">
            <a:avLst/>
          </a:prstGeom>
          <a:noFill/>
        </p:spPr>
        <p:txBody>
          <a:bodyPr wrap="square" lIns="179285" tIns="143428" rIns="179285" bIns="143428" rtlCol="0">
            <a:spAutoFit/>
          </a:bodyPr>
          <a:lstStyle/>
          <a:p>
            <a:pPr defTabSz="896386">
              <a:lnSpc>
                <a:spcPct val="90000"/>
              </a:lnSpc>
              <a:spcAft>
                <a:spcPts val="588"/>
              </a:spcAft>
            </a:pPr>
            <a:r>
              <a:rPr lang="en-US" sz="2400" kern="0" dirty="0">
                <a:solidFill>
                  <a:srgbClr val="282828"/>
                </a:solidFill>
                <a:latin typeface="+mj-lt"/>
                <a:ea typeface="Segoe UI Black" panose="020B0A02040204020203" pitchFamily="34" charset="0"/>
                <a:cs typeface="Segoe UI Black" panose="020B0A02040204020203" pitchFamily="34" charset="0"/>
              </a:rPr>
              <a:t>Application</a:t>
            </a:r>
          </a:p>
        </p:txBody>
      </p:sp>
      <p:sp>
        <p:nvSpPr>
          <p:cNvPr id="7" name="Rectangle 6"/>
          <p:cNvSpPr/>
          <p:nvPr/>
        </p:nvSpPr>
        <p:spPr bwMode="auto">
          <a:xfrm>
            <a:off x="985104" y="4212689"/>
            <a:ext cx="1946970"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defTabSz="914102" fontAlgn="base">
              <a:spcBef>
                <a:spcPct val="0"/>
              </a:spcBef>
              <a:spcAft>
                <a:spcPct val="0"/>
              </a:spcAft>
            </a:pPr>
            <a:r>
              <a:rPr lang="en-US" sz="1961" kern="0" dirty="0">
                <a:solidFill>
                  <a:srgbClr val="F2F2F2"/>
                </a:solidFill>
                <a:latin typeface="Segoe UI Light" panose="020B0502040204020203" pitchFamily="34" charset="0"/>
                <a:cs typeface="Segoe UI Light" panose="020B0502040204020203" pitchFamily="34" charset="0"/>
              </a:rPr>
              <a:t>Permissions</a:t>
            </a:r>
          </a:p>
        </p:txBody>
      </p:sp>
      <p:sp>
        <p:nvSpPr>
          <p:cNvPr id="8" name="Rectangle 7"/>
          <p:cNvSpPr/>
          <p:nvPr/>
        </p:nvSpPr>
        <p:spPr bwMode="auto">
          <a:xfrm>
            <a:off x="988036" y="3245274"/>
            <a:ext cx="1946970"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defTabSz="914102" fontAlgn="base">
              <a:spcBef>
                <a:spcPct val="0"/>
              </a:spcBef>
              <a:spcAft>
                <a:spcPct val="0"/>
              </a:spcAft>
            </a:pPr>
            <a:r>
              <a:rPr lang="en-US" sz="1961" kern="0" dirty="0">
                <a:solidFill>
                  <a:srgbClr val="F2F2F2"/>
                </a:solidFill>
                <a:latin typeface="Segoe UI Light" panose="020B0502040204020203" pitchFamily="34" charset="0"/>
                <a:cs typeface="Segoe UI Light" panose="020B0502040204020203" pitchFamily="34" charset="0"/>
              </a:rPr>
              <a:t>Auth. providers</a:t>
            </a:r>
          </a:p>
        </p:txBody>
      </p:sp>
      <p:sp>
        <p:nvSpPr>
          <p:cNvPr id="10" name="Rectangle 9"/>
          <p:cNvSpPr/>
          <p:nvPr/>
        </p:nvSpPr>
        <p:spPr bwMode="auto">
          <a:xfrm>
            <a:off x="8758772" y="1485140"/>
            <a:ext cx="3047811" cy="4945380"/>
          </a:xfrm>
          <a:prstGeom prst="rect">
            <a:avLst/>
          </a:prstGeom>
          <a:solidFill>
            <a:srgbClr val="EDC30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dirty="0">
              <a:gradFill>
                <a:gsLst>
                  <a:gs pos="0">
                    <a:srgbClr val="FFFFFF"/>
                  </a:gs>
                  <a:gs pos="100000">
                    <a:srgbClr val="FFFFFF"/>
                  </a:gs>
                </a:gsLst>
                <a:lin ang="5400000" scaled="0"/>
              </a:gradFill>
            </a:endParaRPr>
          </a:p>
        </p:txBody>
      </p:sp>
      <p:sp>
        <p:nvSpPr>
          <p:cNvPr id="11" name="TextBox 10"/>
          <p:cNvSpPr txBox="1"/>
          <p:nvPr/>
        </p:nvSpPr>
        <p:spPr>
          <a:xfrm>
            <a:off x="8758771" y="1473672"/>
            <a:ext cx="3047812" cy="622056"/>
          </a:xfrm>
          <a:prstGeom prst="rect">
            <a:avLst/>
          </a:prstGeom>
          <a:solidFill>
            <a:srgbClr val="EDC30D"/>
          </a:solidFill>
        </p:spPr>
        <p:txBody>
          <a:bodyPr wrap="square" lIns="179285" tIns="143428" rIns="179285" bIns="143428" rtlCol="0">
            <a:spAutoFit/>
          </a:bodyPr>
          <a:lstStyle/>
          <a:p>
            <a:pPr defTabSz="896386">
              <a:lnSpc>
                <a:spcPct val="90000"/>
              </a:lnSpc>
              <a:spcAft>
                <a:spcPts val="588"/>
              </a:spcAft>
            </a:pPr>
            <a:r>
              <a:rPr lang="en-US" sz="2400" kern="0" dirty="0">
                <a:solidFill>
                  <a:srgbClr val="282828"/>
                </a:solidFill>
                <a:latin typeface="+mj-lt"/>
                <a:ea typeface="Segoe UI Black" panose="020B0A02040204020203" pitchFamily="34" charset="0"/>
                <a:cs typeface="Segoe UI Black" panose="020B0A02040204020203" pitchFamily="34" charset="0"/>
              </a:rPr>
              <a:t>Power BI</a:t>
            </a:r>
          </a:p>
        </p:txBody>
      </p:sp>
      <p:sp>
        <p:nvSpPr>
          <p:cNvPr id="12" name="Rectangle 11"/>
          <p:cNvSpPr/>
          <p:nvPr/>
        </p:nvSpPr>
        <p:spPr bwMode="auto">
          <a:xfrm>
            <a:off x="9622971" y="5280918"/>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defTabSz="914102" fontAlgn="base">
              <a:spcBef>
                <a:spcPct val="0"/>
              </a:spcBef>
              <a:spcAft>
                <a:spcPct val="0"/>
              </a:spcAft>
            </a:pPr>
            <a:r>
              <a:rPr lang="en-US" sz="1961" kern="0" dirty="0">
                <a:solidFill>
                  <a:srgbClr val="F2F2F2"/>
                </a:solidFill>
                <a:latin typeface="Segoe UI Light" panose="020B0502040204020203" pitchFamily="34" charset="0"/>
                <a:cs typeface="Segoe UI Light" panose="020B0502040204020203" pitchFamily="34" charset="0"/>
              </a:rPr>
              <a:t>API keys</a:t>
            </a:r>
          </a:p>
        </p:txBody>
      </p:sp>
      <p:sp>
        <p:nvSpPr>
          <p:cNvPr id="13" name="Rectangle 12"/>
          <p:cNvSpPr/>
          <p:nvPr/>
        </p:nvSpPr>
        <p:spPr bwMode="auto">
          <a:xfrm>
            <a:off x="9622971" y="4224131"/>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defTabSz="914102" fontAlgn="base">
              <a:spcBef>
                <a:spcPct val="0"/>
              </a:spcBef>
              <a:spcAft>
                <a:spcPct val="0"/>
              </a:spcAft>
            </a:pPr>
            <a:r>
              <a:rPr lang="en-US" sz="1961" kern="0" dirty="0">
                <a:solidFill>
                  <a:srgbClr val="F2F2F2"/>
                </a:solidFill>
                <a:latin typeface="Segoe UI Light" panose="020B0502040204020203" pitchFamily="34" charset="0"/>
                <a:cs typeface="Segoe UI Light" panose="020B0502040204020203" pitchFamily="34" charset="0"/>
              </a:rPr>
              <a:t>Report 2</a:t>
            </a:r>
          </a:p>
        </p:txBody>
      </p:sp>
      <p:sp>
        <p:nvSpPr>
          <p:cNvPr id="14" name="Rectangle 13"/>
          <p:cNvSpPr/>
          <p:nvPr/>
        </p:nvSpPr>
        <p:spPr bwMode="auto">
          <a:xfrm>
            <a:off x="9305967" y="2266417"/>
            <a:ext cx="1997789"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defTabSz="914102" fontAlgn="base">
              <a:spcBef>
                <a:spcPct val="0"/>
              </a:spcBef>
              <a:spcAft>
                <a:spcPct val="0"/>
              </a:spcAft>
            </a:pPr>
            <a:r>
              <a:rPr lang="en-US" sz="1961" kern="0" dirty="0">
                <a:solidFill>
                  <a:srgbClr val="F2F2F2"/>
                </a:solidFill>
                <a:latin typeface="Segoe UI Light" panose="020B0502040204020203" pitchFamily="34" charset="0"/>
                <a:cs typeface="Segoe UI Light" panose="020B0502040204020203" pitchFamily="34" charset="0"/>
              </a:rPr>
              <a:t>Workspace</a:t>
            </a:r>
          </a:p>
        </p:txBody>
      </p:sp>
      <p:sp>
        <p:nvSpPr>
          <p:cNvPr id="15" name="Rectangle 14"/>
          <p:cNvSpPr/>
          <p:nvPr/>
        </p:nvSpPr>
        <p:spPr bwMode="auto">
          <a:xfrm>
            <a:off x="9622971" y="3245274"/>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defTabSz="914102" fontAlgn="base">
              <a:spcBef>
                <a:spcPct val="0"/>
              </a:spcBef>
              <a:spcAft>
                <a:spcPct val="0"/>
              </a:spcAft>
            </a:pPr>
            <a:r>
              <a:rPr lang="en-US" sz="1961" kern="0" dirty="0">
                <a:solidFill>
                  <a:srgbClr val="F2F2F2"/>
                </a:solidFill>
                <a:latin typeface="Segoe UI Light" panose="020B0502040204020203" pitchFamily="34" charset="0"/>
                <a:cs typeface="Segoe UI Light" panose="020B0502040204020203" pitchFamily="34" charset="0"/>
              </a:rPr>
              <a:t>Report 1</a:t>
            </a:r>
          </a:p>
        </p:txBody>
      </p:sp>
      <p:sp>
        <p:nvSpPr>
          <p:cNvPr id="18" name="Rectangle 17"/>
          <p:cNvSpPr/>
          <p:nvPr/>
        </p:nvSpPr>
        <p:spPr bwMode="auto">
          <a:xfrm>
            <a:off x="3719171" y="3246668"/>
            <a:ext cx="2841286" cy="1094778"/>
          </a:xfrm>
          <a:prstGeom prst="rect">
            <a:avLst/>
          </a:prstGeom>
          <a:noFill/>
          <a:ln>
            <a:solidFill>
              <a:srgbClr val="EDC30D"/>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40" tIns="0" rIns="0" bIns="0" numCol="1" rtlCol="0" anchor="ctr" anchorCtr="0" compatLnSpc="1">
            <a:prstTxWarp prst="textNoShape">
              <a:avLst/>
            </a:prstTxWarp>
          </a:bodyPr>
          <a:lstStyle/>
          <a:p>
            <a:pPr defTabSz="914102" fontAlgn="base">
              <a:spcBef>
                <a:spcPct val="0"/>
              </a:spcBef>
              <a:spcAft>
                <a:spcPct val="0"/>
              </a:spcAft>
            </a:pPr>
            <a:r>
              <a:rPr lang="en-US" sz="1600" kern="0" dirty="0">
                <a:solidFill>
                  <a:srgbClr val="282828"/>
                </a:solidFill>
                <a:latin typeface="Segoe UI Black" panose="020B0A02040204020203" pitchFamily="34" charset="0"/>
                <a:ea typeface="Segoe UI Black" panose="020B0A02040204020203" pitchFamily="34" charset="0"/>
                <a:cs typeface="Segoe UI Black" panose="020B0A02040204020203" pitchFamily="34" charset="0"/>
              </a:rPr>
              <a:t>Token</a:t>
            </a:r>
          </a:p>
          <a:p>
            <a:pPr defTabSz="914102" fontAlgn="base">
              <a:spcBef>
                <a:spcPct val="0"/>
              </a:spcBef>
              <a:spcAft>
                <a:spcPct val="0"/>
              </a:spcAft>
            </a:pPr>
            <a:r>
              <a:rPr lang="en-US" sz="1600" kern="0" dirty="0">
                <a:solidFill>
                  <a:srgbClr val="282828"/>
                </a:solidFill>
              </a:rPr>
              <a:t>+ Claim: Can view Report 1</a:t>
            </a:r>
          </a:p>
          <a:p>
            <a:pPr defTabSz="914102" fontAlgn="base">
              <a:spcBef>
                <a:spcPct val="0"/>
              </a:spcBef>
              <a:spcAft>
                <a:spcPct val="0"/>
              </a:spcAft>
            </a:pPr>
            <a:r>
              <a:rPr lang="en-US" sz="1600" kern="0" dirty="0">
                <a:solidFill>
                  <a:srgbClr val="282828"/>
                </a:solidFill>
              </a:rPr>
              <a:t>+ Expiration: 5 minutes</a:t>
            </a:r>
          </a:p>
        </p:txBody>
      </p:sp>
      <p:sp>
        <p:nvSpPr>
          <p:cNvPr id="9" name="Rectangle 8"/>
          <p:cNvSpPr/>
          <p:nvPr/>
        </p:nvSpPr>
        <p:spPr bwMode="auto">
          <a:xfrm>
            <a:off x="985103" y="5280920"/>
            <a:ext cx="1946971"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defTabSz="914102" fontAlgn="base">
              <a:spcBef>
                <a:spcPct val="0"/>
              </a:spcBef>
              <a:spcAft>
                <a:spcPct val="0"/>
              </a:spcAft>
            </a:pPr>
            <a:r>
              <a:rPr lang="en-US" sz="1961" kern="0" dirty="0">
                <a:solidFill>
                  <a:srgbClr val="F2F2F2"/>
                </a:solidFill>
                <a:latin typeface="Segoe UI Light" panose="020B0502040204020203" pitchFamily="34" charset="0"/>
                <a:cs typeface="Segoe UI Light" panose="020B0502040204020203" pitchFamily="34" charset="0"/>
              </a:rPr>
              <a:t>API keys</a:t>
            </a:r>
          </a:p>
        </p:txBody>
      </p:sp>
      <p:sp>
        <p:nvSpPr>
          <p:cNvPr id="2" name="Bent Arrow 1"/>
          <p:cNvSpPr/>
          <p:nvPr/>
        </p:nvSpPr>
        <p:spPr bwMode="auto">
          <a:xfrm rot="5400000" flipH="1">
            <a:off x="3925265" y="4641210"/>
            <a:ext cx="1297442" cy="957204"/>
          </a:xfrm>
          <a:prstGeom prst="bentArrow">
            <a:avLst>
              <a:gd name="adj1" fmla="val 17785"/>
              <a:gd name="adj2" fmla="val 19166"/>
              <a:gd name="adj3" fmla="val 21882"/>
              <a:gd name="adj4" fmla="val 54210"/>
            </a:avLst>
          </a:prstGeom>
          <a:solidFill>
            <a:srgbClr val="EDC30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6" name="Freeform 25"/>
          <p:cNvSpPr/>
          <p:nvPr/>
        </p:nvSpPr>
        <p:spPr>
          <a:xfrm>
            <a:off x="3719171" y="2266417"/>
            <a:ext cx="707957" cy="808168"/>
          </a:xfrm>
          <a:custGeom>
            <a:avLst/>
            <a:gdLst>
              <a:gd name="connsiteX0" fmla="*/ 599650 w 1199300"/>
              <a:gd name="connsiteY0" fmla="*/ 88729 h 1369060"/>
              <a:gd name="connsiteX1" fmla="*/ 270362 w 1199300"/>
              <a:gd name="connsiteY1" fmla="*/ 418017 h 1369060"/>
              <a:gd name="connsiteX2" fmla="*/ 599650 w 1199300"/>
              <a:gd name="connsiteY2" fmla="*/ 747305 h 1369060"/>
              <a:gd name="connsiteX3" fmla="*/ 928938 w 1199300"/>
              <a:gd name="connsiteY3" fmla="*/ 418017 h 1369060"/>
              <a:gd name="connsiteX4" fmla="*/ 599650 w 1199300"/>
              <a:gd name="connsiteY4" fmla="*/ 88729 h 1369060"/>
              <a:gd name="connsiteX5" fmla="*/ 599651 w 1199300"/>
              <a:gd name="connsiteY5" fmla="*/ 0 h 1369060"/>
              <a:gd name="connsiteX6" fmla="*/ 1017668 w 1199300"/>
              <a:gd name="connsiteY6" fmla="*/ 418017 h 1369060"/>
              <a:gd name="connsiteX7" fmla="*/ 833368 w 1199300"/>
              <a:gd name="connsiteY7" fmla="*/ 764643 h 1369060"/>
              <a:gd name="connsiteX8" fmla="*/ 772437 w 1199300"/>
              <a:gd name="connsiteY8" fmla="*/ 797716 h 1369060"/>
              <a:gd name="connsiteX9" fmla="*/ 833061 w 1199300"/>
              <a:gd name="connsiteY9" fmla="*/ 816535 h 1369060"/>
              <a:gd name="connsiteX10" fmla="*/ 1199300 w 1199300"/>
              <a:gd name="connsiteY10" fmla="*/ 1369060 h 1369060"/>
              <a:gd name="connsiteX11" fmla="*/ 1092443 w 1199300"/>
              <a:gd name="connsiteY11" fmla="*/ 1369060 h 1369060"/>
              <a:gd name="connsiteX12" fmla="*/ 599650 w 1199300"/>
              <a:gd name="connsiteY12" fmla="*/ 876268 h 1369060"/>
              <a:gd name="connsiteX13" fmla="*/ 106857 w 1199300"/>
              <a:gd name="connsiteY13" fmla="*/ 1369060 h 1369060"/>
              <a:gd name="connsiteX14" fmla="*/ 0 w 1199300"/>
              <a:gd name="connsiteY14" fmla="*/ 1369060 h 1369060"/>
              <a:gd name="connsiteX15" fmla="*/ 366239 w 1199300"/>
              <a:gd name="connsiteY15" fmla="*/ 816535 h 1369060"/>
              <a:gd name="connsiteX16" fmla="*/ 426865 w 1199300"/>
              <a:gd name="connsiteY16" fmla="*/ 797716 h 1369060"/>
              <a:gd name="connsiteX17" fmla="*/ 365934 w 1199300"/>
              <a:gd name="connsiteY17" fmla="*/ 764643 h 1369060"/>
              <a:gd name="connsiteX18" fmla="*/ 181634 w 1199300"/>
              <a:gd name="connsiteY18" fmla="*/ 418017 h 1369060"/>
              <a:gd name="connsiteX19" fmla="*/ 599651 w 1199300"/>
              <a:gd name="connsiteY19" fmla="*/ 0 h 136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9300" h="1369060">
                <a:moveTo>
                  <a:pt x="599650" y="88729"/>
                </a:moveTo>
                <a:cubicBezTo>
                  <a:pt x="417789" y="88729"/>
                  <a:pt x="270362" y="236156"/>
                  <a:pt x="270362" y="418017"/>
                </a:cubicBezTo>
                <a:cubicBezTo>
                  <a:pt x="270362" y="599878"/>
                  <a:pt x="417789" y="747305"/>
                  <a:pt x="599650" y="747305"/>
                </a:cubicBezTo>
                <a:cubicBezTo>
                  <a:pt x="781511" y="747305"/>
                  <a:pt x="928938" y="599878"/>
                  <a:pt x="928938" y="418017"/>
                </a:cubicBezTo>
                <a:cubicBezTo>
                  <a:pt x="928938" y="236156"/>
                  <a:pt x="781511" y="88729"/>
                  <a:pt x="599650" y="88729"/>
                </a:cubicBezTo>
                <a:close/>
                <a:moveTo>
                  <a:pt x="599651" y="0"/>
                </a:moveTo>
                <a:cubicBezTo>
                  <a:pt x="830515" y="0"/>
                  <a:pt x="1017668" y="187153"/>
                  <a:pt x="1017668" y="418017"/>
                </a:cubicBezTo>
                <a:cubicBezTo>
                  <a:pt x="1017668" y="562307"/>
                  <a:pt x="944561" y="689522"/>
                  <a:pt x="833368" y="764643"/>
                </a:cubicBezTo>
                <a:lnTo>
                  <a:pt x="772437" y="797716"/>
                </a:lnTo>
                <a:lnTo>
                  <a:pt x="833061" y="816535"/>
                </a:lnTo>
                <a:cubicBezTo>
                  <a:pt x="1048285" y="907566"/>
                  <a:pt x="1199300" y="1120678"/>
                  <a:pt x="1199300" y="1369060"/>
                </a:cubicBezTo>
                <a:lnTo>
                  <a:pt x="1092443" y="1369060"/>
                </a:lnTo>
                <a:cubicBezTo>
                  <a:pt x="1092443" y="1096898"/>
                  <a:pt x="871812" y="876268"/>
                  <a:pt x="599650" y="876268"/>
                </a:cubicBezTo>
                <a:cubicBezTo>
                  <a:pt x="327488" y="876268"/>
                  <a:pt x="106857" y="1096898"/>
                  <a:pt x="106857" y="1369060"/>
                </a:cubicBezTo>
                <a:lnTo>
                  <a:pt x="0" y="1369060"/>
                </a:lnTo>
                <a:cubicBezTo>
                  <a:pt x="0" y="1120678"/>
                  <a:pt x="151016" y="907566"/>
                  <a:pt x="366239" y="816535"/>
                </a:cubicBezTo>
                <a:lnTo>
                  <a:pt x="426865" y="797716"/>
                </a:lnTo>
                <a:lnTo>
                  <a:pt x="365934" y="764643"/>
                </a:lnTo>
                <a:cubicBezTo>
                  <a:pt x="254741" y="689522"/>
                  <a:pt x="181634" y="562307"/>
                  <a:pt x="181634" y="418017"/>
                </a:cubicBezTo>
                <a:cubicBezTo>
                  <a:pt x="181634" y="187153"/>
                  <a:pt x="368787" y="0"/>
                  <a:pt x="599651" y="0"/>
                </a:cubicBezTo>
                <a:close/>
              </a:path>
            </a:pathLst>
          </a:cu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grpSp>
        <p:nvGrpSpPr>
          <p:cNvPr id="35" name="Group 34"/>
          <p:cNvGrpSpPr/>
          <p:nvPr/>
        </p:nvGrpSpPr>
        <p:grpSpPr>
          <a:xfrm>
            <a:off x="3062514" y="5492386"/>
            <a:ext cx="5582312" cy="620111"/>
            <a:chOff x="3062514" y="5462666"/>
            <a:chExt cx="5582312" cy="620111"/>
          </a:xfrm>
        </p:grpSpPr>
        <p:sp>
          <p:nvSpPr>
            <p:cNvPr id="25" name="Left Arrow 24"/>
            <p:cNvSpPr/>
            <p:nvPr/>
          </p:nvSpPr>
          <p:spPr>
            <a:xfrm>
              <a:off x="3062514" y="5462666"/>
              <a:ext cx="5582312" cy="370224"/>
            </a:xfrm>
            <a:prstGeom prst="leftArrow">
              <a:avLst/>
            </a:prstGeom>
            <a:solidFill>
              <a:srgbClr val="EDC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 name="TextBox 28"/>
            <p:cNvSpPr txBox="1"/>
            <p:nvPr/>
          </p:nvSpPr>
          <p:spPr>
            <a:xfrm>
              <a:off x="5112961" y="5745762"/>
              <a:ext cx="2440364" cy="337015"/>
            </a:xfrm>
            <a:prstGeom prst="rect">
              <a:avLst/>
            </a:prstGeom>
            <a:noFill/>
          </p:spPr>
          <p:txBody>
            <a:bodyPr wrap="square" lIns="91440" tIns="91440" rIns="9144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Copy API keys to</a:t>
              </a:r>
              <a:r>
                <a:rPr kumimoji="0" lang="en-US" sz="1100" b="0" i="0" u="none" strike="noStrike" kern="0" cap="none" spc="0" normalizeH="0" noProof="0" dirty="0">
                  <a:ln>
                    <a:noFill/>
                  </a:ln>
                  <a:solidFill>
                    <a:srgbClr val="282828"/>
                  </a:solidFill>
                  <a:effectLst/>
                  <a:uLnTx/>
                  <a:uFillTx/>
                  <a:latin typeface="Segoe UI Semibold" panose="020B0702040204020203" pitchFamily="34" charset="0"/>
                  <a:cs typeface="Segoe UI Semibold" panose="020B0702040204020203" pitchFamily="34" charset="0"/>
                </a:rPr>
                <a:t> your application</a:t>
              </a:r>
              <a:endPar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endParaRPr>
            </a:p>
          </p:txBody>
        </p:sp>
      </p:grpSp>
      <p:sp>
        <p:nvSpPr>
          <p:cNvPr id="30" name="TextBox 29"/>
          <p:cNvSpPr txBox="1"/>
          <p:nvPr/>
        </p:nvSpPr>
        <p:spPr>
          <a:xfrm>
            <a:off x="5048697" y="4463309"/>
            <a:ext cx="1117356" cy="337015"/>
          </a:xfrm>
          <a:prstGeom prst="rect">
            <a:avLst/>
          </a:prstGeom>
          <a:noFill/>
        </p:spPr>
        <p:txBody>
          <a:bodyPr wrap="square" lIns="91440" tIns="91440" rIns="9144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Sign</a:t>
            </a:r>
            <a:r>
              <a:rPr kumimoji="0" lang="en-US" sz="1100" b="0" i="0" u="none" strike="noStrike" kern="0" cap="none" spc="0" normalizeH="0" noProof="0" dirty="0">
                <a:ln>
                  <a:noFill/>
                </a:ln>
                <a:solidFill>
                  <a:srgbClr val="282828"/>
                </a:solidFill>
                <a:effectLst/>
                <a:uLnTx/>
                <a:uFillTx/>
                <a:latin typeface="Segoe UI Semibold" panose="020B0702040204020203" pitchFamily="34" charset="0"/>
                <a:cs typeface="Segoe UI Semibold" panose="020B0702040204020203" pitchFamily="34" charset="0"/>
              </a:rPr>
              <a:t> token</a:t>
            </a:r>
            <a:endPar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endParaRPr>
          </a:p>
        </p:txBody>
      </p:sp>
      <p:grpSp>
        <p:nvGrpSpPr>
          <p:cNvPr id="34" name="Group 33"/>
          <p:cNvGrpSpPr/>
          <p:nvPr/>
        </p:nvGrpSpPr>
        <p:grpSpPr>
          <a:xfrm>
            <a:off x="6315933" y="3049575"/>
            <a:ext cx="424791" cy="424791"/>
            <a:chOff x="6560457" y="2743630"/>
            <a:chExt cx="424791" cy="424791"/>
          </a:xfrm>
        </p:grpSpPr>
        <p:sp>
          <p:nvSpPr>
            <p:cNvPr id="3" name="Oval 2"/>
            <p:cNvSpPr/>
            <p:nvPr/>
          </p:nvSpPr>
          <p:spPr bwMode="auto">
            <a:xfrm>
              <a:off x="6560457" y="2743630"/>
              <a:ext cx="424791" cy="424791"/>
            </a:xfrm>
            <a:prstGeom prst="ellipse">
              <a:avLst/>
            </a:prstGeom>
            <a:solidFill>
              <a:srgbClr val="F2F2F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31" name="Group 30"/>
            <p:cNvGrpSpPr/>
            <p:nvPr/>
          </p:nvGrpSpPr>
          <p:grpSpPr>
            <a:xfrm>
              <a:off x="6560457" y="2743630"/>
              <a:ext cx="424791" cy="424791"/>
              <a:chOff x="8257201" y="4912135"/>
              <a:chExt cx="777240" cy="777240"/>
            </a:xfrm>
            <a:solidFill>
              <a:srgbClr val="EDC30D"/>
            </a:solidFill>
          </p:grpSpPr>
          <p:sp>
            <p:nvSpPr>
              <p:cNvPr id="32" name="Oval 37"/>
              <p:cNvSpPr/>
              <p:nvPr/>
            </p:nvSpPr>
            <p:spPr>
              <a:xfrm>
                <a:off x="8257201" y="4912135"/>
                <a:ext cx="777240" cy="777240"/>
              </a:xfrm>
              <a:custGeom>
                <a:avLst/>
                <a:gdLst/>
                <a:ahLst/>
                <a:cxnLst/>
                <a:rect l="l" t="t" r="r" b="b"/>
                <a:pathLst>
                  <a:path w="777240" h="777240">
                    <a:moveTo>
                      <a:pt x="388620" y="32004"/>
                    </a:moveTo>
                    <a:cubicBezTo>
                      <a:pt x="191666" y="32004"/>
                      <a:pt x="32004" y="191666"/>
                      <a:pt x="32004" y="388620"/>
                    </a:cubicBezTo>
                    <a:cubicBezTo>
                      <a:pt x="32004" y="585574"/>
                      <a:pt x="191666" y="745236"/>
                      <a:pt x="388620" y="745236"/>
                    </a:cubicBezTo>
                    <a:cubicBezTo>
                      <a:pt x="585574" y="745236"/>
                      <a:pt x="745236" y="585574"/>
                      <a:pt x="745236" y="388620"/>
                    </a:cubicBezTo>
                    <a:cubicBezTo>
                      <a:pt x="745236" y="191666"/>
                      <a:pt x="585574" y="32004"/>
                      <a:pt x="388620" y="32004"/>
                    </a:cubicBezTo>
                    <a:close/>
                    <a:moveTo>
                      <a:pt x="388620" y="0"/>
                    </a:moveTo>
                    <a:cubicBezTo>
                      <a:pt x="603249" y="0"/>
                      <a:pt x="777240" y="173991"/>
                      <a:pt x="777240" y="388620"/>
                    </a:cubicBezTo>
                    <a:cubicBezTo>
                      <a:pt x="777240" y="603249"/>
                      <a:pt x="603249" y="777240"/>
                      <a:pt x="388620" y="777240"/>
                    </a:cubicBezTo>
                    <a:cubicBezTo>
                      <a:pt x="173991" y="777240"/>
                      <a:pt x="0" y="603249"/>
                      <a:pt x="0" y="388620"/>
                    </a:cubicBezTo>
                    <a:cubicBezTo>
                      <a:pt x="0" y="173991"/>
                      <a:pt x="173991" y="0"/>
                      <a:pt x="38862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0580"/>
                <a:endParaRPr lang="en-US" sz="1753" dirty="0">
                  <a:ln>
                    <a:solidFill>
                      <a:srgbClr val="FFFFFF">
                        <a:alpha val="0"/>
                      </a:srgbClr>
                    </a:solidFill>
                  </a:ln>
                  <a:solidFill>
                    <a:srgbClr val="000000"/>
                  </a:solidFill>
                  <a:latin typeface="Segoe UI"/>
                </a:endParaRPr>
              </a:p>
            </p:txBody>
          </p:sp>
          <p:sp>
            <p:nvSpPr>
              <p:cNvPr id="33" name="Freeform 32"/>
              <p:cNvSpPr/>
              <p:nvPr/>
            </p:nvSpPr>
            <p:spPr>
              <a:xfrm>
                <a:off x="8400884" y="5110098"/>
                <a:ext cx="489875" cy="381314"/>
              </a:xfrm>
              <a:custGeom>
                <a:avLst/>
                <a:gdLst>
                  <a:gd name="connsiteX0" fmla="*/ 0 w 464344"/>
                  <a:gd name="connsiteY0" fmla="*/ 211932 h 400050"/>
                  <a:gd name="connsiteX1" fmla="*/ 169069 w 464344"/>
                  <a:gd name="connsiteY1" fmla="*/ 400050 h 400050"/>
                  <a:gd name="connsiteX2" fmla="*/ 464344 w 464344"/>
                  <a:gd name="connsiteY2" fmla="*/ 90488 h 400050"/>
                  <a:gd name="connsiteX3" fmla="*/ 397669 w 464344"/>
                  <a:gd name="connsiteY3" fmla="*/ 0 h 400050"/>
                  <a:gd name="connsiteX4" fmla="*/ 166688 w 464344"/>
                  <a:gd name="connsiteY4" fmla="*/ 209550 h 400050"/>
                  <a:gd name="connsiteX5" fmla="*/ 76200 w 464344"/>
                  <a:gd name="connsiteY5" fmla="*/ 121444 h 400050"/>
                  <a:gd name="connsiteX6" fmla="*/ 0 w 464344"/>
                  <a:gd name="connsiteY6" fmla="*/ 211932 h 400050"/>
                  <a:gd name="connsiteX0" fmla="*/ 0 w 464344"/>
                  <a:gd name="connsiteY0" fmla="*/ 211932 h 400050"/>
                  <a:gd name="connsiteX1" fmla="*/ 169069 w 464344"/>
                  <a:gd name="connsiteY1" fmla="*/ 400050 h 400050"/>
                  <a:gd name="connsiteX2" fmla="*/ 464344 w 464344"/>
                  <a:gd name="connsiteY2" fmla="*/ 90488 h 400050"/>
                  <a:gd name="connsiteX3" fmla="*/ 397669 w 464344"/>
                  <a:gd name="connsiteY3" fmla="*/ 0 h 400050"/>
                  <a:gd name="connsiteX4" fmla="*/ 166688 w 464344"/>
                  <a:gd name="connsiteY4" fmla="*/ 209550 h 400050"/>
                  <a:gd name="connsiteX5" fmla="*/ 76200 w 464344"/>
                  <a:gd name="connsiteY5" fmla="*/ 121444 h 400050"/>
                  <a:gd name="connsiteX6" fmla="*/ 0 w 464344"/>
                  <a:gd name="connsiteY6" fmla="*/ 211932 h 400050"/>
                  <a:gd name="connsiteX0" fmla="*/ 0 w 464344"/>
                  <a:gd name="connsiteY0" fmla="*/ 211932 h 400050"/>
                  <a:gd name="connsiteX1" fmla="*/ 169069 w 464344"/>
                  <a:gd name="connsiteY1" fmla="*/ 400050 h 400050"/>
                  <a:gd name="connsiteX2" fmla="*/ 464344 w 464344"/>
                  <a:gd name="connsiteY2" fmla="*/ 90488 h 400050"/>
                  <a:gd name="connsiteX3" fmla="*/ 397669 w 464344"/>
                  <a:gd name="connsiteY3" fmla="*/ 0 h 400050"/>
                  <a:gd name="connsiteX4" fmla="*/ 166688 w 464344"/>
                  <a:gd name="connsiteY4" fmla="*/ 209550 h 400050"/>
                  <a:gd name="connsiteX5" fmla="*/ 76200 w 464344"/>
                  <a:gd name="connsiteY5" fmla="*/ 121444 h 400050"/>
                  <a:gd name="connsiteX6" fmla="*/ 0 w 464344"/>
                  <a:gd name="connsiteY6" fmla="*/ 211932 h 400050"/>
                  <a:gd name="connsiteX0" fmla="*/ 0 w 464344"/>
                  <a:gd name="connsiteY0" fmla="*/ 211932 h 401791"/>
                  <a:gd name="connsiteX1" fmla="*/ 169069 w 464344"/>
                  <a:gd name="connsiteY1" fmla="*/ 400050 h 401791"/>
                  <a:gd name="connsiteX2" fmla="*/ 464344 w 464344"/>
                  <a:gd name="connsiteY2" fmla="*/ 90488 h 401791"/>
                  <a:gd name="connsiteX3" fmla="*/ 397669 w 464344"/>
                  <a:gd name="connsiteY3" fmla="*/ 0 h 401791"/>
                  <a:gd name="connsiteX4" fmla="*/ 166688 w 464344"/>
                  <a:gd name="connsiteY4" fmla="*/ 209550 h 401791"/>
                  <a:gd name="connsiteX5" fmla="*/ 76200 w 464344"/>
                  <a:gd name="connsiteY5" fmla="*/ 121444 h 401791"/>
                  <a:gd name="connsiteX6" fmla="*/ 0 w 464344"/>
                  <a:gd name="connsiteY6" fmla="*/ 211932 h 401791"/>
                  <a:gd name="connsiteX0" fmla="*/ 0 w 464344"/>
                  <a:gd name="connsiteY0" fmla="*/ 211932 h 400155"/>
                  <a:gd name="connsiteX1" fmla="*/ 169069 w 464344"/>
                  <a:gd name="connsiteY1" fmla="*/ 400050 h 400155"/>
                  <a:gd name="connsiteX2" fmla="*/ 464344 w 464344"/>
                  <a:gd name="connsiteY2" fmla="*/ 90488 h 400155"/>
                  <a:gd name="connsiteX3" fmla="*/ 397669 w 464344"/>
                  <a:gd name="connsiteY3" fmla="*/ 0 h 400155"/>
                  <a:gd name="connsiteX4" fmla="*/ 166688 w 464344"/>
                  <a:gd name="connsiteY4" fmla="*/ 209550 h 400155"/>
                  <a:gd name="connsiteX5" fmla="*/ 76200 w 464344"/>
                  <a:gd name="connsiteY5" fmla="*/ 121444 h 400155"/>
                  <a:gd name="connsiteX6" fmla="*/ 0 w 464344"/>
                  <a:gd name="connsiteY6" fmla="*/ 211932 h 400155"/>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71488"/>
                  <a:gd name="connsiteY0" fmla="*/ 211932 h 401670"/>
                  <a:gd name="connsiteX1" fmla="*/ 169069 w 471488"/>
                  <a:gd name="connsiteY1" fmla="*/ 400050 h 401670"/>
                  <a:gd name="connsiteX2" fmla="*/ 471488 w 471488"/>
                  <a:gd name="connsiteY2" fmla="*/ 95251 h 401670"/>
                  <a:gd name="connsiteX3" fmla="*/ 397669 w 471488"/>
                  <a:gd name="connsiteY3" fmla="*/ 0 h 401670"/>
                  <a:gd name="connsiteX4" fmla="*/ 166688 w 471488"/>
                  <a:gd name="connsiteY4" fmla="*/ 209550 h 401670"/>
                  <a:gd name="connsiteX5" fmla="*/ 76200 w 471488"/>
                  <a:gd name="connsiteY5" fmla="*/ 121444 h 401670"/>
                  <a:gd name="connsiteX6" fmla="*/ 0 w 471488"/>
                  <a:gd name="connsiteY6" fmla="*/ 211932 h 401670"/>
                  <a:gd name="connsiteX0" fmla="*/ 0 w 471488"/>
                  <a:gd name="connsiteY0" fmla="*/ 211932 h 400100"/>
                  <a:gd name="connsiteX1" fmla="*/ 169069 w 471488"/>
                  <a:gd name="connsiteY1" fmla="*/ 400050 h 400100"/>
                  <a:gd name="connsiteX2" fmla="*/ 471488 w 471488"/>
                  <a:gd name="connsiteY2" fmla="*/ 95251 h 400100"/>
                  <a:gd name="connsiteX3" fmla="*/ 397669 w 471488"/>
                  <a:gd name="connsiteY3" fmla="*/ 0 h 400100"/>
                  <a:gd name="connsiteX4" fmla="*/ 166688 w 471488"/>
                  <a:gd name="connsiteY4" fmla="*/ 209550 h 400100"/>
                  <a:gd name="connsiteX5" fmla="*/ 76200 w 471488"/>
                  <a:gd name="connsiteY5" fmla="*/ 121444 h 400100"/>
                  <a:gd name="connsiteX6" fmla="*/ 0 w 471488"/>
                  <a:gd name="connsiteY6" fmla="*/ 211932 h 400100"/>
                  <a:gd name="connsiteX0" fmla="*/ 0 w 471488"/>
                  <a:gd name="connsiteY0" fmla="*/ 211932 h 400182"/>
                  <a:gd name="connsiteX1" fmla="*/ 169069 w 471488"/>
                  <a:gd name="connsiteY1" fmla="*/ 400050 h 400182"/>
                  <a:gd name="connsiteX2" fmla="*/ 471488 w 471488"/>
                  <a:gd name="connsiteY2" fmla="*/ 95251 h 400182"/>
                  <a:gd name="connsiteX3" fmla="*/ 397669 w 471488"/>
                  <a:gd name="connsiteY3" fmla="*/ 0 h 400182"/>
                  <a:gd name="connsiteX4" fmla="*/ 166688 w 471488"/>
                  <a:gd name="connsiteY4" fmla="*/ 209550 h 400182"/>
                  <a:gd name="connsiteX5" fmla="*/ 76200 w 471488"/>
                  <a:gd name="connsiteY5" fmla="*/ 121444 h 400182"/>
                  <a:gd name="connsiteX6" fmla="*/ 0 w 471488"/>
                  <a:gd name="connsiteY6" fmla="*/ 211932 h 400182"/>
                  <a:gd name="connsiteX0" fmla="*/ 0 w 471488"/>
                  <a:gd name="connsiteY0" fmla="*/ 211932 h 400189"/>
                  <a:gd name="connsiteX1" fmla="*/ 169069 w 471488"/>
                  <a:gd name="connsiteY1" fmla="*/ 400050 h 400189"/>
                  <a:gd name="connsiteX2" fmla="*/ 471488 w 471488"/>
                  <a:gd name="connsiteY2" fmla="*/ 95251 h 400189"/>
                  <a:gd name="connsiteX3" fmla="*/ 397669 w 471488"/>
                  <a:gd name="connsiteY3" fmla="*/ 0 h 400189"/>
                  <a:gd name="connsiteX4" fmla="*/ 166688 w 471488"/>
                  <a:gd name="connsiteY4" fmla="*/ 209550 h 400189"/>
                  <a:gd name="connsiteX5" fmla="*/ 76200 w 471488"/>
                  <a:gd name="connsiteY5" fmla="*/ 121444 h 400189"/>
                  <a:gd name="connsiteX6" fmla="*/ 0 w 471488"/>
                  <a:gd name="connsiteY6" fmla="*/ 211932 h 400189"/>
                  <a:gd name="connsiteX0" fmla="*/ 0 w 471488"/>
                  <a:gd name="connsiteY0" fmla="*/ 211932 h 395431"/>
                  <a:gd name="connsiteX1" fmla="*/ 178594 w 471488"/>
                  <a:gd name="connsiteY1" fmla="*/ 395288 h 395431"/>
                  <a:gd name="connsiteX2" fmla="*/ 471488 w 471488"/>
                  <a:gd name="connsiteY2" fmla="*/ 95251 h 395431"/>
                  <a:gd name="connsiteX3" fmla="*/ 397669 w 471488"/>
                  <a:gd name="connsiteY3" fmla="*/ 0 h 395431"/>
                  <a:gd name="connsiteX4" fmla="*/ 166688 w 471488"/>
                  <a:gd name="connsiteY4" fmla="*/ 209550 h 395431"/>
                  <a:gd name="connsiteX5" fmla="*/ 76200 w 471488"/>
                  <a:gd name="connsiteY5" fmla="*/ 121444 h 395431"/>
                  <a:gd name="connsiteX6" fmla="*/ 0 w 471488"/>
                  <a:gd name="connsiteY6" fmla="*/ 211932 h 395431"/>
                  <a:gd name="connsiteX0" fmla="*/ 0 w 471488"/>
                  <a:gd name="connsiteY0" fmla="*/ 211932 h 395331"/>
                  <a:gd name="connsiteX1" fmla="*/ 178594 w 471488"/>
                  <a:gd name="connsiteY1" fmla="*/ 395288 h 395331"/>
                  <a:gd name="connsiteX2" fmla="*/ 471488 w 471488"/>
                  <a:gd name="connsiteY2" fmla="*/ 95251 h 395331"/>
                  <a:gd name="connsiteX3" fmla="*/ 397669 w 471488"/>
                  <a:gd name="connsiteY3" fmla="*/ 0 h 395331"/>
                  <a:gd name="connsiteX4" fmla="*/ 166688 w 471488"/>
                  <a:gd name="connsiteY4" fmla="*/ 209550 h 395331"/>
                  <a:gd name="connsiteX5" fmla="*/ 76200 w 471488"/>
                  <a:gd name="connsiteY5" fmla="*/ 121444 h 395331"/>
                  <a:gd name="connsiteX6" fmla="*/ 0 w 471488"/>
                  <a:gd name="connsiteY6" fmla="*/ 211932 h 395331"/>
                  <a:gd name="connsiteX0" fmla="*/ 0 w 471488"/>
                  <a:gd name="connsiteY0" fmla="*/ 211932 h 395331"/>
                  <a:gd name="connsiteX1" fmla="*/ 178594 w 471488"/>
                  <a:gd name="connsiteY1" fmla="*/ 395288 h 395331"/>
                  <a:gd name="connsiteX2" fmla="*/ 471488 w 471488"/>
                  <a:gd name="connsiteY2" fmla="*/ 95251 h 395331"/>
                  <a:gd name="connsiteX3" fmla="*/ 397669 w 471488"/>
                  <a:gd name="connsiteY3" fmla="*/ 0 h 395331"/>
                  <a:gd name="connsiteX4" fmla="*/ 166688 w 471488"/>
                  <a:gd name="connsiteY4" fmla="*/ 209550 h 395331"/>
                  <a:gd name="connsiteX5" fmla="*/ 76200 w 471488"/>
                  <a:gd name="connsiteY5" fmla="*/ 121444 h 395331"/>
                  <a:gd name="connsiteX6" fmla="*/ 0 w 471488"/>
                  <a:gd name="connsiteY6" fmla="*/ 211932 h 395331"/>
                  <a:gd name="connsiteX0" fmla="*/ 0 w 469107"/>
                  <a:gd name="connsiteY0" fmla="*/ 211932 h 396777"/>
                  <a:gd name="connsiteX1" fmla="*/ 178594 w 469107"/>
                  <a:gd name="connsiteY1" fmla="*/ 395288 h 396777"/>
                  <a:gd name="connsiteX2" fmla="*/ 469107 w 469107"/>
                  <a:gd name="connsiteY2" fmla="*/ 104776 h 396777"/>
                  <a:gd name="connsiteX3" fmla="*/ 397669 w 469107"/>
                  <a:gd name="connsiteY3" fmla="*/ 0 h 396777"/>
                  <a:gd name="connsiteX4" fmla="*/ 166688 w 469107"/>
                  <a:gd name="connsiteY4" fmla="*/ 209550 h 396777"/>
                  <a:gd name="connsiteX5" fmla="*/ 76200 w 469107"/>
                  <a:gd name="connsiteY5" fmla="*/ 121444 h 396777"/>
                  <a:gd name="connsiteX6" fmla="*/ 0 w 469107"/>
                  <a:gd name="connsiteY6" fmla="*/ 211932 h 396777"/>
                  <a:gd name="connsiteX0" fmla="*/ 0 w 469107"/>
                  <a:gd name="connsiteY0" fmla="*/ 211932 h 395386"/>
                  <a:gd name="connsiteX1" fmla="*/ 178594 w 469107"/>
                  <a:gd name="connsiteY1" fmla="*/ 395288 h 395386"/>
                  <a:gd name="connsiteX2" fmla="*/ 469107 w 469107"/>
                  <a:gd name="connsiteY2" fmla="*/ 104776 h 395386"/>
                  <a:gd name="connsiteX3" fmla="*/ 397669 w 469107"/>
                  <a:gd name="connsiteY3" fmla="*/ 0 h 395386"/>
                  <a:gd name="connsiteX4" fmla="*/ 166688 w 469107"/>
                  <a:gd name="connsiteY4" fmla="*/ 209550 h 395386"/>
                  <a:gd name="connsiteX5" fmla="*/ 76200 w 469107"/>
                  <a:gd name="connsiteY5" fmla="*/ 121444 h 395386"/>
                  <a:gd name="connsiteX6" fmla="*/ 0 w 469107"/>
                  <a:gd name="connsiteY6" fmla="*/ 211932 h 39538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6200 w 469107"/>
                  <a:gd name="connsiteY5" fmla="*/ 121444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286"/>
                  <a:gd name="connsiteY0" fmla="*/ 211932 h 395296"/>
                  <a:gd name="connsiteX1" fmla="*/ 178594 w 469286"/>
                  <a:gd name="connsiteY1" fmla="*/ 395288 h 395296"/>
                  <a:gd name="connsiteX2" fmla="*/ 469107 w 469286"/>
                  <a:gd name="connsiteY2" fmla="*/ 104776 h 395296"/>
                  <a:gd name="connsiteX3" fmla="*/ 397669 w 469286"/>
                  <a:gd name="connsiteY3" fmla="*/ 0 h 395296"/>
                  <a:gd name="connsiteX4" fmla="*/ 166688 w 469286"/>
                  <a:gd name="connsiteY4" fmla="*/ 209550 h 395296"/>
                  <a:gd name="connsiteX5" fmla="*/ 71437 w 469286"/>
                  <a:gd name="connsiteY5" fmla="*/ 133350 h 395296"/>
                  <a:gd name="connsiteX6" fmla="*/ 0 w 469286"/>
                  <a:gd name="connsiteY6" fmla="*/ 211932 h 395296"/>
                  <a:gd name="connsiteX0" fmla="*/ 0 w 474512"/>
                  <a:gd name="connsiteY0" fmla="*/ 211932 h 395296"/>
                  <a:gd name="connsiteX1" fmla="*/ 178594 w 474512"/>
                  <a:gd name="connsiteY1" fmla="*/ 395288 h 395296"/>
                  <a:gd name="connsiteX2" fmla="*/ 469107 w 474512"/>
                  <a:gd name="connsiteY2" fmla="*/ 104776 h 395296"/>
                  <a:gd name="connsiteX3" fmla="*/ 397669 w 474512"/>
                  <a:gd name="connsiteY3" fmla="*/ 0 h 395296"/>
                  <a:gd name="connsiteX4" fmla="*/ 166688 w 474512"/>
                  <a:gd name="connsiteY4" fmla="*/ 209550 h 395296"/>
                  <a:gd name="connsiteX5" fmla="*/ 71437 w 474512"/>
                  <a:gd name="connsiteY5" fmla="*/ 133350 h 395296"/>
                  <a:gd name="connsiteX6" fmla="*/ 0 w 474512"/>
                  <a:gd name="connsiteY6" fmla="*/ 211932 h 395296"/>
                  <a:gd name="connsiteX0" fmla="*/ 0 w 461448"/>
                  <a:gd name="connsiteY0" fmla="*/ 211932 h 396898"/>
                  <a:gd name="connsiteX1" fmla="*/ 178594 w 461448"/>
                  <a:gd name="connsiteY1" fmla="*/ 395288 h 396898"/>
                  <a:gd name="connsiteX2" fmla="*/ 454819 w 461448"/>
                  <a:gd name="connsiteY2" fmla="*/ 100014 h 396898"/>
                  <a:gd name="connsiteX3" fmla="*/ 397669 w 461448"/>
                  <a:gd name="connsiteY3" fmla="*/ 0 h 396898"/>
                  <a:gd name="connsiteX4" fmla="*/ 166688 w 461448"/>
                  <a:gd name="connsiteY4" fmla="*/ 209550 h 396898"/>
                  <a:gd name="connsiteX5" fmla="*/ 71437 w 461448"/>
                  <a:gd name="connsiteY5" fmla="*/ 133350 h 396898"/>
                  <a:gd name="connsiteX6" fmla="*/ 0 w 461448"/>
                  <a:gd name="connsiteY6" fmla="*/ 211932 h 396898"/>
                  <a:gd name="connsiteX0" fmla="*/ 0 w 466181"/>
                  <a:gd name="connsiteY0" fmla="*/ 211932 h 396898"/>
                  <a:gd name="connsiteX1" fmla="*/ 178594 w 466181"/>
                  <a:gd name="connsiteY1" fmla="*/ 395288 h 396898"/>
                  <a:gd name="connsiteX2" fmla="*/ 454819 w 466181"/>
                  <a:gd name="connsiteY2" fmla="*/ 100014 h 396898"/>
                  <a:gd name="connsiteX3" fmla="*/ 397669 w 466181"/>
                  <a:gd name="connsiteY3" fmla="*/ 0 h 396898"/>
                  <a:gd name="connsiteX4" fmla="*/ 166688 w 466181"/>
                  <a:gd name="connsiteY4" fmla="*/ 209550 h 396898"/>
                  <a:gd name="connsiteX5" fmla="*/ 71437 w 466181"/>
                  <a:gd name="connsiteY5" fmla="*/ 133350 h 396898"/>
                  <a:gd name="connsiteX6" fmla="*/ 0 w 466181"/>
                  <a:gd name="connsiteY6" fmla="*/ 211932 h 396898"/>
                  <a:gd name="connsiteX0" fmla="*/ 0 w 466181"/>
                  <a:gd name="connsiteY0" fmla="*/ 211932 h 395288"/>
                  <a:gd name="connsiteX1" fmla="*/ 178594 w 466181"/>
                  <a:gd name="connsiteY1" fmla="*/ 395288 h 395288"/>
                  <a:gd name="connsiteX2" fmla="*/ 454819 w 466181"/>
                  <a:gd name="connsiteY2" fmla="*/ 100014 h 395288"/>
                  <a:gd name="connsiteX3" fmla="*/ 397669 w 466181"/>
                  <a:gd name="connsiteY3" fmla="*/ 0 h 395288"/>
                  <a:gd name="connsiteX4" fmla="*/ 166688 w 466181"/>
                  <a:gd name="connsiteY4" fmla="*/ 209550 h 395288"/>
                  <a:gd name="connsiteX5" fmla="*/ 71437 w 466181"/>
                  <a:gd name="connsiteY5" fmla="*/ 133350 h 395288"/>
                  <a:gd name="connsiteX6" fmla="*/ 0 w 466181"/>
                  <a:gd name="connsiteY6" fmla="*/ 211932 h 395288"/>
                  <a:gd name="connsiteX0" fmla="*/ 0 w 458125"/>
                  <a:gd name="connsiteY0" fmla="*/ 211932 h 395374"/>
                  <a:gd name="connsiteX1" fmla="*/ 178594 w 458125"/>
                  <a:gd name="connsiteY1" fmla="*/ 395288 h 395374"/>
                  <a:gd name="connsiteX2" fmla="*/ 314086 w 458125"/>
                  <a:gd name="connsiteY2" fmla="*/ 234103 h 395374"/>
                  <a:gd name="connsiteX3" fmla="*/ 454819 w 458125"/>
                  <a:gd name="connsiteY3" fmla="*/ 100014 h 395374"/>
                  <a:gd name="connsiteX4" fmla="*/ 397669 w 458125"/>
                  <a:gd name="connsiteY4" fmla="*/ 0 h 395374"/>
                  <a:gd name="connsiteX5" fmla="*/ 166688 w 458125"/>
                  <a:gd name="connsiteY5" fmla="*/ 209550 h 395374"/>
                  <a:gd name="connsiteX6" fmla="*/ 71437 w 458125"/>
                  <a:gd name="connsiteY6" fmla="*/ 133350 h 395374"/>
                  <a:gd name="connsiteX7" fmla="*/ 0 w 458125"/>
                  <a:gd name="connsiteY7" fmla="*/ 211932 h 395374"/>
                  <a:gd name="connsiteX0" fmla="*/ 0 w 458125"/>
                  <a:gd name="connsiteY0" fmla="*/ 211932 h 395374"/>
                  <a:gd name="connsiteX1" fmla="*/ 178594 w 458125"/>
                  <a:gd name="connsiteY1" fmla="*/ 395288 h 395374"/>
                  <a:gd name="connsiteX2" fmla="*/ 314086 w 458125"/>
                  <a:gd name="connsiteY2" fmla="*/ 234103 h 395374"/>
                  <a:gd name="connsiteX3" fmla="*/ 454819 w 458125"/>
                  <a:gd name="connsiteY3" fmla="*/ 100014 h 395374"/>
                  <a:gd name="connsiteX4" fmla="*/ 397669 w 458125"/>
                  <a:gd name="connsiteY4" fmla="*/ 0 h 395374"/>
                  <a:gd name="connsiteX5" fmla="*/ 166688 w 458125"/>
                  <a:gd name="connsiteY5" fmla="*/ 209550 h 395374"/>
                  <a:gd name="connsiteX6" fmla="*/ 71437 w 458125"/>
                  <a:gd name="connsiteY6" fmla="*/ 133350 h 395374"/>
                  <a:gd name="connsiteX7" fmla="*/ 0 w 458125"/>
                  <a:gd name="connsiteY7" fmla="*/ 211932 h 395374"/>
                  <a:gd name="connsiteX0" fmla="*/ 0 w 458125"/>
                  <a:gd name="connsiteY0" fmla="*/ 211932 h 395441"/>
                  <a:gd name="connsiteX1" fmla="*/ 178594 w 458125"/>
                  <a:gd name="connsiteY1" fmla="*/ 395288 h 395441"/>
                  <a:gd name="connsiteX2" fmla="*/ 314086 w 458125"/>
                  <a:gd name="connsiteY2" fmla="*/ 234103 h 395441"/>
                  <a:gd name="connsiteX3" fmla="*/ 454819 w 458125"/>
                  <a:gd name="connsiteY3" fmla="*/ 100014 h 395441"/>
                  <a:gd name="connsiteX4" fmla="*/ 397669 w 458125"/>
                  <a:gd name="connsiteY4" fmla="*/ 0 h 395441"/>
                  <a:gd name="connsiteX5" fmla="*/ 166688 w 458125"/>
                  <a:gd name="connsiteY5" fmla="*/ 209550 h 395441"/>
                  <a:gd name="connsiteX6" fmla="*/ 71437 w 458125"/>
                  <a:gd name="connsiteY6" fmla="*/ 133350 h 395441"/>
                  <a:gd name="connsiteX7" fmla="*/ 0 w 458125"/>
                  <a:gd name="connsiteY7" fmla="*/ 211932 h 395441"/>
                  <a:gd name="connsiteX0" fmla="*/ 0 w 458262"/>
                  <a:gd name="connsiteY0" fmla="*/ 211932 h 395480"/>
                  <a:gd name="connsiteX1" fmla="*/ 178594 w 458262"/>
                  <a:gd name="connsiteY1" fmla="*/ 395288 h 395480"/>
                  <a:gd name="connsiteX2" fmla="*/ 311704 w 458262"/>
                  <a:gd name="connsiteY2" fmla="*/ 236484 h 395480"/>
                  <a:gd name="connsiteX3" fmla="*/ 454819 w 458262"/>
                  <a:gd name="connsiteY3" fmla="*/ 100014 h 395480"/>
                  <a:gd name="connsiteX4" fmla="*/ 397669 w 458262"/>
                  <a:gd name="connsiteY4" fmla="*/ 0 h 395480"/>
                  <a:gd name="connsiteX5" fmla="*/ 166688 w 458262"/>
                  <a:gd name="connsiteY5" fmla="*/ 209550 h 395480"/>
                  <a:gd name="connsiteX6" fmla="*/ 71437 w 458262"/>
                  <a:gd name="connsiteY6" fmla="*/ 133350 h 395480"/>
                  <a:gd name="connsiteX7" fmla="*/ 0 w 458262"/>
                  <a:gd name="connsiteY7" fmla="*/ 211932 h 395480"/>
                  <a:gd name="connsiteX0" fmla="*/ 0 w 458262"/>
                  <a:gd name="connsiteY0" fmla="*/ 211932 h 395339"/>
                  <a:gd name="connsiteX1" fmla="*/ 178594 w 458262"/>
                  <a:gd name="connsiteY1" fmla="*/ 395288 h 395339"/>
                  <a:gd name="connsiteX2" fmla="*/ 311704 w 458262"/>
                  <a:gd name="connsiteY2" fmla="*/ 236484 h 395339"/>
                  <a:gd name="connsiteX3" fmla="*/ 454819 w 458262"/>
                  <a:gd name="connsiteY3" fmla="*/ 100014 h 395339"/>
                  <a:gd name="connsiteX4" fmla="*/ 397669 w 458262"/>
                  <a:gd name="connsiteY4" fmla="*/ 0 h 395339"/>
                  <a:gd name="connsiteX5" fmla="*/ 166688 w 458262"/>
                  <a:gd name="connsiteY5" fmla="*/ 209550 h 395339"/>
                  <a:gd name="connsiteX6" fmla="*/ 71437 w 458262"/>
                  <a:gd name="connsiteY6" fmla="*/ 133350 h 395339"/>
                  <a:gd name="connsiteX7" fmla="*/ 0 w 458262"/>
                  <a:gd name="connsiteY7" fmla="*/ 211932 h 395339"/>
                  <a:gd name="connsiteX0" fmla="*/ 0 w 460643"/>
                  <a:gd name="connsiteY0" fmla="*/ 219076 h 395388"/>
                  <a:gd name="connsiteX1" fmla="*/ 180975 w 460643"/>
                  <a:gd name="connsiteY1" fmla="*/ 395288 h 395388"/>
                  <a:gd name="connsiteX2" fmla="*/ 314085 w 460643"/>
                  <a:gd name="connsiteY2" fmla="*/ 236484 h 395388"/>
                  <a:gd name="connsiteX3" fmla="*/ 457200 w 460643"/>
                  <a:gd name="connsiteY3" fmla="*/ 100014 h 395388"/>
                  <a:gd name="connsiteX4" fmla="*/ 400050 w 460643"/>
                  <a:gd name="connsiteY4" fmla="*/ 0 h 395388"/>
                  <a:gd name="connsiteX5" fmla="*/ 169069 w 460643"/>
                  <a:gd name="connsiteY5" fmla="*/ 209550 h 395388"/>
                  <a:gd name="connsiteX6" fmla="*/ 73818 w 460643"/>
                  <a:gd name="connsiteY6" fmla="*/ 133350 h 395388"/>
                  <a:gd name="connsiteX7" fmla="*/ 0 w 460643"/>
                  <a:gd name="connsiteY7" fmla="*/ 219076 h 395388"/>
                  <a:gd name="connsiteX0" fmla="*/ 0 w 460643"/>
                  <a:gd name="connsiteY0" fmla="*/ 219076 h 395308"/>
                  <a:gd name="connsiteX1" fmla="*/ 180975 w 460643"/>
                  <a:gd name="connsiteY1" fmla="*/ 395288 h 395308"/>
                  <a:gd name="connsiteX2" fmla="*/ 314085 w 460643"/>
                  <a:gd name="connsiteY2" fmla="*/ 236484 h 395308"/>
                  <a:gd name="connsiteX3" fmla="*/ 457200 w 460643"/>
                  <a:gd name="connsiteY3" fmla="*/ 100014 h 395308"/>
                  <a:gd name="connsiteX4" fmla="*/ 400050 w 460643"/>
                  <a:gd name="connsiteY4" fmla="*/ 0 h 395308"/>
                  <a:gd name="connsiteX5" fmla="*/ 169069 w 460643"/>
                  <a:gd name="connsiteY5" fmla="*/ 209550 h 395308"/>
                  <a:gd name="connsiteX6" fmla="*/ 73818 w 460643"/>
                  <a:gd name="connsiteY6" fmla="*/ 133350 h 395308"/>
                  <a:gd name="connsiteX7" fmla="*/ 0 w 460643"/>
                  <a:gd name="connsiteY7" fmla="*/ 219076 h 395308"/>
                  <a:gd name="connsiteX0" fmla="*/ 16548 w 477191"/>
                  <a:gd name="connsiteY0" fmla="*/ 219076 h 395308"/>
                  <a:gd name="connsiteX1" fmla="*/ 197523 w 477191"/>
                  <a:gd name="connsiteY1" fmla="*/ 395288 h 395308"/>
                  <a:gd name="connsiteX2" fmla="*/ 330633 w 477191"/>
                  <a:gd name="connsiteY2" fmla="*/ 236484 h 395308"/>
                  <a:gd name="connsiteX3" fmla="*/ 473748 w 477191"/>
                  <a:gd name="connsiteY3" fmla="*/ 100014 h 395308"/>
                  <a:gd name="connsiteX4" fmla="*/ 416598 w 477191"/>
                  <a:gd name="connsiteY4" fmla="*/ 0 h 395308"/>
                  <a:gd name="connsiteX5" fmla="*/ 185617 w 477191"/>
                  <a:gd name="connsiteY5" fmla="*/ 209550 h 395308"/>
                  <a:gd name="connsiteX6" fmla="*/ 90366 w 477191"/>
                  <a:gd name="connsiteY6" fmla="*/ 133350 h 395308"/>
                  <a:gd name="connsiteX7" fmla="*/ 16548 w 477191"/>
                  <a:gd name="connsiteY7" fmla="*/ 219076 h 395308"/>
                  <a:gd name="connsiteX0" fmla="*/ 10200 w 470843"/>
                  <a:gd name="connsiteY0" fmla="*/ 219076 h 395305"/>
                  <a:gd name="connsiteX1" fmla="*/ 191175 w 470843"/>
                  <a:gd name="connsiteY1" fmla="*/ 395288 h 395305"/>
                  <a:gd name="connsiteX2" fmla="*/ 324285 w 470843"/>
                  <a:gd name="connsiteY2" fmla="*/ 236484 h 395305"/>
                  <a:gd name="connsiteX3" fmla="*/ 467400 w 470843"/>
                  <a:gd name="connsiteY3" fmla="*/ 100014 h 395305"/>
                  <a:gd name="connsiteX4" fmla="*/ 410250 w 470843"/>
                  <a:gd name="connsiteY4" fmla="*/ 0 h 395305"/>
                  <a:gd name="connsiteX5" fmla="*/ 179269 w 470843"/>
                  <a:gd name="connsiteY5" fmla="*/ 209550 h 395305"/>
                  <a:gd name="connsiteX6" fmla="*/ 84018 w 470843"/>
                  <a:gd name="connsiteY6" fmla="*/ 133350 h 395305"/>
                  <a:gd name="connsiteX7" fmla="*/ 10200 w 470843"/>
                  <a:gd name="connsiteY7" fmla="*/ 219076 h 395305"/>
                  <a:gd name="connsiteX0" fmla="*/ 3259 w 463902"/>
                  <a:gd name="connsiteY0" fmla="*/ 219076 h 395305"/>
                  <a:gd name="connsiteX1" fmla="*/ 184234 w 463902"/>
                  <a:gd name="connsiteY1" fmla="*/ 395288 h 395305"/>
                  <a:gd name="connsiteX2" fmla="*/ 317344 w 463902"/>
                  <a:gd name="connsiteY2" fmla="*/ 236484 h 395305"/>
                  <a:gd name="connsiteX3" fmla="*/ 460459 w 463902"/>
                  <a:gd name="connsiteY3" fmla="*/ 100014 h 395305"/>
                  <a:gd name="connsiteX4" fmla="*/ 403309 w 463902"/>
                  <a:gd name="connsiteY4" fmla="*/ 0 h 395305"/>
                  <a:gd name="connsiteX5" fmla="*/ 172328 w 463902"/>
                  <a:gd name="connsiteY5" fmla="*/ 209550 h 395305"/>
                  <a:gd name="connsiteX6" fmla="*/ 77077 w 463902"/>
                  <a:gd name="connsiteY6" fmla="*/ 133350 h 395305"/>
                  <a:gd name="connsiteX7" fmla="*/ 3259 w 463902"/>
                  <a:gd name="connsiteY7" fmla="*/ 219076 h 395305"/>
                  <a:gd name="connsiteX0" fmla="*/ 3373 w 464016"/>
                  <a:gd name="connsiteY0" fmla="*/ 219076 h 357212"/>
                  <a:gd name="connsiteX1" fmla="*/ 186730 w 464016"/>
                  <a:gd name="connsiteY1" fmla="*/ 357188 h 357212"/>
                  <a:gd name="connsiteX2" fmla="*/ 317458 w 464016"/>
                  <a:gd name="connsiteY2" fmla="*/ 236484 h 357212"/>
                  <a:gd name="connsiteX3" fmla="*/ 460573 w 464016"/>
                  <a:gd name="connsiteY3" fmla="*/ 100014 h 357212"/>
                  <a:gd name="connsiteX4" fmla="*/ 403423 w 464016"/>
                  <a:gd name="connsiteY4" fmla="*/ 0 h 357212"/>
                  <a:gd name="connsiteX5" fmla="*/ 172442 w 464016"/>
                  <a:gd name="connsiteY5" fmla="*/ 209550 h 357212"/>
                  <a:gd name="connsiteX6" fmla="*/ 77191 w 464016"/>
                  <a:gd name="connsiteY6" fmla="*/ 133350 h 357212"/>
                  <a:gd name="connsiteX7" fmla="*/ 3373 w 464016"/>
                  <a:gd name="connsiteY7" fmla="*/ 219076 h 357212"/>
                  <a:gd name="connsiteX0" fmla="*/ 3605 w 464248"/>
                  <a:gd name="connsiteY0" fmla="*/ 219076 h 378641"/>
                  <a:gd name="connsiteX1" fmla="*/ 191725 w 464248"/>
                  <a:gd name="connsiteY1" fmla="*/ 378620 h 378641"/>
                  <a:gd name="connsiteX2" fmla="*/ 317690 w 464248"/>
                  <a:gd name="connsiteY2" fmla="*/ 236484 h 378641"/>
                  <a:gd name="connsiteX3" fmla="*/ 460805 w 464248"/>
                  <a:gd name="connsiteY3" fmla="*/ 100014 h 378641"/>
                  <a:gd name="connsiteX4" fmla="*/ 403655 w 464248"/>
                  <a:gd name="connsiteY4" fmla="*/ 0 h 378641"/>
                  <a:gd name="connsiteX5" fmla="*/ 172674 w 464248"/>
                  <a:gd name="connsiteY5" fmla="*/ 209550 h 378641"/>
                  <a:gd name="connsiteX6" fmla="*/ 77423 w 464248"/>
                  <a:gd name="connsiteY6" fmla="*/ 133350 h 378641"/>
                  <a:gd name="connsiteX7" fmla="*/ 3605 w 464248"/>
                  <a:gd name="connsiteY7" fmla="*/ 219076 h 378641"/>
                  <a:gd name="connsiteX0" fmla="*/ 3470 w 464113"/>
                  <a:gd name="connsiteY0" fmla="*/ 219076 h 378641"/>
                  <a:gd name="connsiteX1" fmla="*/ 191590 w 464113"/>
                  <a:gd name="connsiteY1" fmla="*/ 378620 h 378641"/>
                  <a:gd name="connsiteX2" fmla="*/ 317555 w 464113"/>
                  <a:gd name="connsiteY2" fmla="*/ 236484 h 378641"/>
                  <a:gd name="connsiteX3" fmla="*/ 460670 w 464113"/>
                  <a:gd name="connsiteY3" fmla="*/ 100014 h 378641"/>
                  <a:gd name="connsiteX4" fmla="*/ 403520 w 464113"/>
                  <a:gd name="connsiteY4" fmla="*/ 0 h 378641"/>
                  <a:gd name="connsiteX5" fmla="*/ 174921 w 464113"/>
                  <a:gd name="connsiteY5" fmla="*/ 221457 h 378641"/>
                  <a:gd name="connsiteX6" fmla="*/ 77288 w 464113"/>
                  <a:gd name="connsiteY6" fmla="*/ 133350 h 378641"/>
                  <a:gd name="connsiteX7" fmla="*/ 3470 w 464113"/>
                  <a:gd name="connsiteY7" fmla="*/ 219076 h 378641"/>
                  <a:gd name="connsiteX0" fmla="*/ 3470 w 479103"/>
                  <a:gd name="connsiteY0" fmla="*/ 237452 h 397017"/>
                  <a:gd name="connsiteX1" fmla="*/ 191590 w 479103"/>
                  <a:gd name="connsiteY1" fmla="*/ 396996 h 397017"/>
                  <a:gd name="connsiteX2" fmla="*/ 317555 w 479103"/>
                  <a:gd name="connsiteY2" fmla="*/ 254860 h 397017"/>
                  <a:gd name="connsiteX3" fmla="*/ 460670 w 479103"/>
                  <a:gd name="connsiteY3" fmla="*/ 118390 h 397017"/>
                  <a:gd name="connsiteX4" fmla="*/ 403520 w 479103"/>
                  <a:gd name="connsiteY4" fmla="*/ 18376 h 397017"/>
                  <a:gd name="connsiteX5" fmla="*/ 174921 w 479103"/>
                  <a:gd name="connsiteY5" fmla="*/ 239833 h 397017"/>
                  <a:gd name="connsiteX6" fmla="*/ 77288 w 479103"/>
                  <a:gd name="connsiteY6" fmla="*/ 151726 h 397017"/>
                  <a:gd name="connsiteX7" fmla="*/ 3470 w 479103"/>
                  <a:gd name="connsiteY7" fmla="*/ 237452 h 397017"/>
                  <a:gd name="connsiteX0" fmla="*/ 3470 w 463445"/>
                  <a:gd name="connsiteY0" fmla="*/ 220091 h 379656"/>
                  <a:gd name="connsiteX1" fmla="*/ 191590 w 463445"/>
                  <a:gd name="connsiteY1" fmla="*/ 379635 h 379656"/>
                  <a:gd name="connsiteX2" fmla="*/ 317555 w 463445"/>
                  <a:gd name="connsiteY2" fmla="*/ 237499 h 379656"/>
                  <a:gd name="connsiteX3" fmla="*/ 460670 w 463445"/>
                  <a:gd name="connsiteY3" fmla="*/ 101029 h 379656"/>
                  <a:gd name="connsiteX4" fmla="*/ 403520 w 463445"/>
                  <a:gd name="connsiteY4" fmla="*/ 1015 h 379656"/>
                  <a:gd name="connsiteX5" fmla="*/ 174921 w 463445"/>
                  <a:gd name="connsiteY5" fmla="*/ 222472 h 379656"/>
                  <a:gd name="connsiteX6" fmla="*/ 77288 w 463445"/>
                  <a:gd name="connsiteY6" fmla="*/ 134365 h 379656"/>
                  <a:gd name="connsiteX7" fmla="*/ 3470 w 463445"/>
                  <a:gd name="connsiteY7" fmla="*/ 220091 h 379656"/>
                  <a:gd name="connsiteX0" fmla="*/ 3470 w 471984"/>
                  <a:gd name="connsiteY0" fmla="*/ 220120 h 379685"/>
                  <a:gd name="connsiteX1" fmla="*/ 191590 w 471984"/>
                  <a:gd name="connsiteY1" fmla="*/ 379664 h 379685"/>
                  <a:gd name="connsiteX2" fmla="*/ 317555 w 471984"/>
                  <a:gd name="connsiteY2" fmla="*/ 237528 h 379685"/>
                  <a:gd name="connsiteX3" fmla="*/ 460670 w 471984"/>
                  <a:gd name="connsiteY3" fmla="*/ 101058 h 379685"/>
                  <a:gd name="connsiteX4" fmla="*/ 403520 w 471984"/>
                  <a:gd name="connsiteY4" fmla="*/ 1044 h 379685"/>
                  <a:gd name="connsiteX5" fmla="*/ 174921 w 471984"/>
                  <a:gd name="connsiteY5" fmla="*/ 222501 h 379685"/>
                  <a:gd name="connsiteX6" fmla="*/ 77288 w 471984"/>
                  <a:gd name="connsiteY6" fmla="*/ 134394 h 379685"/>
                  <a:gd name="connsiteX7" fmla="*/ 3470 w 471984"/>
                  <a:gd name="connsiteY7" fmla="*/ 220120 h 379685"/>
                  <a:gd name="connsiteX0" fmla="*/ 3470 w 478667"/>
                  <a:gd name="connsiteY0" fmla="*/ 221676 h 381241"/>
                  <a:gd name="connsiteX1" fmla="*/ 191590 w 478667"/>
                  <a:gd name="connsiteY1" fmla="*/ 381220 h 381241"/>
                  <a:gd name="connsiteX2" fmla="*/ 317555 w 478667"/>
                  <a:gd name="connsiteY2" fmla="*/ 239084 h 381241"/>
                  <a:gd name="connsiteX3" fmla="*/ 465432 w 478667"/>
                  <a:gd name="connsiteY3" fmla="*/ 112139 h 381241"/>
                  <a:gd name="connsiteX4" fmla="*/ 403520 w 478667"/>
                  <a:gd name="connsiteY4" fmla="*/ 2600 h 381241"/>
                  <a:gd name="connsiteX5" fmla="*/ 174921 w 478667"/>
                  <a:gd name="connsiteY5" fmla="*/ 224057 h 381241"/>
                  <a:gd name="connsiteX6" fmla="*/ 77288 w 478667"/>
                  <a:gd name="connsiteY6" fmla="*/ 135950 h 381241"/>
                  <a:gd name="connsiteX7" fmla="*/ 3470 w 478667"/>
                  <a:gd name="connsiteY7" fmla="*/ 221676 h 381241"/>
                  <a:gd name="connsiteX0" fmla="*/ 3470 w 478667"/>
                  <a:gd name="connsiteY0" fmla="*/ 221676 h 381241"/>
                  <a:gd name="connsiteX1" fmla="*/ 191590 w 478667"/>
                  <a:gd name="connsiteY1" fmla="*/ 381220 h 381241"/>
                  <a:gd name="connsiteX2" fmla="*/ 317555 w 478667"/>
                  <a:gd name="connsiteY2" fmla="*/ 239084 h 381241"/>
                  <a:gd name="connsiteX3" fmla="*/ 465432 w 478667"/>
                  <a:gd name="connsiteY3" fmla="*/ 112139 h 381241"/>
                  <a:gd name="connsiteX4" fmla="*/ 403520 w 478667"/>
                  <a:gd name="connsiteY4" fmla="*/ 2600 h 381241"/>
                  <a:gd name="connsiteX5" fmla="*/ 174921 w 478667"/>
                  <a:gd name="connsiteY5" fmla="*/ 224057 h 381241"/>
                  <a:gd name="connsiteX6" fmla="*/ 77288 w 478667"/>
                  <a:gd name="connsiteY6" fmla="*/ 135950 h 381241"/>
                  <a:gd name="connsiteX7" fmla="*/ 3470 w 478667"/>
                  <a:gd name="connsiteY7" fmla="*/ 221676 h 381241"/>
                  <a:gd name="connsiteX0" fmla="*/ 3470 w 468632"/>
                  <a:gd name="connsiteY0" fmla="*/ 221629 h 381402"/>
                  <a:gd name="connsiteX1" fmla="*/ 191590 w 468632"/>
                  <a:gd name="connsiteY1" fmla="*/ 381173 h 381402"/>
                  <a:gd name="connsiteX2" fmla="*/ 327080 w 468632"/>
                  <a:gd name="connsiteY2" fmla="*/ 241419 h 381402"/>
                  <a:gd name="connsiteX3" fmla="*/ 465432 w 468632"/>
                  <a:gd name="connsiteY3" fmla="*/ 112092 h 381402"/>
                  <a:gd name="connsiteX4" fmla="*/ 403520 w 468632"/>
                  <a:gd name="connsiteY4" fmla="*/ 2553 h 381402"/>
                  <a:gd name="connsiteX5" fmla="*/ 174921 w 468632"/>
                  <a:gd name="connsiteY5" fmla="*/ 224010 h 381402"/>
                  <a:gd name="connsiteX6" fmla="*/ 77288 w 468632"/>
                  <a:gd name="connsiteY6" fmla="*/ 135903 h 381402"/>
                  <a:gd name="connsiteX7" fmla="*/ 3470 w 468632"/>
                  <a:gd name="connsiteY7" fmla="*/ 221629 h 381402"/>
                  <a:gd name="connsiteX0" fmla="*/ 3470 w 468632"/>
                  <a:gd name="connsiteY0" fmla="*/ 221629 h 381261"/>
                  <a:gd name="connsiteX1" fmla="*/ 191590 w 468632"/>
                  <a:gd name="connsiteY1" fmla="*/ 381173 h 381261"/>
                  <a:gd name="connsiteX2" fmla="*/ 327080 w 468632"/>
                  <a:gd name="connsiteY2" fmla="*/ 241419 h 381261"/>
                  <a:gd name="connsiteX3" fmla="*/ 465432 w 468632"/>
                  <a:gd name="connsiteY3" fmla="*/ 112092 h 381261"/>
                  <a:gd name="connsiteX4" fmla="*/ 403520 w 468632"/>
                  <a:gd name="connsiteY4" fmla="*/ 2553 h 381261"/>
                  <a:gd name="connsiteX5" fmla="*/ 174921 w 468632"/>
                  <a:gd name="connsiteY5" fmla="*/ 224010 h 381261"/>
                  <a:gd name="connsiteX6" fmla="*/ 77288 w 468632"/>
                  <a:gd name="connsiteY6" fmla="*/ 135903 h 381261"/>
                  <a:gd name="connsiteX7" fmla="*/ 3470 w 468632"/>
                  <a:gd name="connsiteY7" fmla="*/ 221629 h 381261"/>
                  <a:gd name="connsiteX0" fmla="*/ 3470 w 481001"/>
                  <a:gd name="connsiteY0" fmla="*/ 221469 h 381101"/>
                  <a:gd name="connsiteX1" fmla="*/ 191590 w 481001"/>
                  <a:gd name="connsiteY1" fmla="*/ 381013 h 381101"/>
                  <a:gd name="connsiteX2" fmla="*/ 327080 w 481001"/>
                  <a:gd name="connsiteY2" fmla="*/ 241259 h 381101"/>
                  <a:gd name="connsiteX3" fmla="*/ 465432 w 481001"/>
                  <a:gd name="connsiteY3" fmla="*/ 111932 h 381101"/>
                  <a:gd name="connsiteX4" fmla="*/ 403520 w 481001"/>
                  <a:gd name="connsiteY4" fmla="*/ 2393 h 381101"/>
                  <a:gd name="connsiteX5" fmla="*/ 174921 w 481001"/>
                  <a:gd name="connsiteY5" fmla="*/ 223850 h 381101"/>
                  <a:gd name="connsiteX6" fmla="*/ 77288 w 481001"/>
                  <a:gd name="connsiteY6" fmla="*/ 135743 h 381101"/>
                  <a:gd name="connsiteX7" fmla="*/ 3470 w 481001"/>
                  <a:gd name="connsiteY7" fmla="*/ 221469 h 381101"/>
                  <a:gd name="connsiteX0" fmla="*/ 3470 w 485051"/>
                  <a:gd name="connsiteY0" fmla="*/ 221686 h 381318"/>
                  <a:gd name="connsiteX1" fmla="*/ 191590 w 485051"/>
                  <a:gd name="connsiteY1" fmla="*/ 381230 h 381318"/>
                  <a:gd name="connsiteX2" fmla="*/ 327080 w 485051"/>
                  <a:gd name="connsiteY2" fmla="*/ 241476 h 381318"/>
                  <a:gd name="connsiteX3" fmla="*/ 465432 w 485051"/>
                  <a:gd name="connsiteY3" fmla="*/ 112149 h 381318"/>
                  <a:gd name="connsiteX4" fmla="*/ 403520 w 485051"/>
                  <a:gd name="connsiteY4" fmla="*/ 2610 h 381318"/>
                  <a:gd name="connsiteX5" fmla="*/ 174921 w 485051"/>
                  <a:gd name="connsiteY5" fmla="*/ 224067 h 381318"/>
                  <a:gd name="connsiteX6" fmla="*/ 77288 w 485051"/>
                  <a:gd name="connsiteY6" fmla="*/ 135960 h 381318"/>
                  <a:gd name="connsiteX7" fmla="*/ 3470 w 485051"/>
                  <a:gd name="connsiteY7" fmla="*/ 221686 h 381318"/>
                  <a:gd name="connsiteX0" fmla="*/ 3790 w 485371"/>
                  <a:gd name="connsiteY0" fmla="*/ 221686 h 381318"/>
                  <a:gd name="connsiteX1" fmla="*/ 191910 w 485371"/>
                  <a:gd name="connsiteY1" fmla="*/ 381230 h 381318"/>
                  <a:gd name="connsiteX2" fmla="*/ 327400 w 485371"/>
                  <a:gd name="connsiteY2" fmla="*/ 241476 h 381318"/>
                  <a:gd name="connsiteX3" fmla="*/ 465752 w 485371"/>
                  <a:gd name="connsiteY3" fmla="*/ 112149 h 381318"/>
                  <a:gd name="connsiteX4" fmla="*/ 403840 w 485371"/>
                  <a:gd name="connsiteY4" fmla="*/ 2610 h 381318"/>
                  <a:gd name="connsiteX5" fmla="*/ 175241 w 485371"/>
                  <a:gd name="connsiteY5" fmla="*/ 224067 h 381318"/>
                  <a:gd name="connsiteX6" fmla="*/ 77608 w 485371"/>
                  <a:gd name="connsiteY6" fmla="*/ 135960 h 381318"/>
                  <a:gd name="connsiteX7" fmla="*/ 3790 w 485371"/>
                  <a:gd name="connsiteY7" fmla="*/ 221686 h 381318"/>
                  <a:gd name="connsiteX0" fmla="*/ 3554 w 485135"/>
                  <a:gd name="connsiteY0" fmla="*/ 221686 h 381319"/>
                  <a:gd name="connsiteX1" fmla="*/ 191674 w 485135"/>
                  <a:gd name="connsiteY1" fmla="*/ 381230 h 381319"/>
                  <a:gd name="connsiteX2" fmla="*/ 327164 w 485135"/>
                  <a:gd name="connsiteY2" fmla="*/ 241476 h 381319"/>
                  <a:gd name="connsiteX3" fmla="*/ 465516 w 485135"/>
                  <a:gd name="connsiteY3" fmla="*/ 112149 h 381319"/>
                  <a:gd name="connsiteX4" fmla="*/ 403604 w 485135"/>
                  <a:gd name="connsiteY4" fmla="*/ 2610 h 381319"/>
                  <a:gd name="connsiteX5" fmla="*/ 175005 w 485135"/>
                  <a:gd name="connsiteY5" fmla="*/ 224067 h 381319"/>
                  <a:gd name="connsiteX6" fmla="*/ 79753 w 485135"/>
                  <a:gd name="connsiteY6" fmla="*/ 131197 h 381319"/>
                  <a:gd name="connsiteX7" fmla="*/ 3554 w 485135"/>
                  <a:gd name="connsiteY7" fmla="*/ 221686 h 381319"/>
                  <a:gd name="connsiteX0" fmla="*/ 8294 w 489875"/>
                  <a:gd name="connsiteY0" fmla="*/ 221686 h 381314"/>
                  <a:gd name="connsiteX1" fmla="*/ 196414 w 489875"/>
                  <a:gd name="connsiteY1" fmla="*/ 381230 h 381314"/>
                  <a:gd name="connsiteX2" fmla="*/ 331904 w 489875"/>
                  <a:gd name="connsiteY2" fmla="*/ 241476 h 381314"/>
                  <a:gd name="connsiteX3" fmla="*/ 470256 w 489875"/>
                  <a:gd name="connsiteY3" fmla="*/ 112149 h 381314"/>
                  <a:gd name="connsiteX4" fmla="*/ 408344 w 489875"/>
                  <a:gd name="connsiteY4" fmla="*/ 2610 h 381314"/>
                  <a:gd name="connsiteX5" fmla="*/ 179745 w 489875"/>
                  <a:gd name="connsiteY5" fmla="*/ 224067 h 381314"/>
                  <a:gd name="connsiteX6" fmla="*/ 84493 w 489875"/>
                  <a:gd name="connsiteY6" fmla="*/ 131197 h 381314"/>
                  <a:gd name="connsiteX7" fmla="*/ 8294 w 489875"/>
                  <a:gd name="connsiteY7" fmla="*/ 221686 h 381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9875" h="381314">
                    <a:moveTo>
                      <a:pt x="8294" y="221686"/>
                    </a:moveTo>
                    <a:cubicBezTo>
                      <a:pt x="41235" y="256215"/>
                      <a:pt x="166292" y="385076"/>
                      <a:pt x="196414" y="381230"/>
                    </a:cubicBezTo>
                    <a:cubicBezTo>
                      <a:pt x="226536" y="377384"/>
                      <a:pt x="217207" y="352998"/>
                      <a:pt x="331904" y="241476"/>
                    </a:cubicBezTo>
                    <a:cubicBezTo>
                      <a:pt x="446601" y="129954"/>
                      <a:pt x="417035" y="154341"/>
                      <a:pt x="470256" y="112149"/>
                    </a:cubicBezTo>
                    <a:cubicBezTo>
                      <a:pt x="523477" y="69957"/>
                      <a:pt x="456763" y="-16043"/>
                      <a:pt x="408344" y="2610"/>
                    </a:cubicBezTo>
                    <a:cubicBezTo>
                      <a:pt x="359926" y="21263"/>
                      <a:pt x="263883" y="128023"/>
                      <a:pt x="179745" y="224067"/>
                    </a:cubicBezTo>
                    <a:cubicBezTo>
                      <a:pt x="147201" y="194698"/>
                      <a:pt x="120212" y="155407"/>
                      <a:pt x="84493" y="131197"/>
                    </a:cubicBezTo>
                    <a:cubicBezTo>
                      <a:pt x="48774" y="106987"/>
                      <a:pt x="-24647" y="187157"/>
                      <a:pt x="8294" y="22168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0580"/>
                <a:endParaRPr lang="en-US" sz="1753" dirty="0">
                  <a:ln>
                    <a:solidFill>
                      <a:srgbClr val="FFFFFF">
                        <a:alpha val="0"/>
                      </a:srgbClr>
                    </a:solidFill>
                  </a:ln>
                  <a:solidFill>
                    <a:srgbClr val="000000"/>
                  </a:solidFill>
                  <a:latin typeface="Segoe UI"/>
                </a:endParaRPr>
              </a:p>
            </p:txBody>
          </p:sp>
        </p:grpSp>
      </p:grpSp>
      <p:sp>
        <p:nvSpPr>
          <p:cNvPr id="38" name="Rectangle 37"/>
          <p:cNvSpPr/>
          <p:nvPr/>
        </p:nvSpPr>
        <p:spPr>
          <a:xfrm>
            <a:off x="0" y="0"/>
            <a:ext cx="12192000" cy="15709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0" tIns="457200" rIns="457200" rtlCol="0" anchor="t"/>
          <a:lstStyle/>
          <a:p>
            <a:r>
              <a:rPr lang="en-US" sz="4400"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Provide seamless authentication experiences</a:t>
            </a:r>
            <a:endParaRPr lang="en-US" sz="4400" dirty="0">
              <a:solidFill>
                <a:srgbClr val="282828"/>
              </a:solidFill>
              <a:latin typeface="Segoe UI Light" panose="020B0502040204020203" pitchFamily="34" charset="0"/>
              <a:cs typeface="Segoe UI Light" panose="020B0502040204020203" pitchFamily="34" charset="0"/>
            </a:endParaRPr>
          </a:p>
        </p:txBody>
      </p:sp>
      <p:grpSp>
        <p:nvGrpSpPr>
          <p:cNvPr id="49" name="Group 48"/>
          <p:cNvGrpSpPr/>
          <p:nvPr/>
        </p:nvGrpSpPr>
        <p:grpSpPr>
          <a:xfrm>
            <a:off x="0" y="6600607"/>
            <a:ext cx="2029968" cy="257393"/>
            <a:chOff x="10162032" y="6604155"/>
            <a:chExt cx="2029968" cy="257393"/>
          </a:xfrm>
        </p:grpSpPr>
        <p:sp>
          <p:nvSpPr>
            <p:cNvPr id="50" name="Rectangle 49"/>
            <p:cNvSpPr/>
            <p:nvPr/>
          </p:nvSpPr>
          <p:spPr>
            <a:xfrm>
              <a:off x="10838688" y="6605516"/>
              <a:ext cx="676656" cy="251512"/>
            </a:xfrm>
            <a:prstGeom prst="rect">
              <a:avLst/>
            </a:prstGeom>
            <a:solidFill>
              <a:srgbClr val="EDC30D"/>
            </a:solidFill>
            <a:ln w="6350">
              <a:solidFill>
                <a:srgbClr val="EDC30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US" sz="1000" dirty="0">
                  <a:solidFill>
                    <a:srgbClr val="282828"/>
                  </a:solidFill>
                  <a:latin typeface="Segoe UI Black" panose="020B0A02040204020203" pitchFamily="34" charset="0"/>
                  <a:ea typeface="Segoe UI Black" panose="020B0A02040204020203" pitchFamily="34" charset="0"/>
                  <a:cs typeface="Segoe UI Black" panose="020B0A02040204020203" pitchFamily="34" charset="0"/>
                </a:rPr>
                <a:t>Embed</a:t>
              </a:r>
            </a:p>
          </p:txBody>
        </p:sp>
        <p:sp>
          <p:nvSpPr>
            <p:cNvPr id="51" name="Rectangle 50"/>
            <p:cNvSpPr/>
            <p:nvPr/>
          </p:nvSpPr>
          <p:spPr>
            <a:xfrm>
              <a:off x="10162032" y="6605516"/>
              <a:ext cx="676656" cy="251512"/>
            </a:xfrm>
            <a:prstGeom prst="rect">
              <a:avLst/>
            </a:prstGeom>
            <a:solidFill>
              <a:srgbClr val="282828"/>
            </a:solidFill>
            <a:ln w="6350">
              <a:solidFill>
                <a:srgbClr val="28282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US" sz="1000" dirty="0">
                  <a:solidFill>
                    <a:srgbClr val="EDC30D"/>
                  </a:solidFill>
                  <a:latin typeface="Segoe UI Black" panose="020B0A02040204020203" pitchFamily="34" charset="0"/>
                  <a:ea typeface="Segoe UI Black" panose="020B0A02040204020203" pitchFamily="34" charset="0"/>
                  <a:cs typeface="Segoe UI Black" panose="020B0A02040204020203" pitchFamily="34" charset="0"/>
                </a:rPr>
                <a:t>Create</a:t>
              </a:r>
            </a:p>
          </p:txBody>
        </p:sp>
        <p:sp>
          <p:nvSpPr>
            <p:cNvPr id="52" name="Rectangle 51"/>
            <p:cNvSpPr/>
            <p:nvPr/>
          </p:nvSpPr>
          <p:spPr>
            <a:xfrm>
              <a:off x="11515344" y="6605516"/>
              <a:ext cx="676656" cy="251512"/>
            </a:xfrm>
            <a:prstGeom prst="rect">
              <a:avLst/>
            </a:prstGeom>
            <a:solidFill>
              <a:srgbClr val="282828"/>
            </a:solidFill>
            <a:ln w="6350">
              <a:solidFill>
                <a:srgbClr val="28282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US" sz="1000" dirty="0">
                  <a:solidFill>
                    <a:srgbClr val="EDC30D"/>
                  </a:solidFill>
                  <a:latin typeface="Segoe UI Black" panose="020B0A02040204020203" pitchFamily="34" charset="0"/>
                  <a:ea typeface="Segoe UI Black" panose="020B0A02040204020203" pitchFamily="34" charset="0"/>
                  <a:cs typeface="Segoe UI Black" panose="020B0A02040204020203" pitchFamily="34" charset="0"/>
                </a:rPr>
                <a:t>Deploy</a:t>
              </a:r>
            </a:p>
          </p:txBody>
        </p:sp>
        <p:cxnSp>
          <p:nvCxnSpPr>
            <p:cNvPr id="53" name="Straight Connector 52"/>
            <p:cNvCxnSpPr/>
            <p:nvPr/>
          </p:nvCxnSpPr>
          <p:spPr>
            <a:xfrm>
              <a:off x="11515344" y="6604155"/>
              <a:ext cx="0" cy="256032"/>
            </a:xfrm>
            <a:prstGeom prst="line">
              <a:avLst/>
            </a:prstGeom>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10838688" y="6605516"/>
              <a:ext cx="0" cy="256032"/>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738123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wipe(right)">
                                      <p:cBhvr>
                                        <p:cTn id="7" dur="500"/>
                                        <p:tgtEl>
                                          <p:spTgt spid="3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fade">
                                      <p:cBhvr>
                                        <p:cTn id="16" dur="500"/>
                                        <p:tgtEl>
                                          <p:spTgt spid="1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4" fill="hold" grpId="0" nodeType="click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wipe(down)">
                                      <p:cBhvr>
                                        <p:cTn id="24" dur="500"/>
                                        <p:tgtEl>
                                          <p:spTgt spid="2"/>
                                        </p:tgtEl>
                                      </p:cBhvr>
                                    </p:animEffect>
                                  </p:childTnLst>
                                </p:cTn>
                              </p:par>
                            </p:childTnLst>
                          </p:cTn>
                        </p:par>
                        <p:par>
                          <p:cTn id="25" fill="hold">
                            <p:stCondLst>
                              <p:cond delay="500"/>
                            </p:stCondLst>
                            <p:childTnLst>
                              <p:par>
                                <p:cTn id="26" presetID="1" presetClass="entr" presetSubtype="0" fill="hold" grpId="0" nodeType="afterEffect">
                                  <p:stCondLst>
                                    <p:cond delay="0"/>
                                  </p:stCondLst>
                                  <p:childTnLst>
                                    <p:set>
                                      <p:cBhvr>
                                        <p:cTn id="27" dur="1" fill="hold">
                                          <p:stCondLst>
                                            <p:cond delay="0"/>
                                          </p:stCondLst>
                                        </p:cTn>
                                        <p:tgtEl>
                                          <p:spTgt spid="30"/>
                                        </p:tgtEl>
                                        <p:attrNameLst>
                                          <p:attrName>style.visibility</p:attrName>
                                        </p:attrNameLst>
                                      </p:cBhvr>
                                      <p:to>
                                        <p:strVal val="visible"/>
                                      </p:to>
                                    </p:set>
                                  </p:childTnLst>
                                </p:cTn>
                              </p:par>
                              <p:par>
                                <p:cTn id="28" presetID="1" presetClass="entr" presetSubtype="0" fill="hold" nodeType="withEffect">
                                  <p:stCondLst>
                                    <p:cond delay="0"/>
                                  </p:stCondLst>
                                  <p:childTnLst>
                                    <p:set>
                                      <p:cBhvr>
                                        <p:cTn id="29"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9" grpId="0" animBg="1"/>
      <p:bldP spid="2" grpId="0" animBg="1"/>
      <p:bldP spid="26" grpId="0" animBg="1"/>
      <p:bldP spid="30" grpId="0"/>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p:cNvSpPr/>
          <p:nvPr/>
        </p:nvSpPr>
        <p:spPr bwMode="auto">
          <a:xfrm>
            <a:off x="8758772" y="1485140"/>
            <a:ext cx="3047811" cy="4945380"/>
          </a:xfrm>
          <a:prstGeom prst="rect">
            <a:avLst/>
          </a:prstGeom>
          <a:solidFill>
            <a:srgbClr val="EDC30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dirty="0">
              <a:gradFill>
                <a:gsLst>
                  <a:gs pos="0">
                    <a:srgbClr val="FFFFFF"/>
                  </a:gs>
                  <a:gs pos="100000">
                    <a:srgbClr val="FFFFFF"/>
                  </a:gs>
                </a:gsLst>
                <a:lin ang="5400000" scaled="0"/>
              </a:gradFill>
            </a:endParaRPr>
          </a:p>
        </p:txBody>
      </p:sp>
      <p:sp>
        <p:nvSpPr>
          <p:cNvPr id="52" name="TextBox 51"/>
          <p:cNvSpPr txBox="1"/>
          <p:nvPr/>
        </p:nvSpPr>
        <p:spPr>
          <a:xfrm>
            <a:off x="8758771" y="1473672"/>
            <a:ext cx="3047812" cy="622056"/>
          </a:xfrm>
          <a:prstGeom prst="rect">
            <a:avLst/>
          </a:prstGeom>
          <a:solidFill>
            <a:srgbClr val="EDC30D"/>
          </a:solidFill>
        </p:spPr>
        <p:txBody>
          <a:bodyPr wrap="square" lIns="179285" tIns="143428" rIns="179285" bIns="143428" rtlCol="0">
            <a:spAutoFit/>
          </a:bodyPr>
          <a:lstStyle/>
          <a:p>
            <a:pPr defTabSz="896386">
              <a:lnSpc>
                <a:spcPct val="90000"/>
              </a:lnSpc>
              <a:spcAft>
                <a:spcPts val="588"/>
              </a:spcAft>
            </a:pPr>
            <a:r>
              <a:rPr lang="en-US" sz="2400" kern="0" dirty="0">
                <a:solidFill>
                  <a:srgbClr val="282828"/>
                </a:solidFill>
                <a:latin typeface="+mj-lt"/>
                <a:ea typeface="Segoe UI Black" panose="020B0A02040204020203" pitchFamily="34" charset="0"/>
                <a:cs typeface="Segoe UI Black" panose="020B0A02040204020203" pitchFamily="34" charset="0"/>
              </a:rPr>
              <a:t>Power BI</a:t>
            </a:r>
          </a:p>
        </p:txBody>
      </p:sp>
      <p:sp>
        <p:nvSpPr>
          <p:cNvPr id="5" name="Rectangle 4"/>
          <p:cNvSpPr/>
          <p:nvPr/>
        </p:nvSpPr>
        <p:spPr bwMode="auto">
          <a:xfrm>
            <a:off x="988035" y="2268207"/>
            <a:ext cx="1972511"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defTabSz="914102" fontAlgn="base">
              <a:spcBef>
                <a:spcPct val="0"/>
              </a:spcBef>
              <a:spcAft>
                <a:spcPct val="0"/>
              </a:spcAft>
            </a:pPr>
            <a:r>
              <a:rPr lang="en-US" sz="1961" kern="0" dirty="0">
                <a:solidFill>
                  <a:srgbClr val="F2F2F2"/>
                </a:solidFill>
                <a:latin typeface="Segoe UI Light" panose="020B0502040204020203" pitchFamily="34" charset="0"/>
                <a:cs typeface="Segoe UI Light" panose="020B0502040204020203" pitchFamily="34" charset="0"/>
              </a:rPr>
              <a:t>Users</a:t>
            </a:r>
          </a:p>
        </p:txBody>
      </p:sp>
      <p:sp>
        <p:nvSpPr>
          <p:cNvPr id="7" name="Rectangle 6"/>
          <p:cNvSpPr/>
          <p:nvPr/>
        </p:nvSpPr>
        <p:spPr bwMode="auto">
          <a:xfrm>
            <a:off x="985104" y="4214083"/>
            <a:ext cx="1946970"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defTabSz="914102" fontAlgn="base">
              <a:spcBef>
                <a:spcPct val="0"/>
              </a:spcBef>
              <a:spcAft>
                <a:spcPct val="0"/>
              </a:spcAft>
            </a:pPr>
            <a:r>
              <a:rPr lang="en-US" sz="1961" kern="0" dirty="0">
                <a:solidFill>
                  <a:srgbClr val="F2F2F2"/>
                </a:solidFill>
                <a:latin typeface="Segoe UI Light" panose="020B0502040204020203" pitchFamily="34" charset="0"/>
                <a:cs typeface="Segoe UI Light" panose="020B0502040204020203" pitchFamily="34" charset="0"/>
              </a:rPr>
              <a:t>Permissions</a:t>
            </a:r>
          </a:p>
        </p:txBody>
      </p:sp>
      <p:sp>
        <p:nvSpPr>
          <p:cNvPr id="8" name="Rectangle 7"/>
          <p:cNvSpPr/>
          <p:nvPr/>
        </p:nvSpPr>
        <p:spPr bwMode="auto">
          <a:xfrm>
            <a:off x="988036" y="3246668"/>
            <a:ext cx="1946970"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defTabSz="914102" fontAlgn="base">
              <a:spcBef>
                <a:spcPct val="0"/>
              </a:spcBef>
              <a:spcAft>
                <a:spcPct val="0"/>
              </a:spcAft>
            </a:pPr>
            <a:r>
              <a:rPr lang="en-US" sz="1961" kern="0" dirty="0">
                <a:solidFill>
                  <a:srgbClr val="F2F2F2"/>
                </a:solidFill>
                <a:latin typeface="Segoe UI Light" panose="020B0502040204020203" pitchFamily="34" charset="0"/>
                <a:cs typeface="Segoe UI Light" panose="020B0502040204020203" pitchFamily="34" charset="0"/>
              </a:rPr>
              <a:t>Auth. providers</a:t>
            </a:r>
          </a:p>
        </p:txBody>
      </p:sp>
      <p:sp>
        <p:nvSpPr>
          <p:cNvPr id="9" name="Rectangle 8"/>
          <p:cNvSpPr/>
          <p:nvPr/>
        </p:nvSpPr>
        <p:spPr bwMode="auto">
          <a:xfrm>
            <a:off x="985103" y="5282314"/>
            <a:ext cx="1946971"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defTabSz="914102" fontAlgn="base">
              <a:spcBef>
                <a:spcPct val="0"/>
              </a:spcBef>
              <a:spcAft>
                <a:spcPct val="0"/>
              </a:spcAft>
            </a:pPr>
            <a:r>
              <a:rPr lang="en-US" sz="1961" kern="0" dirty="0">
                <a:solidFill>
                  <a:srgbClr val="F2F2F2"/>
                </a:solidFill>
                <a:latin typeface="Segoe UI Light" panose="020B0502040204020203" pitchFamily="34" charset="0"/>
                <a:cs typeface="Segoe UI Light" panose="020B0502040204020203" pitchFamily="34" charset="0"/>
              </a:rPr>
              <a:t>API keys</a:t>
            </a:r>
          </a:p>
        </p:txBody>
      </p:sp>
      <p:sp>
        <p:nvSpPr>
          <p:cNvPr id="27" name="Bent Arrow 26"/>
          <p:cNvSpPr/>
          <p:nvPr/>
        </p:nvSpPr>
        <p:spPr bwMode="auto">
          <a:xfrm rot="5400000" flipH="1" flipV="1">
            <a:off x="6014496" y="3125771"/>
            <a:ext cx="1295400" cy="3986040"/>
          </a:xfrm>
          <a:prstGeom prst="bentArrow">
            <a:avLst>
              <a:gd name="adj1" fmla="val 14334"/>
              <a:gd name="adj2" fmla="val 15613"/>
              <a:gd name="adj3" fmla="val 16541"/>
              <a:gd name="adj4" fmla="val 32069"/>
            </a:avLst>
          </a:prstGeom>
          <a:solidFill>
            <a:srgbClr val="EDC30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2" name="Rectangle 21"/>
          <p:cNvSpPr/>
          <p:nvPr/>
        </p:nvSpPr>
        <p:spPr bwMode="auto">
          <a:xfrm>
            <a:off x="3719171" y="3246668"/>
            <a:ext cx="2841286" cy="1094778"/>
          </a:xfrm>
          <a:prstGeom prst="rect">
            <a:avLst/>
          </a:prstGeom>
          <a:noFill/>
          <a:ln>
            <a:solidFill>
              <a:srgbClr val="EDC30D"/>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40" tIns="0" rIns="0" bIns="0" numCol="1" rtlCol="0" anchor="ctr" anchorCtr="0" compatLnSpc="1">
            <a:prstTxWarp prst="textNoShape">
              <a:avLst/>
            </a:prstTxWarp>
          </a:bodyPr>
          <a:lstStyle/>
          <a:p>
            <a:pPr defTabSz="914102" fontAlgn="base">
              <a:spcBef>
                <a:spcPct val="0"/>
              </a:spcBef>
              <a:spcAft>
                <a:spcPct val="0"/>
              </a:spcAft>
            </a:pPr>
            <a:r>
              <a:rPr lang="en-US" sz="1600" kern="0" dirty="0">
                <a:solidFill>
                  <a:srgbClr val="282828"/>
                </a:solidFill>
                <a:latin typeface="Segoe UI Black" panose="020B0A02040204020203" pitchFamily="34" charset="0"/>
                <a:ea typeface="Segoe UI Black" panose="020B0A02040204020203" pitchFamily="34" charset="0"/>
                <a:cs typeface="Segoe UI Black" panose="020B0A02040204020203" pitchFamily="34" charset="0"/>
              </a:rPr>
              <a:t>Token</a:t>
            </a:r>
          </a:p>
          <a:p>
            <a:pPr defTabSz="914102" fontAlgn="base">
              <a:spcBef>
                <a:spcPct val="0"/>
              </a:spcBef>
              <a:spcAft>
                <a:spcPct val="0"/>
              </a:spcAft>
            </a:pPr>
            <a:r>
              <a:rPr lang="en-US" sz="1600" kern="0" dirty="0">
                <a:solidFill>
                  <a:srgbClr val="282828"/>
                </a:solidFill>
              </a:rPr>
              <a:t>+ Claim: Can view Report 1</a:t>
            </a:r>
          </a:p>
          <a:p>
            <a:pPr defTabSz="914102" fontAlgn="base">
              <a:spcBef>
                <a:spcPct val="0"/>
              </a:spcBef>
              <a:spcAft>
                <a:spcPct val="0"/>
              </a:spcAft>
            </a:pPr>
            <a:r>
              <a:rPr lang="en-US" sz="1600" kern="0" dirty="0">
                <a:solidFill>
                  <a:srgbClr val="282828"/>
                </a:solidFill>
              </a:rPr>
              <a:t>+ Expiration: 5 minutes</a:t>
            </a:r>
          </a:p>
        </p:txBody>
      </p:sp>
      <p:sp>
        <p:nvSpPr>
          <p:cNvPr id="23" name="Freeform 22"/>
          <p:cNvSpPr/>
          <p:nvPr/>
        </p:nvSpPr>
        <p:spPr>
          <a:xfrm>
            <a:off x="3719171" y="2266417"/>
            <a:ext cx="707957" cy="808168"/>
          </a:xfrm>
          <a:custGeom>
            <a:avLst/>
            <a:gdLst>
              <a:gd name="connsiteX0" fmla="*/ 599650 w 1199300"/>
              <a:gd name="connsiteY0" fmla="*/ 88729 h 1369060"/>
              <a:gd name="connsiteX1" fmla="*/ 270362 w 1199300"/>
              <a:gd name="connsiteY1" fmla="*/ 418017 h 1369060"/>
              <a:gd name="connsiteX2" fmla="*/ 599650 w 1199300"/>
              <a:gd name="connsiteY2" fmla="*/ 747305 h 1369060"/>
              <a:gd name="connsiteX3" fmla="*/ 928938 w 1199300"/>
              <a:gd name="connsiteY3" fmla="*/ 418017 h 1369060"/>
              <a:gd name="connsiteX4" fmla="*/ 599650 w 1199300"/>
              <a:gd name="connsiteY4" fmla="*/ 88729 h 1369060"/>
              <a:gd name="connsiteX5" fmla="*/ 599651 w 1199300"/>
              <a:gd name="connsiteY5" fmla="*/ 0 h 1369060"/>
              <a:gd name="connsiteX6" fmla="*/ 1017668 w 1199300"/>
              <a:gd name="connsiteY6" fmla="*/ 418017 h 1369060"/>
              <a:gd name="connsiteX7" fmla="*/ 833368 w 1199300"/>
              <a:gd name="connsiteY7" fmla="*/ 764643 h 1369060"/>
              <a:gd name="connsiteX8" fmla="*/ 772437 w 1199300"/>
              <a:gd name="connsiteY8" fmla="*/ 797716 h 1369060"/>
              <a:gd name="connsiteX9" fmla="*/ 833061 w 1199300"/>
              <a:gd name="connsiteY9" fmla="*/ 816535 h 1369060"/>
              <a:gd name="connsiteX10" fmla="*/ 1199300 w 1199300"/>
              <a:gd name="connsiteY10" fmla="*/ 1369060 h 1369060"/>
              <a:gd name="connsiteX11" fmla="*/ 1092443 w 1199300"/>
              <a:gd name="connsiteY11" fmla="*/ 1369060 h 1369060"/>
              <a:gd name="connsiteX12" fmla="*/ 599650 w 1199300"/>
              <a:gd name="connsiteY12" fmla="*/ 876268 h 1369060"/>
              <a:gd name="connsiteX13" fmla="*/ 106857 w 1199300"/>
              <a:gd name="connsiteY13" fmla="*/ 1369060 h 1369060"/>
              <a:gd name="connsiteX14" fmla="*/ 0 w 1199300"/>
              <a:gd name="connsiteY14" fmla="*/ 1369060 h 1369060"/>
              <a:gd name="connsiteX15" fmla="*/ 366239 w 1199300"/>
              <a:gd name="connsiteY15" fmla="*/ 816535 h 1369060"/>
              <a:gd name="connsiteX16" fmla="*/ 426865 w 1199300"/>
              <a:gd name="connsiteY16" fmla="*/ 797716 h 1369060"/>
              <a:gd name="connsiteX17" fmla="*/ 365934 w 1199300"/>
              <a:gd name="connsiteY17" fmla="*/ 764643 h 1369060"/>
              <a:gd name="connsiteX18" fmla="*/ 181634 w 1199300"/>
              <a:gd name="connsiteY18" fmla="*/ 418017 h 1369060"/>
              <a:gd name="connsiteX19" fmla="*/ 599651 w 1199300"/>
              <a:gd name="connsiteY19" fmla="*/ 0 h 136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9300" h="1369060">
                <a:moveTo>
                  <a:pt x="599650" y="88729"/>
                </a:moveTo>
                <a:cubicBezTo>
                  <a:pt x="417789" y="88729"/>
                  <a:pt x="270362" y="236156"/>
                  <a:pt x="270362" y="418017"/>
                </a:cubicBezTo>
                <a:cubicBezTo>
                  <a:pt x="270362" y="599878"/>
                  <a:pt x="417789" y="747305"/>
                  <a:pt x="599650" y="747305"/>
                </a:cubicBezTo>
                <a:cubicBezTo>
                  <a:pt x="781511" y="747305"/>
                  <a:pt x="928938" y="599878"/>
                  <a:pt x="928938" y="418017"/>
                </a:cubicBezTo>
                <a:cubicBezTo>
                  <a:pt x="928938" y="236156"/>
                  <a:pt x="781511" y="88729"/>
                  <a:pt x="599650" y="88729"/>
                </a:cubicBezTo>
                <a:close/>
                <a:moveTo>
                  <a:pt x="599651" y="0"/>
                </a:moveTo>
                <a:cubicBezTo>
                  <a:pt x="830515" y="0"/>
                  <a:pt x="1017668" y="187153"/>
                  <a:pt x="1017668" y="418017"/>
                </a:cubicBezTo>
                <a:cubicBezTo>
                  <a:pt x="1017668" y="562307"/>
                  <a:pt x="944561" y="689522"/>
                  <a:pt x="833368" y="764643"/>
                </a:cubicBezTo>
                <a:lnTo>
                  <a:pt x="772437" y="797716"/>
                </a:lnTo>
                <a:lnTo>
                  <a:pt x="833061" y="816535"/>
                </a:lnTo>
                <a:cubicBezTo>
                  <a:pt x="1048285" y="907566"/>
                  <a:pt x="1199300" y="1120678"/>
                  <a:pt x="1199300" y="1369060"/>
                </a:cubicBezTo>
                <a:lnTo>
                  <a:pt x="1092443" y="1369060"/>
                </a:lnTo>
                <a:cubicBezTo>
                  <a:pt x="1092443" y="1096898"/>
                  <a:pt x="871812" y="876268"/>
                  <a:pt x="599650" y="876268"/>
                </a:cubicBezTo>
                <a:cubicBezTo>
                  <a:pt x="327488" y="876268"/>
                  <a:pt x="106857" y="1096898"/>
                  <a:pt x="106857" y="1369060"/>
                </a:cubicBezTo>
                <a:lnTo>
                  <a:pt x="0" y="1369060"/>
                </a:lnTo>
                <a:cubicBezTo>
                  <a:pt x="0" y="1120678"/>
                  <a:pt x="151016" y="907566"/>
                  <a:pt x="366239" y="816535"/>
                </a:cubicBezTo>
                <a:lnTo>
                  <a:pt x="426865" y="797716"/>
                </a:lnTo>
                <a:lnTo>
                  <a:pt x="365934" y="764643"/>
                </a:lnTo>
                <a:cubicBezTo>
                  <a:pt x="254741" y="689522"/>
                  <a:pt x="181634" y="562307"/>
                  <a:pt x="181634" y="418017"/>
                </a:cubicBezTo>
                <a:cubicBezTo>
                  <a:pt x="181634" y="187153"/>
                  <a:pt x="368787" y="0"/>
                  <a:pt x="599651" y="0"/>
                </a:cubicBezTo>
                <a:close/>
              </a:path>
            </a:pathLst>
          </a:cu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grpSp>
        <p:nvGrpSpPr>
          <p:cNvPr id="3" name="Group 2"/>
          <p:cNvGrpSpPr/>
          <p:nvPr/>
        </p:nvGrpSpPr>
        <p:grpSpPr>
          <a:xfrm>
            <a:off x="4846320" y="2124816"/>
            <a:ext cx="3843087" cy="609565"/>
            <a:chOff x="4846320" y="2095096"/>
            <a:chExt cx="3843087" cy="609565"/>
          </a:xfrm>
        </p:grpSpPr>
        <p:sp>
          <p:nvSpPr>
            <p:cNvPr id="33" name="Right Arrow 32"/>
            <p:cNvSpPr/>
            <p:nvPr/>
          </p:nvSpPr>
          <p:spPr>
            <a:xfrm>
              <a:off x="4846320" y="2334437"/>
              <a:ext cx="3843087" cy="370224"/>
            </a:xfrm>
            <a:prstGeom prst="rightArrow">
              <a:avLst/>
            </a:prstGeom>
            <a:solidFill>
              <a:srgbClr val="EDC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 name="TextBox 33"/>
            <p:cNvSpPr txBox="1"/>
            <p:nvPr/>
          </p:nvSpPr>
          <p:spPr>
            <a:xfrm>
              <a:off x="5421133" y="2095096"/>
              <a:ext cx="2178880" cy="337015"/>
            </a:xfrm>
            <a:prstGeom prst="rect">
              <a:avLst/>
            </a:prstGeom>
            <a:noFill/>
          </p:spPr>
          <p:txBody>
            <a:bodyPr wrap="square" lIns="91440" tIns="91440" rIns="91440" bIns="91440" rtlCol="0">
              <a:spAutoFit/>
            </a:bodyPr>
            <a:lstStyle/>
            <a:p>
              <a:pPr marL="0" marR="0" lvl="0" indent="0" algn="ctr" defTabSz="896386" eaLnBrk="1" fontAlgn="auto" latinLnBrk="0" hangingPunct="1">
                <a:lnSpc>
                  <a:spcPct val="90000"/>
                </a:lnSpc>
                <a:spcBef>
                  <a:spcPts val="0"/>
                </a:spcBef>
                <a:spcAft>
                  <a:spcPts val="588"/>
                </a:spcAft>
                <a:buClrTx/>
                <a:buSzTx/>
                <a:buFontTx/>
                <a:buNone/>
                <a:tabLst/>
                <a:defRPr/>
              </a:pP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User requests to view Report 1</a:t>
              </a:r>
            </a:p>
          </p:txBody>
        </p:sp>
      </p:grpSp>
      <p:sp>
        <p:nvSpPr>
          <p:cNvPr id="36" name="TextBox 35"/>
          <p:cNvSpPr txBox="1"/>
          <p:nvPr/>
        </p:nvSpPr>
        <p:spPr>
          <a:xfrm>
            <a:off x="5051195" y="4457582"/>
            <a:ext cx="2005614" cy="337015"/>
          </a:xfrm>
          <a:prstGeom prst="rect">
            <a:avLst/>
          </a:prstGeom>
          <a:noFill/>
        </p:spPr>
        <p:txBody>
          <a:bodyPr wrap="square" lIns="91440" tIns="91440" rIns="9144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Validate</a:t>
            </a:r>
            <a:r>
              <a:rPr kumimoji="0" lang="en-US" sz="1100" b="0" i="0" u="none" strike="noStrike" kern="0" cap="none" spc="0" normalizeH="0" noProof="0" dirty="0">
                <a:ln>
                  <a:noFill/>
                </a:ln>
                <a:solidFill>
                  <a:srgbClr val="282828"/>
                </a:solidFill>
                <a:effectLst/>
                <a:uLnTx/>
                <a:uFillTx/>
                <a:latin typeface="Segoe UI Semibold" panose="020B0702040204020203" pitchFamily="34" charset="0"/>
                <a:cs typeface="Segoe UI Semibold" panose="020B0702040204020203" pitchFamily="34" charset="0"/>
              </a:rPr>
              <a:t> token</a:t>
            </a:r>
            <a:endPar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endParaRPr>
          </a:p>
        </p:txBody>
      </p:sp>
      <p:grpSp>
        <p:nvGrpSpPr>
          <p:cNvPr id="37" name="Group 36"/>
          <p:cNvGrpSpPr/>
          <p:nvPr/>
        </p:nvGrpSpPr>
        <p:grpSpPr>
          <a:xfrm>
            <a:off x="6315933" y="3049575"/>
            <a:ext cx="424791" cy="424791"/>
            <a:chOff x="6560457" y="2743630"/>
            <a:chExt cx="424791" cy="424791"/>
          </a:xfrm>
        </p:grpSpPr>
        <p:sp>
          <p:nvSpPr>
            <p:cNvPr id="38" name="Oval 37"/>
            <p:cNvSpPr/>
            <p:nvPr/>
          </p:nvSpPr>
          <p:spPr bwMode="auto">
            <a:xfrm>
              <a:off x="6560457" y="2743630"/>
              <a:ext cx="424791" cy="424791"/>
            </a:xfrm>
            <a:prstGeom prst="ellipse">
              <a:avLst/>
            </a:prstGeom>
            <a:solidFill>
              <a:srgbClr val="F2F2F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39" name="Group 38"/>
            <p:cNvGrpSpPr/>
            <p:nvPr/>
          </p:nvGrpSpPr>
          <p:grpSpPr>
            <a:xfrm>
              <a:off x="6560457" y="2743630"/>
              <a:ext cx="424791" cy="424791"/>
              <a:chOff x="8257201" y="4912135"/>
              <a:chExt cx="777240" cy="777240"/>
            </a:xfrm>
            <a:solidFill>
              <a:srgbClr val="EDC30D"/>
            </a:solidFill>
          </p:grpSpPr>
          <p:sp>
            <p:nvSpPr>
              <p:cNvPr id="40" name="Oval 37"/>
              <p:cNvSpPr/>
              <p:nvPr/>
            </p:nvSpPr>
            <p:spPr>
              <a:xfrm>
                <a:off x="8257201" y="4912135"/>
                <a:ext cx="777240" cy="777240"/>
              </a:xfrm>
              <a:custGeom>
                <a:avLst/>
                <a:gdLst/>
                <a:ahLst/>
                <a:cxnLst/>
                <a:rect l="l" t="t" r="r" b="b"/>
                <a:pathLst>
                  <a:path w="777240" h="777240">
                    <a:moveTo>
                      <a:pt x="388620" y="32004"/>
                    </a:moveTo>
                    <a:cubicBezTo>
                      <a:pt x="191666" y="32004"/>
                      <a:pt x="32004" y="191666"/>
                      <a:pt x="32004" y="388620"/>
                    </a:cubicBezTo>
                    <a:cubicBezTo>
                      <a:pt x="32004" y="585574"/>
                      <a:pt x="191666" y="745236"/>
                      <a:pt x="388620" y="745236"/>
                    </a:cubicBezTo>
                    <a:cubicBezTo>
                      <a:pt x="585574" y="745236"/>
                      <a:pt x="745236" y="585574"/>
                      <a:pt x="745236" y="388620"/>
                    </a:cubicBezTo>
                    <a:cubicBezTo>
                      <a:pt x="745236" y="191666"/>
                      <a:pt x="585574" y="32004"/>
                      <a:pt x="388620" y="32004"/>
                    </a:cubicBezTo>
                    <a:close/>
                    <a:moveTo>
                      <a:pt x="388620" y="0"/>
                    </a:moveTo>
                    <a:cubicBezTo>
                      <a:pt x="603249" y="0"/>
                      <a:pt x="777240" y="173991"/>
                      <a:pt x="777240" y="388620"/>
                    </a:cubicBezTo>
                    <a:cubicBezTo>
                      <a:pt x="777240" y="603249"/>
                      <a:pt x="603249" y="777240"/>
                      <a:pt x="388620" y="777240"/>
                    </a:cubicBezTo>
                    <a:cubicBezTo>
                      <a:pt x="173991" y="777240"/>
                      <a:pt x="0" y="603249"/>
                      <a:pt x="0" y="388620"/>
                    </a:cubicBezTo>
                    <a:cubicBezTo>
                      <a:pt x="0" y="173991"/>
                      <a:pt x="173991" y="0"/>
                      <a:pt x="38862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0580"/>
                <a:endParaRPr lang="en-US" sz="1753" dirty="0">
                  <a:ln>
                    <a:solidFill>
                      <a:srgbClr val="FFFFFF">
                        <a:alpha val="0"/>
                      </a:srgbClr>
                    </a:solidFill>
                  </a:ln>
                  <a:solidFill>
                    <a:srgbClr val="000000"/>
                  </a:solidFill>
                  <a:latin typeface="Segoe UI"/>
                </a:endParaRPr>
              </a:p>
            </p:txBody>
          </p:sp>
          <p:sp>
            <p:nvSpPr>
              <p:cNvPr id="41" name="Freeform 40"/>
              <p:cNvSpPr/>
              <p:nvPr/>
            </p:nvSpPr>
            <p:spPr>
              <a:xfrm>
                <a:off x="8400884" y="5110098"/>
                <a:ext cx="489875" cy="381314"/>
              </a:xfrm>
              <a:custGeom>
                <a:avLst/>
                <a:gdLst>
                  <a:gd name="connsiteX0" fmla="*/ 0 w 464344"/>
                  <a:gd name="connsiteY0" fmla="*/ 211932 h 400050"/>
                  <a:gd name="connsiteX1" fmla="*/ 169069 w 464344"/>
                  <a:gd name="connsiteY1" fmla="*/ 400050 h 400050"/>
                  <a:gd name="connsiteX2" fmla="*/ 464344 w 464344"/>
                  <a:gd name="connsiteY2" fmla="*/ 90488 h 400050"/>
                  <a:gd name="connsiteX3" fmla="*/ 397669 w 464344"/>
                  <a:gd name="connsiteY3" fmla="*/ 0 h 400050"/>
                  <a:gd name="connsiteX4" fmla="*/ 166688 w 464344"/>
                  <a:gd name="connsiteY4" fmla="*/ 209550 h 400050"/>
                  <a:gd name="connsiteX5" fmla="*/ 76200 w 464344"/>
                  <a:gd name="connsiteY5" fmla="*/ 121444 h 400050"/>
                  <a:gd name="connsiteX6" fmla="*/ 0 w 464344"/>
                  <a:gd name="connsiteY6" fmla="*/ 211932 h 400050"/>
                  <a:gd name="connsiteX0" fmla="*/ 0 w 464344"/>
                  <a:gd name="connsiteY0" fmla="*/ 211932 h 400050"/>
                  <a:gd name="connsiteX1" fmla="*/ 169069 w 464344"/>
                  <a:gd name="connsiteY1" fmla="*/ 400050 h 400050"/>
                  <a:gd name="connsiteX2" fmla="*/ 464344 w 464344"/>
                  <a:gd name="connsiteY2" fmla="*/ 90488 h 400050"/>
                  <a:gd name="connsiteX3" fmla="*/ 397669 w 464344"/>
                  <a:gd name="connsiteY3" fmla="*/ 0 h 400050"/>
                  <a:gd name="connsiteX4" fmla="*/ 166688 w 464344"/>
                  <a:gd name="connsiteY4" fmla="*/ 209550 h 400050"/>
                  <a:gd name="connsiteX5" fmla="*/ 76200 w 464344"/>
                  <a:gd name="connsiteY5" fmla="*/ 121444 h 400050"/>
                  <a:gd name="connsiteX6" fmla="*/ 0 w 464344"/>
                  <a:gd name="connsiteY6" fmla="*/ 211932 h 400050"/>
                  <a:gd name="connsiteX0" fmla="*/ 0 w 464344"/>
                  <a:gd name="connsiteY0" fmla="*/ 211932 h 400050"/>
                  <a:gd name="connsiteX1" fmla="*/ 169069 w 464344"/>
                  <a:gd name="connsiteY1" fmla="*/ 400050 h 400050"/>
                  <a:gd name="connsiteX2" fmla="*/ 464344 w 464344"/>
                  <a:gd name="connsiteY2" fmla="*/ 90488 h 400050"/>
                  <a:gd name="connsiteX3" fmla="*/ 397669 w 464344"/>
                  <a:gd name="connsiteY3" fmla="*/ 0 h 400050"/>
                  <a:gd name="connsiteX4" fmla="*/ 166688 w 464344"/>
                  <a:gd name="connsiteY4" fmla="*/ 209550 h 400050"/>
                  <a:gd name="connsiteX5" fmla="*/ 76200 w 464344"/>
                  <a:gd name="connsiteY5" fmla="*/ 121444 h 400050"/>
                  <a:gd name="connsiteX6" fmla="*/ 0 w 464344"/>
                  <a:gd name="connsiteY6" fmla="*/ 211932 h 400050"/>
                  <a:gd name="connsiteX0" fmla="*/ 0 w 464344"/>
                  <a:gd name="connsiteY0" fmla="*/ 211932 h 401791"/>
                  <a:gd name="connsiteX1" fmla="*/ 169069 w 464344"/>
                  <a:gd name="connsiteY1" fmla="*/ 400050 h 401791"/>
                  <a:gd name="connsiteX2" fmla="*/ 464344 w 464344"/>
                  <a:gd name="connsiteY2" fmla="*/ 90488 h 401791"/>
                  <a:gd name="connsiteX3" fmla="*/ 397669 w 464344"/>
                  <a:gd name="connsiteY3" fmla="*/ 0 h 401791"/>
                  <a:gd name="connsiteX4" fmla="*/ 166688 w 464344"/>
                  <a:gd name="connsiteY4" fmla="*/ 209550 h 401791"/>
                  <a:gd name="connsiteX5" fmla="*/ 76200 w 464344"/>
                  <a:gd name="connsiteY5" fmla="*/ 121444 h 401791"/>
                  <a:gd name="connsiteX6" fmla="*/ 0 w 464344"/>
                  <a:gd name="connsiteY6" fmla="*/ 211932 h 401791"/>
                  <a:gd name="connsiteX0" fmla="*/ 0 w 464344"/>
                  <a:gd name="connsiteY0" fmla="*/ 211932 h 400155"/>
                  <a:gd name="connsiteX1" fmla="*/ 169069 w 464344"/>
                  <a:gd name="connsiteY1" fmla="*/ 400050 h 400155"/>
                  <a:gd name="connsiteX2" fmla="*/ 464344 w 464344"/>
                  <a:gd name="connsiteY2" fmla="*/ 90488 h 400155"/>
                  <a:gd name="connsiteX3" fmla="*/ 397669 w 464344"/>
                  <a:gd name="connsiteY3" fmla="*/ 0 h 400155"/>
                  <a:gd name="connsiteX4" fmla="*/ 166688 w 464344"/>
                  <a:gd name="connsiteY4" fmla="*/ 209550 h 400155"/>
                  <a:gd name="connsiteX5" fmla="*/ 76200 w 464344"/>
                  <a:gd name="connsiteY5" fmla="*/ 121444 h 400155"/>
                  <a:gd name="connsiteX6" fmla="*/ 0 w 464344"/>
                  <a:gd name="connsiteY6" fmla="*/ 211932 h 400155"/>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71488"/>
                  <a:gd name="connsiteY0" fmla="*/ 211932 h 401670"/>
                  <a:gd name="connsiteX1" fmla="*/ 169069 w 471488"/>
                  <a:gd name="connsiteY1" fmla="*/ 400050 h 401670"/>
                  <a:gd name="connsiteX2" fmla="*/ 471488 w 471488"/>
                  <a:gd name="connsiteY2" fmla="*/ 95251 h 401670"/>
                  <a:gd name="connsiteX3" fmla="*/ 397669 w 471488"/>
                  <a:gd name="connsiteY3" fmla="*/ 0 h 401670"/>
                  <a:gd name="connsiteX4" fmla="*/ 166688 w 471488"/>
                  <a:gd name="connsiteY4" fmla="*/ 209550 h 401670"/>
                  <a:gd name="connsiteX5" fmla="*/ 76200 w 471488"/>
                  <a:gd name="connsiteY5" fmla="*/ 121444 h 401670"/>
                  <a:gd name="connsiteX6" fmla="*/ 0 w 471488"/>
                  <a:gd name="connsiteY6" fmla="*/ 211932 h 401670"/>
                  <a:gd name="connsiteX0" fmla="*/ 0 w 471488"/>
                  <a:gd name="connsiteY0" fmla="*/ 211932 h 400100"/>
                  <a:gd name="connsiteX1" fmla="*/ 169069 w 471488"/>
                  <a:gd name="connsiteY1" fmla="*/ 400050 h 400100"/>
                  <a:gd name="connsiteX2" fmla="*/ 471488 w 471488"/>
                  <a:gd name="connsiteY2" fmla="*/ 95251 h 400100"/>
                  <a:gd name="connsiteX3" fmla="*/ 397669 w 471488"/>
                  <a:gd name="connsiteY3" fmla="*/ 0 h 400100"/>
                  <a:gd name="connsiteX4" fmla="*/ 166688 w 471488"/>
                  <a:gd name="connsiteY4" fmla="*/ 209550 h 400100"/>
                  <a:gd name="connsiteX5" fmla="*/ 76200 w 471488"/>
                  <a:gd name="connsiteY5" fmla="*/ 121444 h 400100"/>
                  <a:gd name="connsiteX6" fmla="*/ 0 w 471488"/>
                  <a:gd name="connsiteY6" fmla="*/ 211932 h 400100"/>
                  <a:gd name="connsiteX0" fmla="*/ 0 w 471488"/>
                  <a:gd name="connsiteY0" fmla="*/ 211932 h 400182"/>
                  <a:gd name="connsiteX1" fmla="*/ 169069 w 471488"/>
                  <a:gd name="connsiteY1" fmla="*/ 400050 h 400182"/>
                  <a:gd name="connsiteX2" fmla="*/ 471488 w 471488"/>
                  <a:gd name="connsiteY2" fmla="*/ 95251 h 400182"/>
                  <a:gd name="connsiteX3" fmla="*/ 397669 w 471488"/>
                  <a:gd name="connsiteY3" fmla="*/ 0 h 400182"/>
                  <a:gd name="connsiteX4" fmla="*/ 166688 w 471488"/>
                  <a:gd name="connsiteY4" fmla="*/ 209550 h 400182"/>
                  <a:gd name="connsiteX5" fmla="*/ 76200 w 471488"/>
                  <a:gd name="connsiteY5" fmla="*/ 121444 h 400182"/>
                  <a:gd name="connsiteX6" fmla="*/ 0 w 471488"/>
                  <a:gd name="connsiteY6" fmla="*/ 211932 h 400182"/>
                  <a:gd name="connsiteX0" fmla="*/ 0 w 471488"/>
                  <a:gd name="connsiteY0" fmla="*/ 211932 h 400189"/>
                  <a:gd name="connsiteX1" fmla="*/ 169069 w 471488"/>
                  <a:gd name="connsiteY1" fmla="*/ 400050 h 400189"/>
                  <a:gd name="connsiteX2" fmla="*/ 471488 w 471488"/>
                  <a:gd name="connsiteY2" fmla="*/ 95251 h 400189"/>
                  <a:gd name="connsiteX3" fmla="*/ 397669 w 471488"/>
                  <a:gd name="connsiteY3" fmla="*/ 0 h 400189"/>
                  <a:gd name="connsiteX4" fmla="*/ 166688 w 471488"/>
                  <a:gd name="connsiteY4" fmla="*/ 209550 h 400189"/>
                  <a:gd name="connsiteX5" fmla="*/ 76200 w 471488"/>
                  <a:gd name="connsiteY5" fmla="*/ 121444 h 400189"/>
                  <a:gd name="connsiteX6" fmla="*/ 0 w 471488"/>
                  <a:gd name="connsiteY6" fmla="*/ 211932 h 400189"/>
                  <a:gd name="connsiteX0" fmla="*/ 0 w 471488"/>
                  <a:gd name="connsiteY0" fmla="*/ 211932 h 395431"/>
                  <a:gd name="connsiteX1" fmla="*/ 178594 w 471488"/>
                  <a:gd name="connsiteY1" fmla="*/ 395288 h 395431"/>
                  <a:gd name="connsiteX2" fmla="*/ 471488 w 471488"/>
                  <a:gd name="connsiteY2" fmla="*/ 95251 h 395431"/>
                  <a:gd name="connsiteX3" fmla="*/ 397669 w 471488"/>
                  <a:gd name="connsiteY3" fmla="*/ 0 h 395431"/>
                  <a:gd name="connsiteX4" fmla="*/ 166688 w 471488"/>
                  <a:gd name="connsiteY4" fmla="*/ 209550 h 395431"/>
                  <a:gd name="connsiteX5" fmla="*/ 76200 w 471488"/>
                  <a:gd name="connsiteY5" fmla="*/ 121444 h 395431"/>
                  <a:gd name="connsiteX6" fmla="*/ 0 w 471488"/>
                  <a:gd name="connsiteY6" fmla="*/ 211932 h 395431"/>
                  <a:gd name="connsiteX0" fmla="*/ 0 w 471488"/>
                  <a:gd name="connsiteY0" fmla="*/ 211932 h 395331"/>
                  <a:gd name="connsiteX1" fmla="*/ 178594 w 471488"/>
                  <a:gd name="connsiteY1" fmla="*/ 395288 h 395331"/>
                  <a:gd name="connsiteX2" fmla="*/ 471488 w 471488"/>
                  <a:gd name="connsiteY2" fmla="*/ 95251 h 395331"/>
                  <a:gd name="connsiteX3" fmla="*/ 397669 w 471488"/>
                  <a:gd name="connsiteY3" fmla="*/ 0 h 395331"/>
                  <a:gd name="connsiteX4" fmla="*/ 166688 w 471488"/>
                  <a:gd name="connsiteY4" fmla="*/ 209550 h 395331"/>
                  <a:gd name="connsiteX5" fmla="*/ 76200 w 471488"/>
                  <a:gd name="connsiteY5" fmla="*/ 121444 h 395331"/>
                  <a:gd name="connsiteX6" fmla="*/ 0 w 471488"/>
                  <a:gd name="connsiteY6" fmla="*/ 211932 h 395331"/>
                  <a:gd name="connsiteX0" fmla="*/ 0 w 471488"/>
                  <a:gd name="connsiteY0" fmla="*/ 211932 h 395331"/>
                  <a:gd name="connsiteX1" fmla="*/ 178594 w 471488"/>
                  <a:gd name="connsiteY1" fmla="*/ 395288 h 395331"/>
                  <a:gd name="connsiteX2" fmla="*/ 471488 w 471488"/>
                  <a:gd name="connsiteY2" fmla="*/ 95251 h 395331"/>
                  <a:gd name="connsiteX3" fmla="*/ 397669 w 471488"/>
                  <a:gd name="connsiteY3" fmla="*/ 0 h 395331"/>
                  <a:gd name="connsiteX4" fmla="*/ 166688 w 471488"/>
                  <a:gd name="connsiteY4" fmla="*/ 209550 h 395331"/>
                  <a:gd name="connsiteX5" fmla="*/ 76200 w 471488"/>
                  <a:gd name="connsiteY5" fmla="*/ 121444 h 395331"/>
                  <a:gd name="connsiteX6" fmla="*/ 0 w 471488"/>
                  <a:gd name="connsiteY6" fmla="*/ 211932 h 395331"/>
                  <a:gd name="connsiteX0" fmla="*/ 0 w 469107"/>
                  <a:gd name="connsiteY0" fmla="*/ 211932 h 396777"/>
                  <a:gd name="connsiteX1" fmla="*/ 178594 w 469107"/>
                  <a:gd name="connsiteY1" fmla="*/ 395288 h 396777"/>
                  <a:gd name="connsiteX2" fmla="*/ 469107 w 469107"/>
                  <a:gd name="connsiteY2" fmla="*/ 104776 h 396777"/>
                  <a:gd name="connsiteX3" fmla="*/ 397669 w 469107"/>
                  <a:gd name="connsiteY3" fmla="*/ 0 h 396777"/>
                  <a:gd name="connsiteX4" fmla="*/ 166688 w 469107"/>
                  <a:gd name="connsiteY4" fmla="*/ 209550 h 396777"/>
                  <a:gd name="connsiteX5" fmla="*/ 76200 w 469107"/>
                  <a:gd name="connsiteY5" fmla="*/ 121444 h 396777"/>
                  <a:gd name="connsiteX6" fmla="*/ 0 w 469107"/>
                  <a:gd name="connsiteY6" fmla="*/ 211932 h 396777"/>
                  <a:gd name="connsiteX0" fmla="*/ 0 w 469107"/>
                  <a:gd name="connsiteY0" fmla="*/ 211932 h 395386"/>
                  <a:gd name="connsiteX1" fmla="*/ 178594 w 469107"/>
                  <a:gd name="connsiteY1" fmla="*/ 395288 h 395386"/>
                  <a:gd name="connsiteX2" fmla="*/ 469107 w 469107"/>
                  <a:gd name="connsiteY2" fmla="*/ 104776 h 395386"/>
                  <a:gd name="connsiteX3" fmla="*/ 397669 w 469107"/>
                  <a:gd name="connsiteY3" fmla="*/ 0 h 395386"/>
                  <a:gd name="connsiteX4" fmla="*/ 166688 w 469107"/>
                  <a:gd name="connsiteY4" fmla="*/ 209550 h 395386"/>
                  <a:gd name="connsiteX5" fmla="*/ 76200 w 469107"/>
                  <a:gd name="connsiteY5" fmla="*/ 121444 h 395386"/>
                  <a:gd name="connsiteX6" fmla="*/ 0 w 469107"/>
                  <a:gd name="connsiteY6" fmla="*/ 211932 h 39538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6200 w 469107"/>
                  <a:gd name="connsiteY5" fmla="*/ 121444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286"/>
                  <a:gd name="connsiteY0" fmla="*/ 211932 h 395296"/>
                  <a:gd name="connsiteX1" fmla="*/ 178594 w 469286"/>
                  <a:gd name="connsiteY1" fmla="*/ 395288 h 395296"/>
                  <a:gd name="connsiteX2" fmla="*/ 469107 w 469286"/>
                  <a:gd name="connsiteY2" fmla="*/ 104776 h 395296"/>
                  <a:gd name="connsiteX3" fmla="*/ 397669 w 469286"/>
                  <a:gd name="connsiteY3" fmla="*/ 0 h 395296"/>
                  <a:gd name="connsiteX4" fmla="*/ 166688 w 469286"/>
                  <a:gd name="connsiteY4" fmla="*/ 209550 h 395296"/>
                  <a:gd name="connsiteX5" fmla="*/ 71437 w 469286"/>
                  <a:gd name="connsiteY5" fmla="*/ 133350 h 395296"/>
                  <a:gd name="connsiteX6" fmla="*/ 0 w 469286"/>
                  <a:gd name="connsiteY6" fmla="*/ 211932 h 395296"/>
                  <a:gd name="connsiteX0" fmla="*/ 0 w 474512"/>
                  <a:gd name="connsiteY0" fmla="*/ 211932 h 395296"/>
                  <a:gd name="connsiteX1" fmla="*/ 178594 w 474512"/>
                  <a:gd name="connsiteY1" fmla="*/ 395288 h 395296"/>
                  <a:gd name="connsiteX2" fmla="*/ 469107 w 474512"/>
                  <a:gd name="connsiteY2" fmla="*/ 104776 h 395296"/>
                  <a:gd name="connsiteX3" fmla="*/ 397669 w 474512"/>
                  <a:gd name="connsiteY3" fmla="*/ 0 h 395296"/>
                  <a:gd name="connsiteX4" fmla="*/ 166688 w 474512"/>
                  <a:gd name="connsiteY4" fmla="*/ 209550 h 395296"/>
                  <a:gd name="connsiteX5" fmla="*/ 71437 w 474512"/>
                  <a:gd name="connsiteY5" fmla="*/ 133350 h 395296"/>
                  <a:gd name="connsiteX6" fmla="*/ 0 w 474512"/>
                  <a:gd name="connsiteY6" fmla="*/ 211932 h 395296"/>
                  <a:gd name="connsiteX0" fmla="*/ 0 w 461448"/>
                  <a:gd name="connsiteY0" fmla="*/ 211932 h 396898"/>
                  <a:gd name="connsiteX1" fmla="*/ 178594 w 461448"/>
                  <a:gd name="connsiteY1" fmla="*/ 395288 h 396898"/>
                  <a:gd name="connsiteX2" fmla="*/ 454819 w 461448"/>
                  <a:gd name="connsiteY2" fmla="*/ 100014 h 396898"/>
                  <a:gd name="connsiteX3" fmla="*/ 397669 w 461448"/>
                  <a:gd name="connsiteY3" fmla="*/ 0 h 396898"/>
                  <a:gd name="connsiteX4" fmla="*/ 166688 w 461448"/>
                  <a:gd name="connsiteY4" fmla="*/ 209550 h 396898"/>
                  <a:gd name="connsiteX5" fmla="*/ 71437 w 461448"/>
                  <a:gd name="connsiteY5" fmla="*/ 133350 h 396898"/>
                  <a:gd name="connsiteX6" fmla="*/ 0 w 461448"/>
                  <a:gd name="connsiteY6" fmla="*/ 211932 h 396898"/>
                  <a:gd name="connsiteX0" fmla="*/ 0 w 466181"/>
                  <a:gd name="connsiteY0" fmla="*/ 211932 h 396898"/>
                  <a:gd name="connsiteX1" fmla="*/ 178594 w 466181"/>
                  <a:gd name="connsiteY1" fmla="*/ 395288 h 396898"/>
                  <a:gd name="connsiteX2" fmla="*/ 454819 w 466181"/>
                  <a:gd name="connsiteY2" fmla="*/ 100014 h 396898"/>
                  <a:gd name="connsiteX3" fmla="*/ 397669 w 466181"/>
                  <a:gd name="connsiteY3" fmla="*/ 0 h 396898"/>
                  <a:gd name="connsiteX4" fmla="*/ 166688 w 466181"/>
                  <a:gd name="connsiteY4" fmla="*/ 209550 h 396898"/>
                  <a:gd name="connsiteX5" fmla="*/ 71437 w 466181"/>
                  <a:gd name="connsiteY5" fmla="*/ 133350 h 396898"/>
                  <a:gd name="connsiteX6" fmla="*/ 0 w 466181"/>
                  <a:gd name="connsiteY6" fmla="*/ 211932 h 396898"/>
                  <a:gd name="connsiteX0" fmla="*/ 0 w 466181"/>
                  <a:gd name="connsiteY0" fmla="*/ 211932 h 395288"/>
                  <a:gd name="connsiteX1" fmla="*/ 178594 w 466181"/>
                  <a:gd name="connsiteY1" fmla="*/ 395288 h 395288"/>
                  <a:gd name="connsiteX2" fmla="*/ 454819 w 466181"/>
                  <a:gd name="connsiteY2" fmla="*/ 100014 h 395288"/>
                  <a:gd name="connsiteX3" fmla="*/ 397669 w 466181"/>
                  <a:gd name="connsiteY3" fmla="*/ 0 h 395288"/>
                  <a:gd name="connsiteX4" fmla="*/ 166688 w 466181"/>
                  <a:gd name="connsiteY4" fmla="*/ 209550 h 395288"/>
                  <a:gd name="connsiteX5" fmla="*/ 71437 w 466181"/>
                  <a:gd name="connsiteY5" fmla="*/ 133350 h 395288"/>
                  <a:gd name="connsiteX6" fmla="*/ 0 w 466181"/>
                  <a:gd name="connsiteY6" fmla="*/ 211932 h 395288"/>
                  <a:gd name="connsiteX0" fmla="*/ 0 w 458125"/>
                  <a:gd name="connsiteY0" fmla="*/ 211932 h 395374"/>
                  <a:gd name="connsiteX1" fmla="*/ 178594 w 458125"/>
                  <a:gd name="connsiteY1" fmla="*/ 395288 h 395374"/>
                  <a:gd name="connsiteX2" fmla="*/ 314086 w 458125"/>
                  <a:gd name="connsiteY2" fmla="*/ 234103 h 395374"/>
                  <a:gd name="connsiteX3" fmla="*/ 454819 w 458125"/>
                  <a:gd name="connsiteY3" fmla="*/ 100014 h 395374"/>
                  <a:gd name="connsiteX4" fmla="*/ 397669 w 458125"/>
                  <a:gd name="connsiteY4" fmla="*/ 0 h 395374"/>
                  <a:gd name="connsiteX5" fmla="*/ 166688 w 458125"/>
                  <a:gd name="connsiteY5" fmla="*/ 209550 h 395374"/>
                  <a:gd name="connsiteX6" fmla="*/ 71437 w 458125"/>
                  <a:gd name="connsiteY6" fmla="*/ 133350 h 395374"/>
                  <a:gd name="connsiteX7" fmla="*/ 0 w 458125"/>
                  <a:gd name="connsiteY7" fmla="*/ 211932 h 395374"/>
                  <a:gd name="connsiteX0" fmla="*/ 0 w 458125"/>
                  <a:gd name="connsiteY0" fmla="*/ 211932 h 395374"/>
                  <a:gd name="connsiteX1" fmla="*/ 178594 w 458125"/>
                  <a:gd name="connsiteY1" fmla="*/ 395288 h 395374"/>
                  <a:gd name="connsiteX2" fmla="*/ 314086 w 458125"/>
                  <a:gd name="connsiteY2" fmla="*/ 234103 h 395374"/>
                  <a:gd name="connsiteX3" fmla="*/ 454819 w 458125"/>
                  <a:gd name="connsiteY3" fmla="*/ 100014 h 395374"/>
                  <a:gd name="connsiteX4" fmla="*/ 397669 w 458125"/>
                  <a:gd name="connsiteY4" fmla="*/ 0 h 395374"/>
                  <a:gd name="connsiteX5" fmla="*/ 166688 w 458125"/>
                  <a:gd name="connsiteY5" fmla="*/ 209550 h 395374"/>
                  <a:gd name="connsiteX6" fmla="*/ 71437 w 458125"/>
                  <a:gd name="connsiteY6" fmla="*/ 133350 h 395374"/>
                  <a:gd name="connsiteX7" fmla="*/ 0 w 458125"/>
                  <a:gd name="connsiteY7" fmla="*/ 211932 h 395374"/>
                  <a:gd name="connsiteX0" fmla="*/ 0 w 458125"/>
                  <a:gd name="connsiteY0" fmla="*/ 211932 h 395441"/>
                  <a:gd name="connsiteX1" fmla="*/ 178594 w 458125"/>
                  <a:gd name="connsiteY1" fmla="*/ 395288 h 395441"/>
                  <a:gd name="connsiteX2" fmla="*/ 314086 w 458125"/>
                  <a:gd name="connsiteY2" fmla="*/ 234103 h 395441"/>
                  <a:gd name="connsiteX3" fmla="*/ 454819 w 458125"/>
                  <a:gd name="connsiteY3" fmla="*/ 100014 h 395441"/>
                  <a:gd name="connsiteX4" fmla="*/ 397669 w 458125"/>
                  <a:gd name="connsiteY4" fmla="*/ 0 h 395441"/>
                  <a:gd name="connsiteX5" fmla="*/ 166688 w 458125"/>
                  <a:gd name="connsiteY5" fmla="*/ 209550 h 395441"/>
                  <a:gd name="connsiteX6" fmla="*/ 71437 w 458125"/>
                  <a:gd name="connsiteY6" fmla="*/ 133350 h 395441"/>
                  <a:gd name="connsiteX7" fmla="*/ 0 w 458125"/>
                  <a:gd name="connsiteY7" fmla="*/ 211932 h 395441"/>
                  <a:gd name="connsiteX0" fmla="*/ 0 w 458262"/>
                  <a:gd name="connsiteY0" fmla="*/ 211932 h 395480"/>
                  <a:gd name="connsiteX1" fmla="*/ 178594 w 458262"/>
                  <a:gd name="connsiteY1" fmla="*/ 395288 h 395480"/>
                  <a:gd name="connsiteX2" fmla="*/ 311704 w 458262"/>
                  <a:gd name="connsiteY2" fmla="*/ 236484 h 395480"/>
                  <a:gd name="connsiteX3" fmla="*/ 454819 w 458262"/>
                  <a:gd name="connsiteY3" fmla="*/ 100014 h 395480"/>
                  <a:gd name="connsiteX4" fmla="*/ 397669 w 458262"/>
                  <a:gd name="connsiteY4" fmla="*/ 0 h 395480"/>
                  <a:gd name="connsiteX5" fmla="*/ 166688 w 458262"/>
                  <a:gd name="connsiteY5" fmla="*/ 209550 h 395480"/>
                  <a:gd name="connsiteX6" fmla="*/ 71437 w 458262"/>
                  <a:gd name="connsiteY6" fmla="*/ 133350 h 395480"/>
                  <a:gd name="connsiteX7" fmla="*/ 0 w 458262"/>
                  <a:gd name="connsiteY7" fmla="*/ 211932 h 395480"/>
                  <a:gd name="connsiteX0" fmla="*/ 0 w 458262"/>
                  <a:gd name="connsiteY0" fmla="*/ 211932 h 395339"/>
                  <a:gd name="connsiteX1" fmla="*/ 178594 w 458262"/>
                  <a:gd name="connsiteY1" fmla="*/ 395288 h 395339"/>
                  <a:gd name="connsiteX2" fmla="*/ 311704 w 458262"/>
                  <a:gd name="connsiteY2" fmla="*/ 236484 h 395339"/>
                  <a:gd name="connsiteX3" fmla="*/ 454819 w 458262"/>
                  <a:gd name="connsiteY3" fmla="*/ 100014 h 395339"/>
                  <a:gd name="connsiteX4" fmla="*/ 397669 w 458262"/>
                  <a:gd name="connsiteY4" fmla="*/ 0 h 395339"/>
                  <a:gd name="connsiteX5" fmla="*/ 166688 w 458262"/>
                  <a:gd name="connsiteY5" fmla="*/ 209550 h 395339"/>
                  <a:gd name="connsiteX6" fmla="*/ 71437 w 458262"/>
                  <a:gd name="connsiteY6" fmla="*/ 133350 h 395339"/>
                  <a:gd name="connsiteX7" fmla="*/ 0 w 458262"/>
                  <a:gd name="connsiteY7" fmla="*/ 211932 h 395339"/>
                  <a:gd name="connsiteX0" fmla="*/ 0 w 460643"/>
                  <a:gd name="connsiteY0" fmla="*/ 219076 h 395388"/>
                  <a:gd name="connsiteX1" fmla="*/ 180975 w 460643"/>
                  <a:gd name="connsiteY1" fmla="*/ 395288 h 395388"/>
                  <a:gd name="connsiteX2" fmla="*/ 314085 w 460643"/>
                  <a:gd name="connsiteY2" fmla="*/ 236484 h 395388"/>
                  <a:gd name="connsiteX3" fmla="*/ 457200 w 460643"/>
                  <a:gd name="connsiteY3" fmla="*/ 100014 h 395388"/>
                  <a:gd name="connsiteX4" fmla="*/ 400050 w 460643"/>
                  <a:gd name="connsiteY4" fmla="*/ 0 h 395388"/>
                  <a:gd name="connsiteX5" fmla="*/ 169069 w 460643"/>
                  <a:gd name="connsiteY5" fmla="*/ 209550 h 395388"/>
                  <a:gd name="connsiteX6" fmla="*/ 73818 w 460643"/>
                  <a:gd name="connsiteY6" fmla="*/ 133350 h 395388"/>
                  <a:gd name="connsiteX7" fmla="*/ 0 w 460643"/>
                  <a:gd name="connsiteY7" fmla="*/ 219076 h 395388"/>
                  <a:gd name="connsiteX0" fmla="*/ 0 w 460643"/>
                  <a:gd name="connsiteY0" fmla="*/ 219076 h 395308"/>
                  <a:gd name="connsiteX1" fmla="*/ 180975 w 460643"/>
                  <a:gd name="connsiteY1" fmla="*/ 395288 h 395308"/>
                  <a:gd name="connsiteX2" fmla="*/ 314085 w 460643"/>
                  <a:gd name="connsiteY2" fmla="*/ 236484 h 395308"/>
                  <a:gd name="connsiteX3" fmla="*/ 457200 w 460643"/>
                  <a:gd name="connsiteY3" fmla="*/ 100014 h 395308"/>
                  <a:gd name="connsiteX4" fmla="*/ 400050 w 460643"/>
                  <a:gd name="connsiteY4" fmla="*/ 0 h 395308"/>
                  <a:gd name="connsiteX5" fmla="*/ 169069 w 460643"/>
                  <a:gd name="connsiteY5" fmla="*/ 209550 h 395308"/>
                  <a:gd name="connsiteX6" fmla="*/ 73818 w 460643"/>
                  <a:gd name="connsiteY6" fmla="*/ 133350 h 395308"/>
                  <a:gd name="connsiteX7" fmla="*/ 0 w 460643"/>
                  <a:gd name="connsiteY7" fmla="*/ 219076 h 395308"/>
                  <a:gd name="connsiteX0" fmla="*/ 16548 w 477191"/>
                  <a:gd name="connsiteY0" fmla="*/ 219076 h 395308"/>
                  <a:gd name="connsiteX1" fmla="*/ 197523 w 477191"/>
                  <a:gd name="connsiteY1" fmla="*/ 395288 h 395308"/>
                  <a:gd name="connsiteX2" fmla="*/ 330633 w 477191"/>
                  <a:gd name="connsiteY2" fmla="*/ 236484 h 395308"/>
                  <a:gd name="connsiteX3" fmla="*/ 473748 w 477191"/>
                  <a:gd name="connsiteY3" fmla="*/ 100014 h 395308"/>
                  <a:gd name="connsiteX4" fmla="*/ 416598 w 477191"/>
                  <a:gd name="connsiteY4" fmla="*/ 0 h 395308"/>
                  <a:gd name="connsiteX5" fmla="*/ 185617 w 477191"/>
                  <a:gd name="connsiteY5" fmla="*/ 209550 h 395308"/>
                  <a:gd name="connsiteX6" fmla="*/ 90366 w 477191"/>
                  <a:gd name="connsiteY6" fmla="*/ 133350 h 395308"/>
                  <a:gd name="connsiteX7" fmla="*/ 16548 w 477191"/>
                  <a:gd name="connsiteY7" fmla="*/ 219076 h 395308"/>
                  <a:gd name="connsiteX0" fmla="*/ 10200 w 470843"/>
                  <a:gd name="connsiteY0" fmla="*/ 219076 h 395305"/>
                  <a:gd name="connsiteX1" fmla="*/ 191175 w 470843"/>
                  <a:gd name="connsiteY1" fmla="*/ 395288 h 395305"/>
                  <a:gd name="connsiteX2" fmla="*/ 324285 w 470843"/>
                  <a:gd name="connsiteY2" fmla="*/ 236484 h 395305"/>
                  <a:gd name="connsiteX3" fmla="*/ 467400 w 470843"/>
                  <a:gd name="connsiteY3" fmla="*/ 100014 h 395305"/>
                  <a:gd name="connsiteX4" fmla="*/ 410250 w 470843"/>
                  <a:gd name="connsiteY4" fmla="*/ 0 h 395305"/>
                  <a:gd name="connsiteX5" fmla="*/ 179269 w 470843"/>
                  <a:gd name="connsiteY5" fmla="*/ 209550 h 395305"/>
                  <a:gd name="connsiteX6" fmla="*/ 84018 w 470843"/>
                  <a:gd name="connsiteY6" fmla="*/ 133350 h 395305"/>
                  <a:gd name="connsiteX7" fmla="*/ 10200 w 470843"/>
                  <a:gd name="connsiteY7" fmla="*/ 219076 h 395305"/>
                  <a:gd name="connsiteX0" fmla="*/ 3259 w 463902"/>
                  <a:gd name="connsiteY0" fmla="*/ 219076 h 395305"/>
                  <a:gd name="connsiteX1" fmla="*/ 184234 w 463902"/>
                  <a:gd name="connsiteY1" fmla="*/ 395288 h 395305"/>
                  <a:gd name="connsiteX2" fmla="*/ 317344 w 463902"/>
                  <a:gd name="connsiteY2" fmla="*/ 236484 h 395305"/>
                  <a:gd name="connsiteX3" fmla="*/ 460459 w 463902"/>
                  <a:gd name="connsiteY3" fmla="*/ 100014 h 395305"/>
                  <a:gd name="connsiteX4" fmla="*/ 403309 w 463902"/>
                  <a:gd name="connsiteY4" fmla="*/ 0 h 395305"/>
                  <a:gd name="connsiteX5" fmla="*/ 172328 w 463902"/>
                  <a:gd name="connsiteY5" fmla="*/ 209550 h 395305"/>
                  <a:gd name="connsiteX6" fmla="*/ 77077 w 463902"/>
                  <a:gd name="connsiteY6" fmla="*/ 133350 h 395305"/>
                  <a:gd name="connsiteX7" fmla="*/ 3259 w 463902"/>
                  <a:gd name="connsiteY7" fmla="*/ 219076 h 395305"/>
                  <a:gd name="connsiteX0" fmla="*/ 3373 w 464016"/>
                  <a:gd name="connsiteY0" fmla="*/ 219076 h 357212"/>
                  <a:gd name="connsiteX1" fmla="*/ 186730 w 464016"/>
                  <a:gd name="connsiteY1" fmla="*/ 357188 h 357212"/>
                  <a:gd name="connsiteX2" fmla="*/ 317458 w 464016"/>
                  <a:gd name="connsiteY2" fmla="*/ 236484 h 357212"/>
                  <a:gd name="connsiteX3" fmla="*/ 460573 w 464016"/>
                  <a:gd name="connsiteY3" fmla="*/ 100014 h 357212"/>
                  <a:gd name="connsiteX4" fmla="*/ 403423 w 464016"/>
                  <a:gd name="connsiteY4" fmla="*/ 0 h 357212"/>
                  <a:gd name="connsiteX5" fmla="*/ 172442 w 464016"/>
                  <a:gd name="connsiteY5" fmla="*/ 209550 h 357212"/>
                  <a:gd name="connsiteX6" fmla="*/ 77191 w 464016"/>
                  <a:gd name="connsiteY6" fmla="*/ 133350 h 357212"/>
                  <a:gd name="connsiteX7" fmla="*/ 3373 w 464016"/>
                  <a:gd name="connsiteY7" fmla="*/ 219076 h 357212"/>
                  <a:gd name="connsiteX0" fmla="*/ 3605 w 464248"/>
                  <a:gd name="connsiteY0" fmla="*/ 219076 h 378641"/>
                  <a:gd name="connsiteX1" fmla="*/ 191725 w 464248"/>
                  <a:gd name="connsiteY1" fmla="*/ 378620 h 378641"/>
                  <a:gd name="connsiteX2" fmla="*/ 317690 w 464248"/>
                  <a:gd name="connsiteY2" fmla="*/ 236484 h 378641"/>
                  <a:gd name="connsiteX3" fmla="*/ 460805 w 464248"/>
                  <a:gd name="connsiteY3" fmla="*/ 100014 h 378641"/>
                  <a:gd name="connsiteX4" fmla="*/ 403655 w 464248"/>
                  <a:gd name="connsiteY4" fmla="*/ 0 h 378641"/>
                  <a:gd name="connsiteX5" fmla="*/ 172674 w 464248"/>
                  <a:gd name="connsiteY5" fmla="*/ 209550 h 378641"/>
                  <a:gd name="connsiteX6" fmla="*/ 77423 w 464248"/>
                  <a:gd name="connsiteY6" fmla="*/ 133350 h 378641"/>
                  <a:gd name="connsiteX7" fmla="*/ 3605 w 464248"/>
                  <a:gd name="connsiteY7" fmla="*/ 219076 h 378641"/>
                  <a:gd name="connsiteX0" fmla="*/ 3470 w 464113"/>
                  <a:gd name="connsiteY0" fmla="*/ 219076 h 378641"/>
                  <a:gd name="connsiteX1" fmla="*/ 191590 w 464113"/>
                  <a:gd name="connsiteY1" fmla="*/ 378620 h 378641"/>
                  <a:gd name="connsiteX2" fmla="*/ 317555 w 464113"/>
                  <a:gd name="connsiteY2" fmla="*/ 236484 h 378641"/>
                  <a:gd name="connsiteX3" fmla="*/ 460670 w 464113"/>
                  <a:gd name="connsiteY3" fmla="*/ 100014 h 378641"/>
                  <a:gd name="connsiteX4" fmla="*/ 403520 w 464113"/>
                  <a:gd name="connsiteY4" fmla="*/ 0 h 378641"/>
                  <a:gd name="connsiteX5" fmla="*/ 174921 w 464113"/>
                  <a:gd name="connsiteY5" fmla="*/ 221457 h 378641"/>
                  <a:gd name="connsiteX6" fmla="*/ 77288 w 464113"/>
                  <a:gd name="connsiteY6" fmla="*/ 133350 h 378641"/>
                  <a:gd name="connsiteX7" fmla="*/ 3470 w 464113"/>
                  <a:gd name="connsiteY7" fmla="*/ 219076 h 378641"/>
                  <a:gd name="connsiteX0" fmla="*/ 3470 w 479103"/>
                  <a:gd name="connsiteY0" fmla="*/ 237452 h 397017"/>
                  <a:gd name="connsiteX1" fmla="*/ 191590 w 479103"/>
                  <a:gd name="connsiteY1" fmla="*/ 396996 h 397017"/>
                  <a:gd name="connsiteX2" fmla="*/ 317555 w 479103"/>
                  <a:gd name="connsiteY2" fmla="*/ 254860 h 397017"/>
                  <a:gd name="connsiteX3" fmla="*/ 460670 w 479103"/>
                  <a:gd name="connsiteY3" fmla="*/ 118390 h 397017"/>
                  <a:gd name="connsiteX4" fmla="*/ 403520 w 479103"/>
                  <a:gd name="connsiteY4" fmla="*/ 18376 h 397017"/>
                  <a:gd name="connsiteX5" fmla="*/ 174921 w 479103"/>
                  <a:gd name="connsiteY5" fmla="*/ 239833 h 397017"/>
                  <a:gd name="connsiteX6" fmla="*/ 77288 w 479103"/>
                  <a:gd name="connsiteY6" fmla="*/ 151726 h 397017"/>
                  <a:gd name="connsiteX7" fmla="*/ 3470 w 479103"/>
                  <a:gd name="connsiteY7" fmla="*/ 237452 h 397017"/>
                  <a:gd name="connsiteX0" fmla="*/ 3470 w 463445"/>
                  <a:gd name="connsiteY0" fmla="*/ 220091 h 379656"/>
                  <a:gd name="connsiteX1" fmla="*/ 191590 w 463445"/>
                  <a:gd name="connsiteY1" fmla="*/ 379635 h 379656"/>
                  <a:gd name="connsiteX2" fmla="*/ 317555 w 463445"/>
                  <a:gd name="connsiteY2" fmla="*/ 237499 h 379656"/>
                  <a:gd name="connsiteX3" fmla="*/ 460670 w 463445"/>
                  <a:gd name="connsiteY3" fmla="*/ 101029 h 379656"/>
                  <a:gd name="connsiteX4" fmla="*/ 403520 w 463445"/>
                  <a:gd name="connsiteY4" fmla="*/ 1015 h 379656"/>
                  <a:gd name="connsiteX5" fmla="*/ 174921 w 463445"/>
                  <a:gd name="connsiteY5" fmla="*/ 222472 h 379656"/>
                  <a:gd name="connsiteX6" fmla="*/ 77288 w 463445"/>
                  <a:gd name="connsiteY6" fmla="*/ 134365 h 379656"/>
                  <a:gd name="connsiteX7" fmla="*/ 3470 w 463445"/>
                  <a:gd name="connsiteY7" fmla="*/ 220091 h 379656"/>
                  <a:gd name="connsiteX0" fmla="*/ 3470 w 471984"/>
                  <a:gd name="connsiteY0" fmla="*/ 220120 h 379685"/>
                  <a:gd name="connsiteX1" fmla="*/ 191590 w 471984"/>
                  <a:gd name="connsiteY1" fmla="*/ 379664 h 379685"/>
                  <a:gd name="connsiteX2" fmla="*/ 317555 w 471984"/>
                  <a:gd name="connsiteY2" fmla="*/ 237528 h 379685"/>
                  <a:gd name="connsiteX3" fmla="*/ 460670 w 471984"/>
                  <a:gd name="connsiteY3" fmla="*/ 101058 h 379685"/>
                  <a:gd name="connsiteX4" fmla="*/ 403520 w 471984"/>
                  <a:gd name="connsiteY4" fmla="*/ 1044 h 379685"/>
                  <a:gd name="connsiteX5" fmla="*/ 174921 w 471984"/>
                  <a:gd name="connsiteY5" fmla="*/ 222501 h 379685"/>
                  <a:gd name="connsiteX6" fmla="*/ 77288 w 471984"/>
                  <a:gd name="connsiteY6" fmla="*/ 134394 h 379685"/>
                  <a:gd name="connsiteX7" fmla="*/ 3470 w 471984"/>
                  <a:gd name="connsiteY7" fmla="*/ 220120 h 379685"/>
                  <a:gd name="connsiteX0" fmla="*/ 3470 w 478667"/>
                  <a:gd name="connsiteY0" fmla="*/ 221676 h 381241"/>
                  <a:gd name="connsiteX1" fmla="*/ 191590 w 478667"/>
                  <a:gd name="connsiteY1" fmla="*/ 381220 h 381241"/>
                  <a:gd name="connsiteX2" fmla="*/ 317555 w 478667"/>
                  <a:gd name="connsiteY2" fmla="*/ 239084 h 381241"/>
                  <a:gd name="connsiteX3" fmla="*/ 465432 w 478667"/>
                  <a:gd name="connsiteY3" fmla="*/ 112139 h 381241"/>
                  <a:gd name="connsiteX4" fmla="*/ 403520 w 478667"/>
                  <a:gd name="connsiteY4" fmla="*/ 2600 h 381241"/>
                  <a:gd name="connsiteX5" fmla="*/ 174921 w 478667"/>
                  <a:gd name="connsiteY5" fmla="*/ 224057 h 381241"/>
                  <a:gd name="connsiteX6" fmla="*/ 77288 w 478667"/>
                  <a:gd name="connsiteY6" fmla="*/ 135950 h 381241"/>
                  <a:gd name="connsiteX7" fmla="*/ 3470 w 478667"/>
                  <a:gd name="connsiteY7" fmla="*/ 221676 h 381241"/>
                  <a:gd name="connsiteX0" fmla="*/ 3470 w 478667"/>
                  <a:gd name="connsiteY0" fmla="*/ 221676 h 381241"/>
                  <a:gd name="connsiteX1" fmla="*/ 191590 w 478667"/>
                  <a:gd name="connsiteY1" fmla="*/ 381220 h 381241"/>
                  <a:gd name="connsiteX2" fmla="*/ 317555 w 478667"/>
                  <a:gd name="connsiteY2" fmla="*/ 239084 h 381241"/>
                  <a:gd name="connsiteX3" fmla="*/ 465432 w 478667"/>
                  <a:gd name="connsiteY3" fmla="*/ 112139 h 381241"/>
                  <a:gd name="connsiteX4" fmla="*/ 403520 w 478667"/>
                  <a:gd name="connsiteY4" fmla="*/ 2600 h 381241"/>
                  <a:gd name="connsiteX5" fmla="*/ 174921 w 478667"/>
                  <a:gd name="connsiteY5" fmla="*/ 224057 h 381241"/>
                  <a:gd name="connsiteX6" fmla="*/ 77288 w 478667"/>
                  <a:gd name="connsiteY6" fmla="*/ 135950 h 381241"/>
                  <a:gd name="connsiteX7" fmla="*/ 3470 w 478667"/>
                  <a:gd name="connsiteY7" fmla="*/ 221676 h 381241"/>
                  <a:gd name="connsiteX0" fmla="*/ 3470 w 468632"/>
                  <a:gd name="connsiteY0" fmla="*/ 221629 h 381402"/>
                  <a:gd name="connsiteX1" fmla="*/ 191590 w 468632"/>
                  <a:gd name="connsiteY1" fmla="*/ 381173 h 381402"/>
                  <a:gd name="connsiteX2" fmla="*/ 327080 w 468632"/>
                  <a:gd name="connsiteY2" fmla="*/ 241419 h 381402"/>
                  <a:gd name="connsiteX3" fmla="*/ 465432 w 468632"/>
                  <a:gd name="connsiteY3" fmla="*/ 112092 h 381402"/>
                  <a:gd name="connsiteX4" fmla="*/ 403520 w 468632"/>
                  <a:gd name="connsiteY4" fmla="*/ 2553 h 381402"/>
                  <a:gd name="connsiteX5" fmla="*/ 174921 w 468632"/>
                  <a:gd name="connsiteY5" fmla="*/ 224010 h 381402"/>
                  <a:gd name="connsiteX6" fmla="*/ 77288 w 468632"/>
                  <a:gd name="connsiteY6" fmla="*/ 135903 h 381402"/>
                  <a:gd name="connsiteX7" fmla="*/ 3470 w 468632"/>
                  <a:gd name="connsiteY7" fmla="*/ 221629 h 381402"/>
                  <a:gd name="connsiteX0" fmla="*/ 3470 w 468632"/>
                  <a:gd name="connsiteY0" fmla="*/ 221629 h 381261"/>
                  <a:gd name="connsiteX1" fmla="*/ 191590 w 468632"/>
                  <a:gd name="connsiteY1" fmla="*/ 381173 h 381261"/>
                  <a:gd name="connsiteX2" fmla="*/ 327080 w 468632"/>
                  <a:gd name="connsiteY2" fmla="*/ 241419 h 381261"/>
                  <a:gd name="connsiteX3" fmla="*/ 465432 w 468632"/>
                  <a:gd name="connsiteY3" fmla="*/ 112092 h 381261"/>
                  <a:gd name="connsiteX4" fmla="*/ 403520 w 468632"/>
                  <a:gd name="connsiteY4" fmla="*/ 2553 h 381261"/>
                  <a:gd name="connsiteX5" fmla="*/ 174921 w 468632"/>
                  <a:gd name="connsiteY5" fmla="*/ 224010 h 381261"/>
                  <a:gd name="connsiteX6" fmla="*/ 77288 w 468632"/>
                  <a:gd name="connsiteY6" fmla="*/ 135903 h 381261"/>
                  <a:gd name="connsiteX7" fmla="*/ 3470 w 468632"/>
                  <a:gd name="connsiteY7" fmla="*/ 221629 h 381261"/>
                  <a:gd name="connsiteX0" fmla="*/ 3470 w 481001"/>
                  <a:gd name="connsiteY0" fmla="*/ 221469 h 381101"/>
                  <a:gd name="connsiteX1" fmla="*/ 191590 w 481001"/>
                  <a:gd name="connsiteY1" fmla="*/ 381013 h 381101"/>
                  <a:gd name="connsiteX2" fmla="*/ 327080 w 481001"/>
                  <a:gd name="connsiteY2" fmla="*/ 241259 h 381101"/>
                  <a:gd name="connsiteX3" fmla="*/ 465432 w 481001"/>
                  <a:gd name="connsiteY3" fmla="*/ 111932 h 381101"/>
                  <a:gd name="connsiteX4" fmla="*/ 403520 w 481001"/>
                  <a:gd name="connsiteY4" fmla="*/ 2393 h 381101"/>
                  <a:gd name="connsiteX5" fmla="*/ 174921 w 481001"/>
                  <a:gd name="connsiteY5" fmla="*/ 223850 h 381101"/>
                  <a:gd name="connsiteX6" fmla="*/ 77288 w 481001"/>
                  <a:gd name="connsiteY6" fmla="*/ 135743 h 381101"/>
                  <a:gd name="connsiteX7" fmla="*/ 3470 w 481001"/>
                  <a:gd name="connsiteY7" fmla="*/ 221469 h 381101"/>
                  <a:gd name="connsiteX0" fmla="*/ 3470 w 485051"/>
                  <a:gd name="connsiteY0" fmla="*/ 221686 h 381318"/>
                  <a:gd name="connsiteX1" fmla="*/ 191590 w 485051"/>
                  <a:gd name="connsiteY1" fmla="*/ 381230 h 381318"/>
                  <a:gd name="connsiteX2" fmla="*/ 327080 w 485051"/>
                  <a:gd name="connsiteY2" fmla="*/ 241476 h 381318"/>
                  <a:gd name="connsiteX3" fmla="*/ 465432 w 485051"/>
                  <a:gd name="connsiteY3" fmla="*/ 112149 h 381318"/>
                  <a:gd name="connsiteX4" fmla="*/ 403520 w 485051"/>
                  <a:gd name="connsiteY4" fmla="*/ 2610 h 381318"/>
                  <a:gd name="connsiteX5" fmla="*/ 174921 w 485051"/>
                  <a:gd name="connsiteY5" fmla="*/ 224067 h 381318"/>
                  <a:gd name="connsiteX6" fmla="*/ 77288 w 485051"/>
                  <a:gd name="connsiteY6" fmla="*/ 135960 h 381318"/>
                  <a:gd name="connsiteX7" fmla="*/ 3470 w 485051"/>
                  <a:gd name="connsiteY7" fmla="*/ 221686 h 381318"/>
                  <a:gd name="connsiteX0" fmla="*/ 3790 w 485371"/>
                  <a:gd name="connsiteY0" fmla="*/ 221686 h 381318"/>
                  <a:gd name="connsiteX1" fmla="*/ 191910 w 485371"/>
                  <a:gd name="connsiteY1" fmla="*/ 381230 h 381318"/>
                  <a:gd name="connsiteX2" fmla="*/ 327400 w 485371"/>
                  <a:gd name="connsiteY2" fmla="*/ 241476 h 381318"/>
                  <a:gd name="connsiteX3" fmla="*/ 465752 w 485371"/>
                  <a:gd name="connsiteY3" fmla="*/ 112149 h 381318"/>
                  <a:gd name="connsiteX4" fmla="*/ 403840 w 485371"/>
                  <a:gd name="connsiteY4" fmla="*/ 2610 h 381318"/>
                  <a:gd name="connsiteX5" fmla="*/ 175241 w 485371"/>
                  <a:gd name="connsiteY5" fmla="*/ 224067 h 381318"/>
                  <a:gd name="connsiteX6" fmla="*/ 77608 w 485371"/>
                  <a:gd name="connsiteY6" fmla="*/ 135960 h 381318"/>
                  <a:gd name="connsiteX7" fmla="*/ 3790 w 485371"/>
                  <a:gd name="connsiteY7" fmla="*/ 221686 h 381318"/>
                  <a:gd name="connsiteX0" fmla="*/ 3554 w 485135"/>
                  <a:gd name="connsiteY0" fmla="*/ 221686 h 381319"/>
                  <a:gd name="connsiteX1" fmla="*/ 191674 w 485135"/>
                  <a:gd name="connsiteY1" fmla="*/ 381230 h 381319"/>
                  <a:gd name="connsiteX2" fmla="*/ 327164 w 485135"/>
                  <a:gd name="connsiteY2" fmla="*/ 241476 h 381319"/>
                  <a:gd name="connsiteX3" fmla="*/ 465516 w 485135"/>
                  <a:gd name="connsiteY3" fmla="*/ 112149 h 381319"/>
                  <a:gd name="connsiteX4" fmla="*/ 403604 w 485135"/>
                  <a:gd name="connsiteY4" fmla="*/ 2610 h 381319"/>
                  <a:gd name="connsiteX5" fmla="*/ 175005 w 485135"/>
                  <a:gd name="connsiteY5" fmla="*/ 224067 h 381319"/>
                  <a:gd name="connsiteX6" fmla="*/ 79753 w 485135"/>
                  <a:gd name="connsiteY6" fmla="*/ 131197 h 381319"/>
                  <a:gd name="connsiteX7" fmla="*/ 3554 w 485135"/>
                  <a:gd name="connsiteY7" fmla="*/ 221686 h 381319"/>
                  <a:gd name="connsiteX0" fmla="*/ 8294 w 489875"/>
                  <a:gd name="connsiteY0" fmla="*/ 221686 h 381314"/>
                  <a:gd name="connsiteX1" fmla="*/ 196414 w 489875"/>
                  <a:gd name="connsiteY1" fmla="*/ 381230 h 381314"/>
                  <a:gd name="connsiteX2" fmla="*/ 331904 w 489875"/>
                  <a:gd name="connsiteY2" fmla="*/ 241476 h 381314"/>
                  <a:gd name="connsiteX3" fmla="*/ 470256 w 489875"/>
                  <a:gd name="connsiteY3" fmla="*/ 112149 h 381314"/>
                  <a:gd name="connsiteX4" fmla="*/ 408344 w 489875"/>
                  <a:gd name="connsiteY4" fmla="*/ 2610 h 381314"/>
                  <a:gd name="connsiteX5" fmla="*/ 179745 w 489875"/>
                  <a:gd name="connsiteY5" fmla="*/ 224067 h 381314"/>
                  <a:gd name="connsiteX6" fmla="*/ 84493 w 489875"/>
                  <a:gd name="connsiteY6" fmla="*/ 131197 h 381314"/>
                  <a:gd name="connsiteX7" fmla="*/ 8294 w 489875"/>
                  <a:gd name="connsiteY7" fmla="*/ 221686 h 381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9875" h="381314">
                    <a:moveTo>
                      <a:pt x="8294" y="221686"/>
                    </a:moveTo>
                    <a:cubicBezTo>
                      <a:pt x="41235" y="256215"/>
                      <a:pt x="166292" y="385076"/>
                      <a:pt x="196414" y="381230"/>
                    </a:cubicBezTo>
                    <a:cubicBezTo>
                      <a:pt x="226536" y="377384"/>
                      <a:pt x="217207" y="352998"/>
                      <a:pt x="331904" y="241476"/>
                    </a:cubicBezTo>
                    <a:cubicBezTo>
                      <a:pt x="446601" y="129954"/>
                      <a:pt x="417035" y="154341"/>
                      <a:pt x="470256" y="112149"/>
                    </a:cubicBezTo>
                    <a:cubicBezTo>
                      <a:pt x="523477" y="69957"/>
                      <a:pt x="456763" y="-16043"/>
                      <a:pt x="408344" y="2610"/>
                    </a:cubicBezTo>
                    <a:cubicBezTo>
                      <a:pt x="359926" y="21263"/>
                      <a:pt x="263883" y="128023"/>
                      <a:pt x="179745" y="224067"/>
                    </a:cubicBezTo>
                    <a:cubicBezTo>
                      <a:pt x="147201" y="194698"/>
                      <a:pt x="120212" y="155407"/>
                      <a:pt x="84493" y="131197"/>
                    </a:cubicBezTo>
                    <a:cubicBezTo>
                      <a:pt x="48774" y="106987"/>
                      <a:pt x="-24647" y="187157"/>
                      <a:pt x="8294" y="22168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0580"/>
                <a:endParaRPr lang="en-US" sz="1753" dirty="0">
                  <a:ln>
                    <a:solidFill>
                      <a:srgbClr val="FFFFFF">
                        <a:alpha val="0"/>
                      </a:srgbClr>
                    </a:solidFill>
                  </a:ln>
                  <a:solidFill>
                    <a:srgbClr val="000000"/>
                  </a:solidFill>
                  <a:latin typeface="Segoe UI"/>
                </a:endParaRPr>
              </a:p>
            </p:txBody>
          </p:sp>
        </p:grpSp>
      </p:grpSp>
      <p:sp>
        <p:nvSpPr>
          <p:cNvPr id="42" name="Rectangle 41"/>
          <p:cNvSpPr/>
          <p:nvPr/>
        </p:nvSpPr>
        <p:spPr bwMode="auto">
          <a:xfrm>
            <a:off x="9622971" y="5282312"/>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defTabSz="914102" fontAlgn="base">
              <a:spcBef>
                <a:spcPct val="0"/>
              </a:spcBef>
              <a:spcAft>
                <a:spcPct val="0"/>
              </a:spcAft>
            </a:pPr>
            <a:r>
              <a:rPr lang="en-US" sz="1961" kern="0" dirty="0">
                <a:solidFill>
                  <a:srgbClr val="F2F2F2"/>
                </a:solidFill>
                <a:latin typeface="Segoe UI Light" panose="020B0502040204020203" pitchFamily="34" charset="0"/>
                <a:cs typeface="Segoe UI Light" panose="020B0502040204020203" pitchFamily="34" charset="0"/>
              </a:rPr>
              <a:t>API keys</a:t>
            </a:r>
          </a:p>
        </p:txBody>
      </p:sp>
      <p:sp>
        <p:nvSpPr>
          <p:cNvPr id="43" name="Rectangle 42"/>
          <p:cNvSpPr/>
          <p:nvPr/>
        </p:nvSpPr>
        <p:spPr bwMode="auto">
          <a:xfrm>
            <a:off x="9622971" y="4225525"/>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defTabSz="914102" fontAlgn="base">
              <a:spcBef>
                <a:spcPct val="0"/>
              </a:spcBef>
              <a:spcAft>
                <a:spcPct val="0"/>
              </a:spcAft>
            </a:pPr>
            <a:r>
              <a:rPr lang="en-US" sz="1961" kern="0" dirty="0">
                <a:solidFill>
                  <a:srgbClr val="F2F2F2"/>
                </a:solidFill>
                <a:latin typeface="Segoe UI Light" panose="020B0502040204020203" pitchFamily="34" charset="0"/>
                <a:cs typeface="Segoe UI Light" panose="020B0502040204020203" pitchFamily="34" charset="0"/>
              </a:rPr>
              <a:t>Report 2</a:t>
            </a:r>
          </a:p>
        </p:txBody>
      </p:sp>
      <p:sp>
        <p:nvSpPr>
          <p:cNvPr id="44" name="Rectangle 43"/>
          <p:cNvSpPr/>
          <p:nvPr/>
        </p:nvSpPr>
        <p:spPr bwMode="auto">
          <a:xfrm>
            <a:off x="9305967" y="2267811"/>
            <a:ext cx="1997789"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defTabSz="914102" fontAlgn="base">
              <a:spcBef>
                <a:spcPct val="0"/>
              </a:spcBef>
              <a:spcAft>
                <a:spcPct val="0"/>
              </a:spcAft>
            </a:pPr>
            <a:r>
              <a:rPr lang="en-US" sz="1961" kern="0" dirty="0">
                <a:solidFill>
                  <a:srgbClr val="F2F2F2"/>
                </a:solidFill>
                <a:latin typeface="Segoe UI Light" panose="020B0502040204020203" pitchFamily="34" charset="0"/>
                <a:cs typeface="Segoe UI Light" panose="020B0502040204020203" pitchFamily="34" charset="0"/>
              </a:rPr>
              <a:t>Workspace</a:t>
            </a:r>
          </a:p>
        </p:txBody>
      </p:sp>
      <p:sp>
        <p:nvSpPr>
          <p:cNvPr id="45" name="Rectangle 44"/>
          <p:cNvSpPr/>
          <p:nvPr/>
        </p:nvSpPr>
        <p:spPr bwMode="auto">
          <a:xfrm>
            <a:off x="9622971" y="3246668"/>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defTabSz="914102" fontAlgn="base">
              <a:spcBef>
                <a:spcPct val="0"/>
              </a:spcBef>
              <a:spcAft>
                <a:spcPct val="0"/>
              </a:spcAft>
            </a:pPr>
            <a:r>
              <a:rPr lang="en-US" sz="1961" kern="0" dirty="0">
                <a:solidFill>
                  <a:srgbClr val="F2F2F2"/>
                </a:solidFill>
                <a:latin typeface="Segoe UI Light" panose="020B0502040204020203" pitchFamily="34" charset="0"/>
                <a:cs typeface="Segoe UI Light" panose="020B0502040204020203" pitchFamily="34" charset="0"/>
              </a:rPr>
              <a:t>Report 1</a:t>
            </a:r>
          </a:p>
        </p:txBody>
      </p:sp>
      <p:sp>
        <p:nvSpPr>
          <p:cNvPr id="49" name="TextBox 48"/>
          <p:cNvSpPr txBox="1"/>
          <p:nvPr/>
        </p:nvSpPr>
        <p:spPr>
          <a:xfrm>
            <a:off x="422112" y="1485140"/>
            <a:ext cx="2509962" cy="622056"/>
          </a:xfrm>
          <a:prstGeom prst="rect">
            <a:avLst/>
          </a:prstGeom>
          <a:noFill/>
        </p:spPr>
        <p:txBody>
          <a:bodyPr wrap="square" lIns="179285" tIns="143428" rIns="179285" bIns="143428" rtlCol="0">
            <a:spAutoFit/>
          </a:bodyPr>
          <a:lstStyle/>
          <a:p>
            <a:pPr defTabSz="896386">
              <a:lnSpc>
                <a:spcPct val="90000"/>
              </a:lnSpc>
              <a:spcAft>
                <a:spcPts val="588"/>
              </a:spcAft>
            </a:pPr>
            <a:r>
              <a:rPr lang="en-US" sz="2400" kern="0" dirty="0">
                <a:solidFill>
                  <a:srgbClr val="282828"/>
                </a:solidFill>
                <a:latin typeface="+mj-lt"/>
                <a:ea typeface="Segoe UI Black" panose="020B0A02040204020203" pitchFamily="34" charset="0"/>
                <a:cs typeface="Segoe UI Black" panose="020B0A02040204020203" pitchFamily="34" charset="0"/>
              </a:rPr>
              <a:t>Application</a:t>
            </a:r>
          </a:p>
        </p:txBody>
      </p:sp>
      <p:sp>
        <p:nvSpPr>
          <p:cNvPr id="53" name="Rectangle 52"/>
          <p:cNvSpPr/>
          <p:nvPr/>
        </p:nvSpPr>
        <p:spPr>
          <a:xfrm>
            <a:off x="0" y="0"/>
            <a:ext cx="12192000" cy="15709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0" tIns="457200" rIns="457200" rtlCol="0" anchor="t"/>
          <a:lstStyle/>
          <a:p>
            <a:r>
              <a:rPr lang="en-US" sz="4400"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Provide seamless authentication experiences</a:t>
            </a:r>
            <a:endParaRPr lang="en-US" sz="4400" dirty="0">
              <a:solidFill>
                <a:srgbClr val="282828"/>
              </a:solidFill>
              <a:latin typeface="Segoe UI Light" panose="020B0502040204020203" pitchFamily="34" charset="0"/>
              <a:cs typeface="Segoe UI Light" panose="020B0502040204020203" pitchFamily="34" charset="0"/>
            </a:endParaRPr>
          </a:p>
          <a:p>
            <a:endParaRPr lang="en-US" sz="4400" dirty="0">
              <a:solidFill>
                <a:srgbClr val="282828"/>
              </a:solidFill>
              <a:latin typeface="Segoe UI Light" panose="020B0502040204020203" pitchFamily="34" charset="0"/>
              <a:cs typeface="Segoe UI Light" panose="020B0502040204020203" pitchFamily="34" charset="0"/>
            </a:endParaRPr>
          </a:p>
        </p:txBody>
      </p:sp>
      <p:sp>
        <p:nvSpPr>
          <p:cNvPr id="28" name="Rectangle 27"/>
          <p:cNvSpPr/>
          <p:nvPr/>
        </p:nvSpPr>
        <p:spPr bwMode="auto">
          <a:xfrm>
            <a:off x="422113" y="1485140"/>
            <a:ext cx="3047811" cy="4945380"/>
          </a:xfrm>
          <a:prstGeom prst="rect">
            <a:avLst/>
          </a:prstGeom>
          <a:noFill/>
          <a:ln w="12700">
            <a:solidFill>
              <a:srgbClr val="1E1E1E">
                <a:alpha val="50000"/>
              </a:srgb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dirty="0">
              <a:gradFill>
                <a:gsLst>
                  <a:gs pos="0">
                    <a:srgbClr val="FFFFFF"/>
                  </a:gs>
                  <a:gs pos="100000">
                    <a:srgbClr val="FFFFFF"/>
                  </a:gs>
                </a:gsLst>
                <a:lin ang="5400000" scaled="0"/>
              </a:gradFill>
            </a:endParaRPr>
          </a:p>
        </p:txBody>
      </p:sp>
      <p:grpSp>
        <p:nvGrpSpPr>
          <p:cNvPr id="48" name="Group 47"/>
          <p:cNvGrpSpPr/>
          <p:nvPr/>
        </p:nvGrpSpPr>
        <p:grpSpPr>
          <a:xfrm>
            <a:off x="0" y="6600607"/>
            <a:ext cx="2029968" cy="257393"/>
            <a:chOff x="10162032" y="6604155"/>
            <a:chExt cx="2029968" cy="257393"/>
          </a:xfrm>
        </p:grpSpPr>
        <p:sp>
          <p:nvSpPr>
            <p:cNvPr id="50" name="Rectangle 49"/>
            <p:cNvSpPr/>
            <p:nvPr/>
          </p:nvSpPr>
          <p:spPr>
            <a:xfrm>
              <a:off x="10838688" y="6605516"/>
              <a:ext cx="676656" cy="251512"/>
            </a:xfrm>
            <a:prstGeom prst="rect">
              <a:avLst/>
            </a:prstGeom>
            <a:solidFill>
              <a:srgbClr val="EDC30D"/>
            </a:solidFill>
            <a:ln w="6350">
              <a:solidFill>
                <a:srgbClr val="EDC30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US" sz="1000" dirty="0">
                  <a:solidFill>
                    <a:srgbClr val="282828"/>
                  </a:solidFill>
                  <a:latin typeface="Segoe UI Black" panose="020B0A02040204020203" pitchFamily="34" charset="0"/>
                  <a:ea typeface="Segoe UI Black" panose="020B0A02040204020203" pitchFamily="34" charset="0"/>
                  <a:cs typeface="Segoe UI Black" panose="020B0A02040204020203" pitchFamily="34" charset="0"/>
                </a:rPr>
                <a:t>Embed</a:t>
              </a:r>
            </a:p>
          </p:txBody>
        </p:sp>
        <p:sp>
          <p:nvSpPr>
            <p:cNvPr id="54" name="Rectangle 53"/>
            <p:cNvSpPr/>
            <p:nvPr/>
          </p:nvSpPr>
          <p:spPr>
            <a:xfrm>
              <a:off x="10162032" y="6605516"/>
              <a:ext cx="676656" cy="251512"/>
            </a:xfrm>
            <a:prstGeom prst="rect">
              <a:avLst/>
            </a:prstGeom>
            <a:solidFill>
              <a:srgbClr val="282828"/>
            </a:solidFill>
            <a:ln w="6350">
              <a:solidFill>
                <a:srgbClr val="28282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US" sz="1000" dirty="0">
                  <a:solidFill>
                    <a:srgbClr val="EDC30D"/>
                  </a:solidFill>
                  <a:latin typeface="Segoe UI Black" panose="020B0A02040204020203" pitchFamily="34" charset="0"/>
                  <a:ea typeface="Segoe UI Black" panose="020B0A02040204020203" pitchFamily="34" charset="0"/>
                  <a:cs typeface="Segoe UI Black" panose="020B0A02040204020203" pitchFamily="34" charset="0"/>
                </a:rPr>
                <a:t>Create</a:t>
              </a:r>
            </a:p>
          </p:txBody>
        </p:sp>
        <p:sp>
          <p:nvSpPr>
            <p:cNvPr id="55" name="Rectangle 54"/>
            <p:cNvSpPr/>
            <p:nvPr/>
          </p:nvSpPr>
          <p:spPr>
            <a:xfrm>
              <a:off x="11515344" y="6605516"/>
              <a:ext cx="676656" cy="251512"/>
            </a:xfrm>
            <a:prstGeom prst="rect">
              <a:avLst/>
            </a:prstGeom>
            <a:solidFill>
              <a:srgbClr val="282828"/>
            </a:solidFill>
            <a:ln w="6350">
              <a:solidFill>
                <a:srgbClr val="28282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US" sz="1000" dirty="0">
                  <a:solidFill>
                    <a:srgbClr val="EDC30D"/>
                  </a:solidFill>
                  <a:latin typeface="Segoe UI Black" panose="020B0A02040204020203" pitchFamily="34" charset="0"/>
                  <a:ea typeface="Segoe UI Black" panose="020B0A02040204020203" pitchFamily="34" charset="0"/>
                  <a:cs typeface="Segoe UI Black" panose="020B0A02040204020203" pitchFamily="34" charset="0"/>
                </a:rPr>
                <a:t>Deploy</a:t>
              </a:r>
            </a:p>
          </p:txBody>
        </p:sp>
        <p:cxnSp>
          <p:nvCxnSpPr>
            <p:cNvPr id="56" name="Straight Connector 55"/>
            <p:cNvCxnSpPr/>
            <p:nvPr/>
          </p:nvCxnSpPr>
          <p:spPr>
            <a:xfrm>
              <a:off x="11515344" y="6604155"/>
              <a:ext cx="0" cy="256032"/>
            </a:xfrm>
            <a:prstGeom prst="line">
              <a:avLst/>
            </a:prstGeom>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10838688" y="6605516"/>
              <a:ext cx="0" cy="256032"/>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871198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wipe(down)">
                                      <p:cBhvr>
                                        <p:cTn id="12" dur="500"/>
                                        <p:tgtEl>
                                          <p:spTgt spid="27"/>
                                        </p:tgtEl>
                                      </p:cBhvr>
                                    </p:animEffect>
                                  </p:childTnLst>
                                </p:cTn>
                              </p:par>
                            </p:childTnLst>
                          </p:cTn>
                        </p:par>
                        <p:par>
                          <p:cTn id="13" fill="hold">
                            <p:stCondLst>
                              <p:cond delay="500"/>
                            </p:stCondLst>
                            <p:childTnLst>
                              <p:par>
                                <p:cTn id="14" presetID="1" presetClass="entr" presetSubtype="0" fill="hold" grpId="0" nodeType="afterEffect">
                                  <p:stCondLst>
                                    <p:cond delay="0"/>
                                  </p:stCondLst>
                                  <p:childTnLst>
                                    <p:set>
                                      <p:cBhvr>
                                        <p:cTn id="15" dur="1" fill="hold">
                                          <p:stCondLst>
                                            <p:cond delay="0"/>
                                          </p:stCondLst>
                                        </p:cTn>
                                        <p:tgtEl>
                                          <p:spTgt spid="36"/>
                                        </p:tgtEl>
                                        <p:attrNameLst>
                                          <p:attrName>style.visibility</p:attrName>
                                        </p:attrNameLst>
                                      </p:cBhvr>
                                      <p:to>
                                        <p:strVal val="visible"/>
                                      </p:to>
                                    </p:set>
                                  </p:childTnLst>
                                </p:cTn>
                              </p:par>
                              <p:par>
                                <p:cTn id="16" presetID="1" presetClass="entr" presetSubtype="0" fill="hold" nodeType="withEffect">
                                  <p:stCondLst>
                                    <p:cond delay="0"/>
                                  </p:stCondLst>
                                  <p:childTnLst>
                                    <p:set>
                                      <p:cBhvr>
                                        <p:cTn id="17"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6" grpId="0"/>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a:xfrm>
            <a:off x="0" y="0"/>
            <a:ext cx="12192000" cy="15709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0" tIns="457200" rIns="457200" rtlCol="0" anchor="t"/>
          <a:lstStyle/>
          <a:p>
            <a:r>
              <a:rPr lang="en-US" sz="4400"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Provide seamless authentication experiences</a:t>
            </a:r>
            <a:endParaRPr lang="en-US" sz="4400" dirty="0">
              <a:solidFill>
                <a:srgbClr val="282828"/>
              </a:solidFill>
              <a:latin typeface="Segoe UI Light" panose="020B0502040204020203" pitchFamily="34" charset="0"/>
              <a:cs typeface="Segoe UI Light" panose="020B0502040204020203" pitchFamily="34" charset="0"/>
            </a:endParaRPr>
          </a:p>
          <a:p>
            <a:endParaRPr lang="en-US" sz="4400" dirty="0">
              <a:solidFill>
                <a:srgbClr val="282828"/>
              </a:solidFill>
              <a:latin typeface="Segoe UI Light" panose="020B0502040204020203" pitchFamily="34" charset="0"/>
              <a:cs typeface="Segoe UI Light" panose="020B0502040204020203" pitchFamily="34" charset="0"/>
            </a:endParaRPr>
          </a:p>
        </p:txBody>
      </p:sp>
      <p:sp>
        <p:nvSpPr>
          <p:cNvPr id="46" name="Rectangle 45"/>
          <p:cNvSpPr/>
          <p:nvPr/>
        </p:nvSpPr>
        <p:spPr bwMode="auto">
          <a:xfrm>
            <a:off x="8758772" y="1485140"/>
            <a:ext cx="3047811" cy="4945380"/>
          </a:xfrm>
          <a:prstGeom prst="rect">
            <a:avLst/>
          </a:prstGeom>
          <a:solidFill>
            <a:srgbClr val="EDC30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dirty="0">
              <a:gradFill>
                <a:gsLst>
                  <a:gs pos="0">
                    <a:srgbClr val="FFFFFF"/>
                  </a:gs>
                  <a:gs pos="100000">
                    <a:srgbClr val="FFFFFF"/>
                  </a:gs>
                </a:gsLst>
                <a:lin ang="5400000" scaled="0"/>
              </a:gradFill>
            </a:endParaRPr>
          </a:p>
        </p:txBody>
      </p:sp>
      <p:sp>
        <p:nvSpPr>
          <p:cNvPr id="47" name="TextBox 46"/>
          <p:cNvSpPr txBox="1"/>
          <p:nvPr/>
        </p:nvSpPr>
        <p:spPr>
          <a:xfrm>
            <a:off x="8758771" y="1473672"/>
            <a:ext cx="3047812" cy="622056"/>
          </a:xfrm>
          <a:prstGeom prst="rect">
            <a:avLst/>
          </a:prstGeom>
          <a:solidFill>
            <a:srgbClr val="EDC30D"/>
          </a:solidFill>
        </p:spPr>
        <p:txBody>
          <a:bodyPr wrap="square" lIns="179285" tIns="143428" rIns="179285" bIns="143428" rtlCol="0">
            <a:spAutoFit/>
          </a:bodyPr>
          <a:lstStyle/>
          <a:p>
            <a:pPr defTabSz="896386">
              <a:lnSpc>
                <a:spcPct val="90000"/>
              </a:lnSpc>
              <a:spcAft>
                <a:spcPts val="588"/>
              </a:spcAft>
            </a:pPr>
            <a:r>
              <a:rPr lang="en-US" sz="2400" kern="0" dirty="0">
                <a:solidFill>
                  <a:srgbClr val="282828"/>
                </a:solidFill>
                <a:latin typeface="+mj-lt"/>
                <a:ea typeface="Segoe UI Black" panose="020B0A02040204020203" pitchFamily="34" charset="0"/>
                <a:cs typeface="Segoe UI Black" panose="020B0A02040204020203" pitchFamily="34" charset="0"/>
              </a:rPr>
              <a:t>Power BI</a:t>
            </a:r>
          </a:p>
        </p:txBody>
      </p:sp>
      <p:sp>
        <p:nvSpPr>
          <p:cNvPr id="5" name="Rectangle 4"/>
          <p:cNvSpPr/>
          <p:nvPr/>
        </p:nvSpPr>
        <p:spPr bwMode="auto">
          <a:xfrm>
            <a:off x="988035" y="2268207"/>
            <a:ext cx="1972511"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defTabSz="914102" fontAlgn="base">
              <a:spcBef>
                <a:spcPct val="0"/>
              </a:spcBef>
              <a:spcAft>
                <a:spcPct val="0"/>
              </a:spcAft>
            </a:pPr>
            <a:r>
              <a:rPr lang="en-US" sz="1961" kern="0" dirty="0">
                <a:solidFill>
                  <a:srgbClr val="F2F2F2"/>
                </a:solidFill>
                <a:latin typeface="Segoe UI Light" panose="020B0502040204020203" pitchFamily="34" charset="0"/>
                <a:cs typeface="Segoe UI Light" panose="020B0502040204020203" pitchFamily="34" charset="0"/>
              </a:rPr>
              <a:t>Users</a:t>
            </a:r>
          </a:p>
        </p:txBody>
      </p:sp>
      <p:sp>
        <p:nvSpPr>
          <p:cNvPr id="7" name="Rectangle 6"/>
          <p:cNvSpPr/>
          <p:nvPr/>
        </p:nvSpPr>
        <p:spPr bwMode="auto">
          <a:xfrm>
            <a:off x="985104" y="4214083"/>
            <a:ext cx="1946970"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defTabSz="914102" fontAlgn="base">
              <a:spcBef>
                <a:spcPct val="0"/>
              </a:spcBef>
              <a:spcAft>
                <a:spcPct val="0"/>
              </a:spcAft>
            </a:pPr>
            <a:r>
              <a:rPr lang="en-US" sz="1961" kern="0" dirty="0">
                <a:solidFill>
                  <a:srgbClr val="F2F2F2"/>
                </a:solidFill>
                <a:latin typeface="Segoe UI Light" panose="020B0502040204020203" pitchFamily="34" charset="0"/>
                <a:cs typeface="Segoe UI Light" panose="020B0502040204020203" pitchFamily="34" charset="0"/>
              </a:rPr>
              <a:t>Permissions</a:t>
            </a:r>
          </a:p>
        </p:txBody>
      </p:sp>
      <p:sp>
        <p:nvSpPr>
          <p:cNvPr id="8" name="Rectangle 7"/>
          <p:cNvSpPr/>
          <p:nvPr/>
        </p:nvSpPr>
        <p:spPr bwMode="auto">
          <a:xfrm>
            <a:off x="988036" y="3246668"/>
            <a:ext cx="1946970"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defTabSz="914102" fontAlgn="base">
              <a:spcBef>
                <a:spcPct val="0"/>
              </a:spcBef>
              <a:spcAft>
                <a:spcPct val="0"/>
              </a:spcAft>
            </a:pPr>
            <a:r>
              <a:rPr lang="en-US" sz="1961" kern="0" dirty="0">
                <a:solidFill>
                  <a:srgbClr val="F2F2F2"/>
                </a:solidFill>
                <a:latin typeface="Segoe UI Light" panose="020B0502040204020203" pitchFamily="34" charset="0"/>
                <a:cs typeface="Segoe UI Light" panose="020B0502040204020203" pitchFamily="34" charset="0"/>
              </a:rPr>
              <a:t>Auth. providers</a:t>
            </a:r>
          </a:p>
        </p:txBody>
      </p:sp>
      <p:sp>
        <p:nvSpPr>
          <p:cNvPr id="9" name="Rectangle 8"/>
          <p:cNvSpPr/>
          <p:nvPr/>
        </p:nvSpPr>
        <p:spPr bwMode="auto">
          <a:xfrm>
            <a:off x="985103" y="5282314"/>
            <a:ext cx="1946971"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defTabSz="914102" fontAlgn="base">
              <a:spcBef>
                <a:spcPct val="0"/>
              </a:spcBef>
              <a:spcAft>
                <a:spcPct val="0"/>
              </a:spcAft>
            </a:pPr>
            <a:r>
              <a:rPr lang="en-US" sz="1961" kern="0" dirty="0">
                <a:solidFill>
                  <a:srgbClr val="F2F2F2"/>
                </a:solidFill>
                <a:latin typeface="Segoe UI Light" panose="020B0502040204020203" pitchFamily="34" charset="0"/>
                <a:cs typeface="Segoe UI Light" panose="020B0502040204020203" pitchFamily="34" charset="0"/>
              </a:rPr>
              <a:t>API keys</a:t>
            </a:r>
          </a:p>
        </p:txBody>
      </p:sp>
      <p:sp>
        <p:nvSpPr>
          <p:cNvPr id="28" name="Left Arrow 27"/>
          <p:cNvSpPr/>
          <p:nvPr/>
        </p:nvSpPr>
        <p:spPr>
          <a:xfrm>
            <a:off x="5537200" y="3464943"/>
            <a:ext cx="3086100" cy="370224"/>
          </a:xfrm>
          <a:prstGeom prst="leftArrow">
            <a:avLst/>
          </a:prstGeom>
          <a:solidFill>
            <a:srgbClr val="EDC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Freeform 22"/>
          <p:cNvSpPr/>
          <p:nvPr/>
        </p:nvSpPr>
        <p:spPr>
          <a:xfrm>
            <a:off x="3719171" y="2266417"/>
            <a:ext cx="707957" cy="808168"/>
          </a:xfrm>
          <a:custGeom>
            <a:avLst/>
            <a:gdLst>
              <a:gd name="connsiteX0" fmla="*/ 599650 w 1199300"/>
              <a:gd name="connsiteY0" fmla="*/ 88729 h 1369060"/>
              <a:gd name="connsiteX1" fmla="*/ 270362 w 1199300"/>
              <a:gd name="connsiteY1" fmla="*/ 418017 h 1369060"/>
              <a:gd name="connsiteX2" fmla="*/ 599650 w 1199300"/>
              <a:gd name="connsiteY2" fmla="*/ 747305 h 1369060"/>
              <a:gd name="connsiteX3" fmla="*/ 928938 w 1199300"/>
              <a:gd name="connsiteY3" fmla="*/ 418017 h 1369060"/>
              <a:gd name="connsiteX4" fmla="*/ 599650 w 1199300"/>
              <a:gd name="connsiteY4" fmla="*/ 88729 h 1369060"/>
              <a:gd name="connsiteX5" fmla="*/ 599651 w 1199300"/>
              <a:gd name="connsiteY5" fmla="*/ 0 h 1369060"/>
              <a:gd name="connsiteX6" fmla="*/ 1017668 w 1199300"/>
              <a:gd name="connsiteY6" fmla="*/ 418017 h 1369060"/>
              <a:gd name="connsiteX7" fmla="*/ 833368 w 1199300"/>
              <a:gd name="connsiteY7" fmla="*/ 764643 h 1369060"/>
              <a:gd name="connsiteX8" fmla="*/ 772437 w 1199300"/>
              <a:gd name="connsiteY8" fmla="*/ 797716 h 1369060"/>
              <a:gd name="connsiteX9" fmla="*/ 833061 w 1199300"/>
              <a:gd name="connsiteY9" fmla="*/ 816535 h 1369060"/>
              <a:gd name="connsiteX10" fmla="*/ 1199300 w 1199300"/>
              <a:gd name="connsiteY10" fmla="*/ 1369060 h 1369060"/>
              <a:gd name="connsiteX11" fmla="*/ 1092443 w 1199300"/>
              <a:gd name="connsiteY11" fmla="*/ 1369060 h 1369060"/>
              <a:gd name="connsiteX12" fmla="*/ 599650 w 1199300"/>
              <a:gd name="connsiteY12" fmla="*/ 876268 h 1369060"/>
              <a:gd name="connsiteX13" fmla="*/ 106857 w 1199300"/>
              <a:gd name="connsiteY13" fmla="*/ 1369060 h 1369060"/>
              <a:gd name="connsiteX14" fmla="*/ 0 w 1199300"/>
              <a:gd name="connsiteY14" fmla="*/ 1369060 h 1369060"/>
              <a:gd name="connsiteX15" fmla="*/ 366239 w 1199300"/>
              <a:gd name="connsiteY15" fmla="*/ 816535 h 1369060"/>
              <a:gd name="connsiteX16" fmla="*/ 426865 w 1199300"/>
              <a:gd name="connsiteY16" fmla="*/ 797716 h 1369060"/>
              <a:gd name="connsiteX17" fmla="*/ 365934 w 1199300"/>
              <a:gd name="connsiteY17" fmla="*/ 764643 h 1369060"/>
              <a:gd name="connsiteX18" fmla="*/ 181634 w 1199300"/>
              <a:gd name="connsiteY18" fmla="*/ 418017 h 1369060"/>
              <a:gd name="connsiteX19" fmla="*/ 599651 w 1199300"/>
              <a:gd name="connsiteY19" fmla="*/ 0 h 136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9300" h="1369060">
                <a:moveTo>
                  <a:pt x="599650" y="88729"/>
                </a:moveTo>
                <a:cubicBezTo>
                  <a:pt x="417789" y="88729"/>
                  <a:pt x="270362" y="236156"/>
                  <a:pt x="270362" y="418017"/>
                </a:cubicBezTo>
                <a:cubicBezTo>
                  <a:pt x="270362" y="599878"/>
                  <a:pt x="417789" y="747305"/>
                  <a:pt x="599650" y="747305"/>
                </a:cubicBezTo>
                <a:cubicBezTo>
                  <a:pt x="781511" y="747305"/>
                  <a:pt x="928938" y="599878"/>
                  <a:pt x="928938" y="418017"/>
                </a:cubicBezTo>
                <a:cubicBezTo>
                  <a:pt x="928938" y="236156"/>
                  <a:pt x="781511" y="88729"/>
                  <a:pt x="599650" y="88729"/>
                </a:cubicBezTo>
                <a:close/>
                <a:moveTo>
                  <a:pt x="599651" y="0"/>
                </a:moveTo>
                <a:cubicBezTo>
                  <a:pt x="830515" y="0"/>
                  <a:pt x="1017668" y="187153"/>
                  <a:pt x="1017668" y="418017"/>
                </a:cubicBezTo>
                <a:cubicBezTo>
                  <a:pt x="1017668" y="562307"/>
                  <a:pt x="944561" y="689522"/>
                  <a:pt x="833368" y="764643"/>
                </a:cubicBezTo>
                <a:lnTo>
                  <a:pt x="772437" y="797716"/>
                </a:lnTo>
                <a:lnTo>
                  <a:pt x="833061" y="816535"/>
                </a:lnTo>
                <a:cubicBezTo>
                  <a:pt x="1048285" y="907566"/>
                  <a:pt x="1199300" y="1120678"/>
                  <a:pt x="1199300" y="1369060"/>
                </a:cubicBezTo>
                <a:lnTo>
                  <a:pt x="1092443" y="1369060"/>
                </a:lnTo>
                <a:cubicBezTo>
                  <a:pt x="1092443" y="1096898"/>
                  <a:pt x="871812" y="876268"/>
                  <a:pt x="599650" y="876268"/>
                </a:cubicBezTo>
                <a:cubicBezTo>
                  <a:pt x="327488" y="876268"/>
                  <a:pt x="106857" y="1096898"/>
                  <a:pt x="106857" y="1369060"/>
                </a:cubicBezTo>
                <a:lnTo>
                  <a:pt x="0" y="1369060"/>
                </a:lnTo>
                <a:cubicBezTo>
                  <a:pt x="0" y="1120678"/>
                  <a:pt x="151016" y="907566"/>
                  <a:pt x="366239" y="816535"/>
                </a:cubicBezTo>
                <a:lnTo>
                  <a:pt x="426865" y="797716"/>
                </a:lnTo>
                <a:lnTo>
                  <a:pt x="365934" y="764643"/>
                </a:lnTo>
                <a:cubicBezTo>
                  <a:pt x="254741" y="689522"/>
                  <a:pt x="181634" y="562307"/>
                  <a:pt x="181634" y="418017"/>
                </a:cubicBezTo>
                <a:cubicBezTo>
                  <a:pt x="181634" y="187153"/>
                  <a:pt x="368787" y="0"/>
                  <a:pt x="599651" y="0"/>
                </a:cubicBezTo>
                <a:close/>
              </a:path>
            </a:pathLst>
          </a:cu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sp>
        <p:nvSpPr>
          <p:cNvPr id="42" name="Rectangle 41"/>
          <p:cNvSpPr/>
          <p:nvPr/>
        </p:nvSpPr>
        <p:spPr bwMode="auto">
          <a:xfrm>
            <a:off x="9622971" y="5282312"/>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defTabSz="914102" fontAlgn="base">
              <a:spcBef>
                <a:spcPct val="0"/>
              </a:spcBef>
              <a:spcAft>
                <a:spcPct val="0"/>
              </a:spcAft>
            </a:pPr>
            <a:r>
              <a:rPr lang="en-US" sz="1961" kern="0" dirty="0">
                <a:solidFill>
                  <a:srgbClr val="F2F2F2"/>
                </a:solidFill>
                <a:latin typeface="Segoe UI Light" panose="020B0502040204020203" pitchFamily="34" charset="0"/>
                <a:cs typeface="Segoe UI Light" panose="020B0502040204020203" pitchFamily="34" charset="0"/>
              </a:rPr>
              <a:t>API keys</a:t>
            </a:r>
          </a:p>
        </p:txBody>
      </p:sp>
      <p:sp>
        <p:nvSpPr>
          <p:cNvPr id="43" name="Rectangle 42"/>
          <p:cNvSpPr/>
          <p:nvPr/>
        </p:nvSpPr>
        <p:spPr bwMode="auto">
          <a:xfrm>
            <a:off x="9622971" y="4225525"/>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defTabSz="914102" fontAlgn="base">
              <a:spcBef>
                <a:spcPct val="0"/>
              </a:spcBef>
              <a:spcAft>
                <a:spcPct val="0"/>
              </a:spcAft>
            </a:pPr>
            <a:r>
              <a:rPr lang="en-US" sz="1961" kern="0" dirty="0">
                <a:solidFill>
                  <a:srgbClr val="F2F2F2"/>
                </a:solidFill>
                <a:latin typeface="Segoe UI Light" panose="020B0502040204020203" pitchFamily="34" charset="0"/>
                <a:cs typeface="Segoe UI Light" panose="020B0502040204020203" pitchFamily="34" charset="0"/>
              </a:rPr>
              <a:t>Report 2</a:t>
            </a:r>
          </a:p>
        </p:txBody>
      </p:sp>
      <p:sp>
        <p:nvSpPr>
          <p:cNvPr id="44" name="Rectangle 43"/>
          <p:cNvSpPr/>
          <p:nvPr/>
        </p:nvSpPr>
        <p:spPr bwMode="auto">
          <a:xfrm>
            <a:off x="9305967" y="2267811"/>
            <a:ext cx="1997789"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defTabSz="914102" fontAlgn="base">
              <a:spcBef>
                <a:spcPct val="0"/>
              </a:spcBef>
              <a:spcAft>
                <a:spcPct val="0"/>
              </a:spcAft>
            </a:pPr>
            <a:r>
              <a:rPr lang="en-US" sz="1961" kern="0" dirty="0">
                <a:solidFill>
                  <a:srgbClr val="F2F2F2"/>
                </a:solidFill>
                <a:latin typeface="Segoe UI Light" panose="020B0502040204020203" pitchFamily="34" charset="0"/>
                <a:cs typeface="Segoe UI Light" panose="020B0502040204020203" pitchFamily="34" charset="0"/>
              </a:rPr>
              <a:t>Workspace</a:t>
            </a:r>
          </a:p>
        </p:txBody>
      </p:sp>
      <p:sp>
        <p:nvSpPr>
          <p:cNvPr id="45" name="Rectangle 44"/>
          <p:cNvSpPr/>
          <p:nvPr/>
        </p:nvSpPr>
        <p:spPr bwMode="auto">
          <a:xfrm>
            <a:off x="9622971" y="3246668"/>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defTabSz="914102" fontAlgn="base">
              <a:spcBef>
                <a:spcPct val="0"/>
              </a:spcBef>
              <a:spcAft>
                <a:spcPct val="0"/>
              </a:spcAft>
            </a:pPr>
            <a:r>
              <a:rPr lang="en-US" sz="1961" kern="0" dirty="0">
                <a:solidFill>
                  <a:srgbClr val="F2F2F2"/>
                </a:solidFill>
                <a:latin typeface="Segoe UI Light" panose="020B0502040204020203" pitchFamily="34" charset="0"/>
                <a:cs typeface="Segoe UI Light" panose="020B0502040204020203" pitchFamily="34" charset="0"/>
              </a:rPr>
              <a:t>Report 1</a:t>
            </a:r>
          </a:p>
        </p:txBody>
      </p:sp>
      <p:sp>
        <p:nvSpPr>
          <p:cNvPr id="29" name="Rectangle 28"/>
          <p:cNvSpPr/>
          <p:nvPr/>
        </p:nvSpPr>
        <p:spPr bwMode="auto">
          <a:xfrm>
            <a:off x="3702928" y="3246668"/>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defTabSz="914102" fontAlgn="base">
              <a:spcBef>
                <a:spcPct val="0"/>
              </a:spcBef>
              <a:spcAft>
                <a:spcPct val="0"/>
              </a:spcAft>
            </a:pPr>
            <a:r>
              <a:rPr lang="en-US" sz="1961" kern="0" dirty="0">
                <a:solidFill>
                  <a:srgbClr val="F2F2F2"/>
                </a:solidFill>
                <a:latin typeface="Segoe UI Light" panose="020B0502040204020203" pitchFamily="34" charset="0"/>
                <a:cs typeface="Segoe UI Light" panose="020B0502040204020203" pitchFamily="34" charset="0"/>
              </a:rPr>
              <a:t>Report 1</a:t>
            </a:r>
          </a:p>
        </p:txBody>
      </p:sp>
      <p:sp>
        <p:nvSpPr>
          <p:cNvPr id="32" name="TextBox 31"/>
          <p:cNvSpPr txBox="1"/>
          <p:nvPr/>
        </p:nvSpPr>
        <p:spPr>
          <a:xfrm>
            <a:off x="422112" y="1485140"/>
            <a:ext cx="2509962" cy="622056"/>
          </a:xfrm>
          <a:prstGeom prst="rect">
            <a:avLst/>
          </a:prstGeom>
          <a:noFill/>
        </p:spPr>
        <p:txBody>
          <a:bodyPr wrap="square" lIns="179285" tIns="143428" rIns="179285" bIns="143428" rtlCol="0">
            <a:spAutoFit/>
          </a:bodyPr>
          <a:lstStyle/>
          <a:p>
            <a:pPr defTabSz="896386">
              <a:lnSpc>
                <a:spcPct val="90000"/>
              </a:lnSpc>
              <a:spcAft>
                <a:spcPts val="588"/>
              </a:spcAft>
            </a:pPr>
            <a:r>
              <a:rPr lang="en-US" sz="2400" kern="0" dirty="0">
                <a:solidFill>
                  <a:srgbClr val="282828"/>
                </a:solidFill>
                <a:latin typeface="+mj-lt"/>
                <a:ea typeface="Segoe UI Black" panose="020B0A02040204020203" pitchFamily="34" charset="0"/>
                <a:cs typeface="Segoe UI Black" panose="020B0A02040204020203" pitchFamily="34" charset="0"/>
              </a:rPr>
              <a:t>Application</a:t>
            </a:r>
          </a:p>
        </p:txBody>
      </p:sp>
      <p:sp>
        <p:nvSpPr>
          <p:cNvPr id="18" name="Rectangle 17"/>
          <p:cNvSpPr/>
          <p:nvPr/>
        </p:nvSpPr>
        <p:spPr bwMode="auto">
          <a:xfrm>
            <a:off x="422113" y="1485140"/>
            <a:ext cx="3047811" cy="4945380"/>
          </a:xfrm>
          <a:prstGeom prst="rect">
            <a:avLst/>
          </a:prstGeom>
          <a:noFill/>
          <a:ln w="12700">
            <a:solidFill>
              <a:srgbClr val="1E1E1E">
                <a:alpha val="50000"/>
              </a:srgb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dirty="0">
              <a:gradFill>
                <a:gsLst>
                  <a:gs pos="0">
                    <a:srgbClr val="FFFFFF"/>
                  </a:gs>
                  <a:gs pos="100000">
                    <a:srgbClr val="FFFFFF"/>
                  </a:gs>
                </a:gsLst>
                <a:lin ang="5400000" scaled="0"/>
              </a:gradFill>
            </a:endParaRPr>
          </a:p>
        </p:txBody>
      </p:sp>
      <p:grpSp>
        <p:nvGrpSpPr>
          <p:cNvPr id="27" name="Group 26"/>
          <p:cNvGrpSpPr/>
          <p:nvPr/>
        </p:nvGrpSpPr>
        <p:grpSpPr>
          <a:xfrm>
            <a:off x="0" y="6600607"/>
            <a:ext cx="2029968" cy="257393"/>
            <a:chOff x="10162032" y="6604155"/>
            <a:chExt cx="2029968" cy="257393"/>
          </a:xfrm>
        </p:grpSpPr>
        <p:sp>
          <p:nvSpPr>
            <p:cNvPr id="30" name="Rectangle 29"/>
            <p:cNvSpPr/>
            <p:nvPr/>
          </p:nvSpPr>
          <p:spPr>
            <a:xfrm>
              <a:off x="10838688" y="6605516"/>
              <a:ext cx="676656" cy="251512"/>
            </a:xfrm>
            <a:prstGeom prst="rect">
              <a:avLst/>
            </a:prstGeom>
            <a:solidFill>
              <a:srgbClr val="EDC30D"/>
            </a:solidFill>
            <a:ln w="6350">
              <a:solidFill>
                <a:srgbClr val="EDC30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US" sz="1000" dirty="0">
                  <a:solidFill>
                    <a:srgbClr val="282828"/>
                  </a:solidFill>
                  <a:latin typeface="Segoe UI Black" panose="020B0A02040204020203" pitchFamily="34" charset="0"/>
                  <a:ea typeface="Segoe UI Black" panose="020B0A02040204020203" pitchFamily="34" charset="0"/>
                  <a:cs typeface="Segoe UI Black" panose="020B0A02040204020203" pitchFamily="34" charset="0"/>
                </a:rPr>
                <a:t>Embed</a:t>
              </a:r>
            </a:p>
          </p:txBody>
        </p:sp>
        <p:sp>
          <p:nvSpPr>
            <p:cNvPr id="31" name="Rectangle 30"/>
            <p:cNvSpPr/>
            <p:nvPr/>
          </p:nvSpPr>
          <p:spPr>
            <a:xfrm>
              <a:off x="10162032" y="6605516"/>
              <a:ext cx="676656" cy="251512"/>
            </a:xfrm>
            <a:prstGeom prst="rect">
              <a:avLst/>
            </a:prstGeom>
            <a:solidFill>
              <a:srgbClr val="282828"/>
            </a:solidFill>
            <a:ln w="6350">
              <a:solidFill>
                <a:srgbClr val="28282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US" sz="1000" dirty="0">
                  <a:solidFill>
                    <a:srgbClr val="EDC30D"/>
                  </a:solidFill>
                  <a:latin typeface="Segoe UI Black" panose="020B0A02040204020203" pitchFamily="34" charset="0"/>
                  <a:ea typeface="Segoe UI Black" panose="020B0A02040204020203" pitchFamily="34" charset="0"/>
                  <a:cs typeface="Segoe UI Black" panose="020B0A02040204020203" pitchFamily="34" charset="0"/>
                </a:rPr>
                <a:t>Create</a:t>
              </a:r>
            </a:p>
          </p:txBody>
        </p:sp>
        <p:sp>
          <p:nvSpPr>
            <p:cNvPr id="33" name="Rectangle 32"/>
            <p:cNvSpPr/>
            <p:nvPr/>
          </p:nvSpPr>
          <p:spPr>
            <a:xfrm>
              <a:off x="11515344" y="6605516"/>
              <a:ext cx="676656" cy="251512"/>
            </a:xfrm>
            <a:prstGeom prst="rect">
              <a:avLst/>
            </a:prstGeom>
            <a:solidFill>
              <a:srgbClr val="282828"/>
            </a:solidFill>
            <a:ln w="6350">
              <a:solidFill>
                <a:srgbClr val="28282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US" sz="1000" dirty="0">
                  <a:solidFill>
                    <a:srgbClr val="EDC30D"/>
                  </a:solidFill>
                  <a:latin typeface="Segoe UI Black" panose="020B0A02040204020203" pitchFamily="34" charset="0"/>
                  <a:ea typeface="Segoe UI Black" panose="020B0A02040204020203" pitchFamily="34" charset="0"/>
                  <a:cs typeface="Segoe UI Black" panose="020B0A02040204020203" pitchFamily="34" charset="0"/>
                </a:rPr>
                <a:t>Deploy</a:t>
              </a:r>
            </a:p>
          </p:txBody>
        </p:sp>
        <p:cxnSp>
          <p:nvCxnSpPr>
            <p:cNvPr id="34" name="Straight Connector 33"/>
            <p:cNvCxnSpPr/>
            <p:nvPr/>
          </p:nvCxnSpPr>
          <p:spPr>
            <a:xfrm>
              <a:off x="11515344" y="6604155"/>
              <a:ext cx="0" cy="256032"/>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10838688" y="6605516"/>
              <a:ext cx="0" cy="256032"/>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084416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wipe(right)">
                                      <p:cBhvr>
                                        <p:cTn id="7" dur="500"/>
                                        <p:tgtEl>
                                          <p:spTgt spid="2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9"/>
                                        </p:tgtEl>
                                        <p:attrNameLst>
                                          <p:attrName>style.visibility</p:attrName>
                                        </p:attrNameLst>
                                      </p:cBhvr>
                                      <p:to>
                                        <p:strVal val="visible"/>
                                      </p:to>
                                    </p:set>
                                    <p:animEffect transition="in" filter="fade">
                                      <p:cBhvr>
                                        <p:cTn id="11"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7387313" y="1091961"/>
            <a:ext cx="1289135" cy="430887"/>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282828"/>
                </a:solidFill>
                <a:effectLst/>
                <a:uLnTx/>
                <a:uFillTx/>
              </a:rPr>
              <a:t>Microsoft Azure </a:t>
            </a:r>
            <a:br>
              <a:rPr kumimoji="0" lang="en-US" sz="1100" b="1" i="0" u="none" strike="noStrike" kern="0" cap="none" spc="0" normalizeH="0" baseline="0" noProof="0" dirty="0">
                <a:ln>
                  <a:noFill/>
                </a:ln>
                <a:solidFill>
                  <a:srgbClr val="282828"/>
                </a:solidFill>
                <a:effectLst/>
                <a:uLnTx/>
                <a:uFillTx/>
              </a:rPr>
            </a:br>
            <a:r>
              <a:rPr kumimoji="0" lang="en-US" sz="1100" b="1" i="0" u="none" strike="noStrike" kern="0" cap="none" spc="0" normalizeH="0" baseline="0" noProof="0" dirty="0">
                <a:ln>
                  <a:noFill/>
                </a:ln>
                <a:solidFill>
                  <a:srgbClr val="282828"/>
                </a:solidFill>
                <a:effectLst/>
                <a:uLnTx/>
                <a:uFillTx/>
              </a:rPr>
              <a:t>subscription</a:t>
            </a:r>
          </a:p>
        </p:txBody>
      </p:sp>
      <p:sp>
        <p:nvSpPr>
          <p:cNvPr id="31" name="TextBox 30"/>
          <p:cNvSpPr txBox="1"/>
          <p:nvPr/>
        </p:nvSpPr>
        <p:spPr>
          <a:xfrm>
            <a:off x="8700597" y="5191894"/>
            <a:ext cx="641522" cy="261610"/>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kumimoji="0" sz="1100" b="0" i="0" u="none" strike="noStrike" kern="0" cap="none" spc="0" normalizeH="0" baseline="0">
                <a:ln>
                  <a:noFill/>
                </a:ln>
                <a:solidFill>
                  <a:schemeClr val="tx2"/>
                </a:solidFill>
                <a:effectLst/>
                <a:uLnTx/>
                <a:uFillTx/>
              </a:defRPr>
            </a:lvl1pPr>
          </a:lstStyle>
          <a:p>
            <a:r>
              <a:rPr lang="en-US" dirty="0">
                <a:solidFill>
                  <a:srgbClr val="282828"/>
                </a:solidFill>
                <a:latin typeface="Segoe UI Semibold" panose="020B0702040204020203" pitchFamily="34" charset="0"/>
                <a:cs typeface="Segoe UI Semibold" panose="020B0702040204020203" pitchFamily="34" charset="0"/>
              </a:rPr>
              <a:t>Embed</a:t>
            </a:r>
          </a:p>
        </p:txBody>
      </p:sp>
      <p:sp>
        <p:nvSpPr>
          <p:cNvPr id="26" name="TextBox 25"/>
          <p:cNvSpPr txBox="1"/>
          <p:nvPr/>
        </p:nvSpPr>
        <p:spPr>
          <a:xfrm>
            <a:off x="11134990" y="5891075"/>
            <a:ext cx="610745" cy="169277"/>
          </a:xfrm>
          <a:prstGeom prst="rect">
            <a:avLst/>
          </a:prstGeom>
          <a:noFill/>
        </p:spPr>
        <p:txBody>
          <a:bodyPr wrap="non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End users</a:t>
            </a:r>
          </a:p>
        </p:txBody>
      </p:sp>
      <p:sp>
        <p:nvSpPr>
          <p:cNvPr id="33" name="TextBox 32"/>
          <p:cNvSpPr txBox="1"/>
          <p:nvPr/>
        </p:nvSpPr>
        <p:spPr>
          <a:xfrm>
            <a:off x="7573261" y="4733354"/>
            <a:ext cx="917239"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282828"/>
                </a:solidFill>
                <a:effectLst/>
                <a:uLnTx/>
                <a:uFillTx/>
              </a:rPr>
              <a:t>Workspace</a:t>
            </a:r>
          </a:p>
        </p:txBody>
      </p:sp>
      <p:sp>
        <p:nvSpPr>
          <p:cNvPr id="14" name="TextBox 13"/>
          <p:cNvSpPr txBox="1"/>
          <p:nvPr/>
        </p:nvSpPr>
        <p:spPr>
          <a:xfrm>
            <a:off x="7197203" y="2089728"/>
            <a:ext cx="1669354" cy="2616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282828"/>
                </a:solidFill>
                <a:effectLst/>
                <a:uLnTx/>
                <a:uFillTx/>
              </a:rPr>
              <a:t>Workspace collection</a:t>
            </a:r>
          </a:p>
        </p:txBody>
      </p:sp>
      <p:sp>
        <p:nvSpPr>
          <p:cNvPr id="28" name="TextBox 27"/>
          <p:cNvSpPr txBox="1"/>
          <p:nvPr/>
        </p:nvSpPr>
        <p:spPr>
          <a:xfrm>
            <a:off x="7568611" y="1650469"/>
            <a:ext cx="396262" cy="26161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82828"/>
                </a:solidFill>
                <a:effectLst/>
                <a:uLnTx/>
                <a:uFillTx/>
              </a:rPr>
              <a:t>1,N</a:t>
            </a:r>
          </a:p>
        </p:txBody>
      </p:sp>
      <p:sp>
        <p:nvSpPr>
          <p:cNvPr id="24" name="TextBox 23"/>
          <p:cNvSpPr txBox="1"/>
          <p:nvPr/>
        </p:nvSpPr>
        <p:spPr>
          <a:xfrm>
            <a:off x="5624156" y="1304537"/>
            <a:ext cx="843501" cy="26161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Developer</a:t>
            </a:r>
          </a:p>
        </p:txBody>
      </p:sp>
      <p:grpSp>
        <p:nvGrpSpPr>
          <p:cNvPr id="23" name="Group 22"/>
          <p:cNvGrpSpPr>
            <a:grpSpLocks noChangeAspect="1"/>
          </p:cNvGrpSpPr>
          <p:nvPr/>
        </p:nvGrpSpPr>
        <p:grpSpPr>
          <a:xfrm flipH="1">
            <a:off x="5767330" y="738580"/>
            <a:ext cx="536312" cy="555462"/>
            <a:chOff x="3807371" y="2914650"/>
            <a:chExt cx="637629" cy="660397"/>
          </a:xfrm>
          <a:solidFill>
            <a:srgbClr val="282828"/>
          </a:solidFill>
        </p:grpSpPr>
        <p:sp>
          <p:nvSpPr>
            <p:cNvPr id="27" name="Oval 26"/>
            <p:cNvSpPr/>
            <p:nvPr/>
          </p:nvSpPr>
          <p:spPr>
            <a:xfrm>
              <a:off x="4054475" y="2914650"/>
              <a:ext cx="273050" cy="27305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239" eaLnBrk="1" fontAlgn="auto" latinLnBrk="0" hangingPunct="1">
                <a:lnSpc>
                  <a:spcPct val="100000"/>
                </a:lnSpc>
                <a:spcBef>
                  <a:spcPts val="0"/>
                </a:spcBef>
                <a:spcAft>
                  <a:spcPts val="0"/>
                </a:spcAft>
                <a:buClrTx/>
                <a:buSzTx/>
                <a:buFontTx/>
                <a:buNone/>
                <a:tabLst/>
                <a:defRPr/>
              </a:pPr>
              <a:endParaRPr kumimoji="0" lang="en-IN" sz="1836" b="0" i="0" u="none" strike="noStrike" kern="0" cap="none" spc="0" normalizeH="0" baseline="0" noProof="0">
                <a:ln>
                  <a:noFill/>
                </a:ln>
                <a:solidFill>
                  <a:prstClr val="white"/>
                </a:solidFill>
                <a:effectLst/>
                <a:uLnTx/>
                <a:uFillTx/>
              </a:endParaRPr>
            </a:p>
          </p:txBody>
        </p:sp>
        <p:sp>
          <p:nvSpPr>
            <p:cNvPr id="32" name="Freeform 31"/>
            <p:cNvSpPr/>
            <p:nvPr/>
          </p:nvSpPr>
          <p:spPr>
            <a:xfrm>
              <a:off x="3888313" y="3201605"/>
              <a:ext cx="556687" cy="373442"/>
            </a:xfrm>
            <a:custGeom>
              <a:avLst/>
              <a:gdLst>
                <a:gd name="connsiteX0" fmla="*/ 34925 w 558800"/>
                <a:gd name="connsiteY0" fmla="*/ 266700 h 371475"/>
                <a:gd name="connsiteX1" fmla="*/ 203200 w 558800"/>
                <a:gd name="connsiteY1" fmla="*/ 250825 h 371475"/>
                <a:gd name="connsiteX2" fmla="*/ 260350 w 558800"/>
                <a:gd name="connsiteY2" fmla="*/ 73025 h 371475"/>
                <a:gd name="connsiteX3" fmla="*/ 320675 w 558800"/>
                <a:gd name="connsiteY3" fmla="*/ 15875 h 371475"/>
                <a:gd name="connsiteX4" fmla="*/ 419100 w 558800"/>
                <a:gd name="connsiteY4" fmla="*/ 0 h 371475"/>
                <a:gd name="connsiteX5" fmla="*/ 501650 w 558800"/>
                <a:gd name="connsiteY5" fmla="*/ 44450 h 371475"/>
                <a:gd name="connsiteX6" fmla="*/ 536575 w 558800"/>
                <a:gd name="connsiteY6" fmla="*/ 98425 h 371475"/>
                <a:gd name="connsiteX7" fmla="*/ 558800 w 558800"/>
                <a:gd name="connsiteY7" fmla="*/ 346075 h 371475"/>
                <a:gd name="connsiteX8" fmla="*/ 349250 w 558800"/>
                <a:gd name="connsiteY8" fmla="*/ 355600 h 371475"/>
                <a:gd name="connsiteX9" fmla="*/ 346075 w 558800"/>
                <a:gd name="connsiteY9" fmla="*/ 349250 h 371475"/>
                <a:gd name="connsiteX10" fmla="*/ 415925 w 558800"/>
                <a:gd name="connsiteY10" fmla="*/ 196850 h 371475"/>
                <a:gd name="connsiteX11" fmla="*/ 412750 w 558800"/>
                <a:gd name="connsiteY11" fmla="*/ 184150 h 371475"/>
                <a:gd name="connsiteX12" fmla="*/ 381000 w 558800"/>
                <a:gd name="connsiteY12" fmla="*/ 187325 h 371475"/>
                <a:gd name="connsiteX13" fmla="*/ 301625 w 558800"/>
                <a:gd name="connsiteY13" fmla="*/ 365125 h 371475"/>
                <a:gd name="connsiteX14" fmla="*/ 28575 w 558800"/>
                <a:gd name="connsiteY14" fmla="*/ 371475 h 371475"/>
                <a:gd name="connsiteX15" fmla="*/ 0 w 558800"/>
                <a:gd name="connsiteY15" fmla="*/ 336550 h 371475"/>
                <a:gd name="connsiteX16" fmla="*/ 34925 w 558800"/>
                <a:gd name="connsiteY16" fmla="*/ 266700 h 371475"/>
                <a:gd name="connsiteX0" fmla="*/ 34925 w 558800"/>
                <a:gd name="connsiteY0" fmla="*/ 266700 h 371475"/>
                <a:gd name="connsiteX1" fmla="*/ 203200 w 558800"/>
                <a:gd name="connsiteY1" fmla="*/ 250825 h 371475"/>
                <a:gd name="connsiteX2" fmla="*/ 260350 w 558800"/>
                <a:gd name="connsiteY2" fmla="*/ 73025 h 371475"/>
                <a:gd name="connsiteX3" fmla="*/ 419100 w 558800"/>
                <a:gd name="connsiteY3" fmla="*/ 0 h 371475"/>
                <a:gd name="connsiteX4" fmla="*/ 501650 w 558800"/>
                <a:gd name="connsiteY4" fmla="*/ 44450 h 371475"/>
                <a:gd name="connsiteX5" fmla="*/ 536575 w 558800"/>
                <a:gd name="connsiteY5" fmla="*/ 98425 h 371475"/>
                <a:gd name="connsiteX6" fmla="*/ 558800 w 558800"/>
                <a:gd name="connsiteY6" fmla="*/ 346075 h 371475"/>
                <a:gd name="connsiteX7" fmla="*/ 349250 w 558800"/>
                <a:gd name="connsiteY7" fmla="*/ 355600 h 371475"/>
                <a:gd name="connsiteX8" fmla="*/ 346075 w 558800"/>
                <a:gd name="connsiteY8" fmla="*/ 349250 h 371475"/>
                <a:gd name="connsiteX9" fmla="*/ 415925 w 558800"/>
                <a:gd name="connsiteY9" fmla="*/ 196850 h 371475"/>
                <a:gd name="connsiteX10" fmla="*/ 412750 w 558800"/>
                <a:gd name="connsiteY10" fmla="*/ 184150 h 371475"/>
                <a:gd name="connsiteX11" fmla="*/ 381000 w 558800"/>
                <a:gd name="connsiteY11" fmla="*/ 187325 h 371475"/>
                <a:gd name="connsiteX12" fmla="*/ 301625 w 558800"/>
                <a:gd name="connsiteY12" fmla="*/ 365125 h 371475"/>
                <a:gd name="connsiteX13" fmla="*/ 28575 w 558800"/>
                <a:gd name="connsiteY13" fmla="*/ 371475 h 371475"/>
                <a:gd name="connsiteX14" fmla="*/ 0 w 558800"/>
                <a:gd name="connsiteY14" fmla="*/ 336550 h 371475"/>
                <a:gd name="connsiteX15" fmla="*/ 34925 w 558800"/>
                <a:gd name="connsiteY15" fmla="*/ 266700 h 371475"/>
                <a:gd name="connsiteX0" fmla="*/ 34925 w 558800"/>
                <a:gd name="connsiteY0" fmla="*/ 222250 h 327025"/>
                <a:gd name="connsiteX1" fmla="*/ 203200 w 558800"/>
                <a:gd name="connsiteY1" fmla="*/ 206375 h 327025"/>
                <a:gd name="connsiteX2" fmla="*/ 260350 w 558800"/>
                <a:gd name="connsiteY2" fmla="*/ 28575 h 327025"/>
                <a:gd name="connsiteX3" fmla="*/ 501650 w 558800"/>
                <a:gd name="connsiteY3" fmla="*/ 0 h 327025"/>
                <a:gd name="connsiteX4" fmla="*/ 536575 w 558800"/>
                <a:gd name="connsiteY4" fmla="*/ 53975 h 327025"/>
                <a:gd name="connsiteX5" fmla="*/ 558800 w 558800"/>
                <a:gd name="connsiteY5" fmla="*/ 301625 h 327025"/>
                <a:gd name="connsiteX6" fmla="*/ 349250 w 558800"/>
                <a:gd name="connsiteY6" fmla="*/ 311150 h 327025"/>
                <a:gd name="connsiteX7" fmla="*/ 346075 w 558800"/>
                <a:gd name="connsiteY7" fmla="*/ 304800 h 327025"/>
                <a:gd name="connsiteX8" fmla="*/ 415925 w 558800"/>
                <a:gd name="connsiteY8" fmla="*/ 152400 h 327025"/>
                <a:gd name="connsiteX9" fmla="*/ 412750 w 558800"/>
                <a:gd name="connsiteY9" fmla="*/ 139700 h 327025"/>
                <a:gd name="connsiteX10" fmla="*/ 381000 w 558800"/>
                <a:gd name="connsiteY10" fmla="*/ 142875 h 327025"/>
                <a:gd name="connsiteX11" fmla="*/ 301625 w 558800"/>
                <a:gd name="connsiteY11" fmla="*/ 320675 h 327025"/>
                <a:gd name="connsiteX12" fmla="*/ 28575 w 558800"/>
                <a:gd name="connsiteY12" fmla="*/ 327025 h 327025"/>
                <a:gd name="connsiteX13" fmla="*/ 0 w 558800"/>
                <a:gd name="connsiteY13" fmla="*/ 292100 h 327025"/>
                <a:gd name="connsiteX14" fmla="*/ 34925 w 558800"/>
                <a:gd name="connsiteY14" fmla="*/ 222250 h 327025"/>
                <a:gd name="connsiteX0" fmla="*/ 34925 w 558800"/>
                <a:gd name="connsiteY0" fmla="*/ 246288 h 351063"/>
                <a:gd name="connsiteX1" fmla="*/ 203200 w 558800"/>
                <a:gd name="connsiteY1" fmla="*/ 230413 h 351063"/>
                <a:gd name="connsiteX2" fmla="*/ 260350 w 558800"/>
                <a:gd name="connsiteY2" fmla="*/ 52613 h 351063"/>
                <a:gd name="connsiteX3" fmla="*/ 501650 w 558800"/>
                <a:gd name="connsiteY3" fmla="*/ 24038 h 351063"/>
                <a:gd name="connsiteX4" fmla="*/ 536575 w 558800"/>
                <a:gd name="connsiteY4" fmla="*/ 78013 h 351063"/>
                <a:gd name="connsiteX5" fmla="*/ 558800 w 558800"/>
                <a:gd name="connsiteY5" fmla="*/ 325663 h 351063"/>
                <a:gd name="connsiteX6" fmla="*/ 349250 w 558800"/>
                <a:gd name="connsiteY6" fmla="*/ 335188 h 351063"/>
                <a:gd name="connsiteX7" fmla="*/ 346075 w 558800"/>
                <a:gd name="connsiteY7" fmla="*/ 328838 h 351063"/>
                <a:gd name="connsiteX8" fmla="*/ 415925 w 558800"/>
                <a:gd name="connsiteY8" fmla="*/ 176438 h 351063"/>
                <a:gd name="connsiteX9" fmla="*/ 412750 w 558800"/>
                <a:gd name="connsiteY9" fmla="*/ 163738 h 351063"/>
                <a:gd name="connsiteX10" fmla="*/ 381000 w 558800"/>
                <a:gd name="connsiteY10" fmla="*/ 166913 h 351063"/>
                <a:gd name="connsiteX11" fmla="*/ 301625 w 558800"/>
                <a:gd name="connsiteY11" fmla="*/ 344713 h 351063"/>
                <a:gd name="connsiteX12" fmla="*/ 28575 w 558800"/>
                <a:gd name="connsiteY12" fmla="*/ 351063 h 351063"/>
                <a:gd name="connsiteX13" fmla="*/ 0 w 558800"/>
                <a:gd name="connsiteY13" fmla="*/ 316138 h 351063"/>
                <a:gd name="connsiteX14" fmla="*/ 34925 w 558800"/>
                <a:gd name="connsiteY14" fmla="*/ 246288 h 35106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36575 w 558800"/>
                <a:gd name="connsiteY4" fmla="*/ 95653 h 368703"/>
                <a:gd name="connsiteX5" fmla="*/ 558800 w 558800"/>
                <a:gd name="connsiteY5" fmla="*/ 343303 h 368703"/>
                <a:gd name="connsiteX6" fmla="*/ 349250 w 558800"/>
                <a:gd name="connsiteY6" fmla="*/ 352828 h 368703"/>
                <a:gd name="connsiteX7" fmla="*/ 346075 w 558800"/>
                <a:gd name="connsiteY7" fmla="*/ 346478 h 368703"/>
                <a:gd name="connsiteX8" fmla="*/ 415925 w 558800"/>
                <a:gd name="connsiteY8" fmla="*/ 194078 h 368703"/>
                <a:gd name="connsiteX9" fmla="*/ 412750 w 558800"/>
                <a:gd name="connsiteY9" fmla="*/ 181378 h 368703"/>
                <a:gd name="connsiteX10" fmla="*/ 381000 w 558800"/>
                <a:gd name="connsiteY10" fmla="*/ 184553 h 368703"/>
                <a:gd name="connsiteX11" fmla="*/ 301625 w 558800"/>
                <a:gd name="connsiteY11" fmla="*/ 362353 h 368703"/>
                <a:gd name="connsiteX12" fmla="*/ 28575 w 558800"/>
                <a:gd name="connsiteY12" fmla="*/ 368703 h 368703"/>
                <a:gd name="connsiteX13" fmla="*/ 0 w 558800"/>
                <a:gd name="connsiteY13" fmla="*/ 333778 h 368703"/>
                <a:gd name="connsiteX14" fmla="*/ 34925 w 558800"/>
                <a:gd name="connsiteY14"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381000 w 558800"/>
                <a:gd name="connsiteY8" fmla="*/ 184553 h 368703"/>
                <a:gd name="connsiteX9" fmla="*/ 301625 w 558800"/>
                <a:gd name="connsiteY9" fmla="*/ 362353 h 368703"/>
                <a:gd name="connsiteX10" fmla="*/ 28575 w 558800"/>
                <a:gd name="connsiteY10" fmla="*/ 368703 h 368703"/>
                <a:gd name="connsiteX11" fmla="*/ 0 w 558800"/>
                <a:gd name="connsiteY11" fmla="*/ 333778 h 368703"/>
                <a:gd name="connsiteX12" fmla="*/ 34925 w 558800"/>
                <a:gd name="connsiteY12" fmla="*/ 263928 h 368703"/>
                <a:gd name="connsiteX0" fmla="*/ 6350 w 530225"/>
                <a:gd name="connsiteY0" fmla="*/ 263928 h 368703"/>
                <a:gd name="connsiteX1" fmla="*/ 174625 w 530225"/>
                <a:gd name="connsiteY1" fmla="*/ 248053 h 368703"/>
                <a:gd name="connsiteX2" fmla="*/ 231775 w 530225"/>
                <a:gd name="connsiteY2" fmla="*/ 70253 h 368703"/>
                <a:gd name="connsiteX3" fmla="*/ 473075 w 530225"/>
                <a:gd name="connsiteY3" fmla="*/ 41678 h 368703"/>
                <a:gd name="connsiteX4" fmla="*/ 530225 w 530225"/>
                <a:gd name="connsiteY4" fmla="*/ 343303 h 368703"/>
                <a:gd name="connsiteX5" fmla="*/ 320675 w 530225"/>
                <a:gd name="connsiteY5" fmla="*/ 352828 h 368703"/>
                <a:gd name="connsiteX6" fmla="*/ 317500 w 530225"/>
                <a:gd name="connsiteY6" fmla="*/ 346478 h 368703"/>
                <a:gd name="connsiteX7" fmla="*/ 387350 w 530225"/>
                <a:gd name="connsiteY7" fmla="*/ 194078 h 368703"/>
                <a:gd name="connsiteX8" fmla="*/ 352425 w 530225"/>
                <a:gd name="connsiteY8" fmla="*/ 184553 h 368703"/>
                <a:gd name="connsiteX9" fmla="*/ 273050 w 530225"/>
                <a:gd name="connsiteY9" fmla="*/ 362353 h 368703"/>
                <a:gd name="connsiteX10" fmla="*/ 0 w 530225"/>
                <a:gd name="connsiteY10" fmla="*/ 368703 h 368703"/>
                <a:gd name="connsiteX11" fmla="*/ 6350 w 530225"/>
                <a:gd name="connsiteY11" fmla="*/ 263928 h 368703"/>
                <a:gd name="connsiteX0" fmla="*/ 28984 w 552859"/>
                <a:gd name="connsiteY0" fmla="*/ 263928 h 368703"/>
                <a:gd name="connsiteX1" fmla="*/ 197259 w 552859"/>
                <a:gd name="connsiteY1" fmla="*/ 248053 h 368703"/>
                <a:gd name="connsiteX2" fmla="*/ 254409 w 552859"/>
                <a:gd name="connsiteY2" fmla="*/ 70253 h 368703"/>
                <a:gd name="connsiteX3" fmla="*/ 495709 w 552859"/>
                <a:gd name="connsiteY3" fmla="*/ 41678 h 368703"/>
                <a:gd name="connsiteX4" fmla="*/ 552859 w 552859"/>
                <a:gd name="connsiteY4" fmla="*/ 343303 h 368703"/>
                <a:gd name="connsiteX5" fmla="*/ 343309 w 552859"/>
                <a:gd name="connsiteY5" fmla="*/ 352828 h 368703"/>
                <a:gd name="connsiteX6" fmla="*/ 340134 w 552859"/>
                <a:gd name="connsiteY6" fmla="*/ 346478 h 368703"/>
                <a:gd name="connsiteX7" fmla="*/ 409984 w 552859"/>
                <a:gd name="connsiteY7" fmla="*/ 194078 h 368703"/>
                <a:gd name="connsiteX8" fmla="*/ 375059 w 552859"/>
                <a:gd name="connsiteY8" fmla="*/ 184553 h 368703"/>
                <a:gd name="connsiteX9" fmla="*/ 295684 w 552859"/>
                <a:gd name="connsiteY9" fmla="*/ 362353 h 368703"/>
                <a:gd name="connsiteX10" fmla="*/ 22634 w 552859"/>
                <a:gd name="connsiteY10" fmla="*/ 368703 h 368703"/>
                <a:gd name="connsiteX11" fmla="*/ 28984 w 552859"/>
                <a:gd name="connsiteY11" fmla="*/ 263928 h 368703"/>
                <a:gd name="connsiteX0" fmla="*/ 35058 w 558933"/>
                <a:gd name="connsiteY0" fmla="*/ 263928 h 369620"/>
                <a:gd name="connsiteX1" fmla="*/ 203333 w 558933"/>
                <a:gd name="connsiteY1" fmla="*/ 248053 h 369620"/>
                <a:gd name="connsiteX2" fmla="*/ 260483 w 558933"/>
                <a:gd name="connsiteY2" fmla="*/ 70253 h 369620"/>
                <a:gd name="connsiteX3" fmla="*/ 501783 w 558933"/>
                <a:gd name="connsiteY3" fmla="*/ 41678 h 369620"/>
                <a:gd name="connsiteX4" fmla="*/ 558933 w 558933"/>
                <a:gd name="connsiteY4" fmla="*/ 343303 h 369620"/>
                <a:gd name="connsiteX5" fmla="*/ 349383 w 558933"/>
                <a:gd name="connsiteY5" fmla="*/ 352828 h 369620"/>
                <a:gd name="connsiteX6" fmla="*/ 346208 w 558933"/>
                <a:gd name="connsiteY6" fmla="*/ 346478 h 369620"/>
                <a:gd name="connsiteX7" fmla="*/ 416058 w 558933"/>
                <a:gd name="connsiteY7" fmla="*/ 194078 h 369620"/>
                <a:gd name="connsiteX8" fmla="*/ 381133 w 558933"/>
                <a:gd name="connsiteY8" fmla="*/ 184553 h 369620"/>
                <a:gd name="connsiteX9" fmla="*/ 301758 w 558933"/>
                <a:gd name="connsiteY9" fmla="*/ 362353 h 369620"/>
                <a:gd name="connsiteX10" fmla="*/ 28708 w 558933"/>
                <a:gd name="connsiteY10" fmla="*/ 368703 h 369620"/>
                <a:gd name="connsiteX11" fmla="*/ 35058 w 558933"/>
                <a:gd name="connsiteY11" fmla="*/ 263928 h 369620"/>
                <a:gd name="connsiteX0" fmla="*/ 38101 w 561976"/>
                <a:gd name="connsiteY0" fmla="*/ 263928 h 368703"/>
                <a:gd name="connsiteX1" fmla="*/ 206376 w 561976"/>
                <a:gd name="connsiteY1" fmla="*/ 248053 h 368703"/>
                <a:gd name="connsiteX2" fmla="*/ 263526 w 561976"/>
                <a:gd name="connsiteY2" fmla="*/ 70253 h 368703"/>
                <a:gd name="connsiteX3" fmla="*/ 504826 w 561976"/>
                <a:gd name="connsiteY3" fmla="*/ 41678 h 368703"/>
                <a:gd name="connsiteX4" fmla="*/ 561976 w 561976"/>
                <a:gd name="connsiteY4" fmla="*/ 343303 h 368703"/>
                <a:gd name="connsiteX5" fmla="*/ 352426 w 561976"/>
                <a:gd name="connsiteY5" fmla="*/ 352828 h 368703"/>
                <a:gd name="connsiteX6" fmla="*/ 349251 w 561976"/>
                <a:gd name="connsiteY6" fmla="*/ 346478 h 368703"/>
                <a:gd name="connsiteX7" fmla="*/ 419101 w 561976"/>
                <a:gd name="connsiteY7" fmla="*/ 194078 h 368703"/>
                <a:gd name="connsiteX8" fmla="*/ 384176 w 561976"/>
                <a:gd name="connsiteY8" fmla="*/ 184553 h 368703"/>
                <a:gd name="connsiteX9" fmla="*/ 304801 w 561976"/>
                <a:gd name="connsiteY9" fmla="*/ 362353 h 368703"/>
                <a:gd name="connsiteX10" fmla="*/ 31751 w 561976"/>
                <a:gd name="connsiteY10" fmla="*/ 368703 h 368703"/>
                <a:gd name="connsiteX11" fmla="*/ 38101 w 561976"/>
                <a:gd name="connsiteY11" fmla="*/ 263928 h 368703"/>
                <a:gd name="connsiteX0" fmla="*/ 35796 w 559671"/>
                <a:gd name="connsiteY0" fmla="*/ 263928 h 368703"/>
                <a:gd name="connsiteX1" fmla="*/ 204071 w 559671"/>
                <a:gd name="connsiteY1" fmla="*/ 248053 h 368703"/>
                <a:gd name="connsiteX2" fmla="*/ 261221 w 559671"/>
                <a:gd name="connsiteY2" fmla="*/ 70253 h 368703"/>
                <a:gd name="connsiteX3" fmla="*/ 502521 w 559671"/>
                <a:gd name="connsiteY3" fmla="*/ 41678 h 368703"/>
                <a:gd name="connsiteX4" fmla="*/ 559671 w 559671"/>
                <a:gd name="connsiteY4" fmla="*/ 343303 h 368703"/>
                <a:gd name="connsiteX5" fmla="*/ 350121 w 559671"/>
                <a:gd name="connsiteY5" fmla="*/ 352828 h 368703"/>
                <a:gd name="connsiteX6" fmla="*/ 346946 w 559671"/>
                <a:gd name="connsiteY6" fmla="*/ 346478 h 368703"/>
                <a:gd name="connsiteX7" fmla="*/ 416796 w 559671"/>
                <a:gd name="connsiteY7" fmla="*/ 194078 h 368703"/>
                <a:gd name="connsiteX8" fmla="*/ 381871 w 559671"/>
                <a:gd name="connsiteY8" fmla="*/ 184553 h 368703"/>
                <a:gd name="connsiteX9" fmla="*/ 302496 w 559671"/>
                <a:gd name="connsiteY9" fmla="*/ 362353 h 368703"/>
                <a:gd name="connsiteX10" fmla="*/ 29446 w 559671"/>
                <a:gd name="connsiteY10" fmla="*/ 368703 h 368703"/>
                <a:gd name="connsiteX11" fmla="*/ 35796 w 559671"/>
                <a:gd name="connsiteY11" fmla="*/ 263928 h 368703"/>
                <a:gd name="connsiteX0" fmla="*/ 33802 w 557677"/>
                <a:gd name="connsiteY0" fmla="*/ 263928 h 368703"/>
                <a:gd name="connsiteX1" fmla="*/ 202077 w 557677"/>
                <a:gd name="connsiteY1" fmla="*/ 248053 h 368703"/>
                <a:gd name="connsiteX2" fmla="*/ 259227 w 557677"/>
                <a:gd name="connsiteY2" fmla="*/ 70253 h 368703"/>
                <a:gd name="connsiteX3" fmla="*/ 500527 w 557677"/>
                <a:gd name="connsiteY3" fmla="*/ 41678 h 368703"/>
                <a:gd name="connsiteX4" fmla="*/ 557677 w 557677"/>
                <a:gd name="connsiteY4" fmla="*/ 343303 h 368703"/>
                <a:gd name="connsiteX5" fmla="*/ 348127 w 557677"/>
                <a:gd name="connsiteY5" fmla="*/ 352828 h 368703"/>
                <a:gd name="connsiteX6" fmla="*/ 344952 w 557677"/>
                <a:gd name="connsiteY6" fmla="*/ 346478 h 368703"/>
                <a:gd name="connsiteX7" fmla="*/ 414802 w 557677"/>
                <a:gd name="connsiteY7" fmla="*/ 194078 h 368703"/>
                <a:gd name="connsiteX8" fmla="*/ 379877 w 557677"/>
                <a:gd name="connsiteY8" fmla="*/ 184553 h 368703"/>
                <a:gd name="connsiteX9" fmla="*/ 300502 w 557677"/>
                <a:gd name="connsiteY9" fmla="*/ 362353 h 368703"/>
                <a:gd name="connsiteX10" fmla="*/ 27452 w 557677"/>
                <a:gd name="connsiteY10" fmla="*/ 368703 h 368703"/>
                <a:gd name="connsiteX11" fmla="*/ 33802 w 55767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343962 w 556687"/>
                <a:gd name="connsiteY6" fmla="*/ 346478 h 368703"/>
                <a:gd name="connsiteX7" fmla="*/ 413812 w 556687"/>
                <a:gd name="connsiteY7" fmla="*/ 194078 h 368703"/>
                <a:gd name="connsiteX8" fmla="*/ 378887 w 556687"/>
                <a:gd name="connsiteY8" fmla="*/ 184553 h 368703"/>
                <a:gd name="connsiteX9" fmla="*/ 299512 w 556687"/>
                <a:gd name="connsiteY9" fmla="*/ 362353 h 368703"/>
                <a:gd name="connsiteX10" fmla="*/ 26462 w 556687"/>
                <a:gd name="connsiteY10" fmla="*/ 368703 h 368703"/>
                <a:gd name="connsiteX11" fmla="*/ 32812 w 55668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0508 h 365283"/>
                <a:gd name="connsiteX1" fmla="*/ 201087 w 556687"/>
                <a:gd name="connsiteY1" fmla="*/ 244633 h 365283"/>
                <a:gd name="connsiteX2" fmla="*/ 258237 w 556687"/>
                <a:gd name="connsiteY2" fmla="*/ 66833 h 365283"/>
                <a:gd name="connsiteX3" fmla="*/ 426512 w 556687"/>
                <a:gd name="connsiteY3" fmla="*/ 7302 h 365283"/>
                <a:gd name="connsiteX4" fmla="*/ 499537 w 556687"/>
                <a:gd name="connsiteY4" fmla="*/ 38258 h 365283"/>
                <a:gd name="connsiteX5" fmla="*/ 556687 w 556687"/>
                <a:gd name="connsiteY5" fmla="*/ 339883 h 365283"/>
                <a:gd name="connsiteX6" fmla="*/ 347137 w 556687"/>
                <a:gd name="connsiteY6" fmla="*/ 349408 h 365283"/>
                <a:gd name="connsiteX7" fmla="*/ 413812 w 556687"/>
                <a:gd name="connsiteY7" fmla="*/ 190658 h 365283"/>
                <a:gd name="connsiteX8" fmla="*/ 378887 w 556687"/>
                <a:gd name="connsiteY8" fmla="*/ 181133 h 365283"/>
                <a:gd name="connsiteX9" fmla="*/ 299512 w 556687"/>
                <a:gd name="connsiteY9" fmla="*/ 358933 h 365283"/>
                <a:gd name="connsiteX10" fmla="*/ 26462 w 556687"/>
                <a:gd name="connsiteY10" fmla="*/ 365283 h 365283"/>
                <a:gd name="connsiteX11" fmla="*/ 32812 w 556687"/>
                <a:gd name="connsiteY11" fmla="*/ 260508 h 365283"/>
                <a:gd name="connsiteX0" fmla="*/ 32812 w 557953"/>
                <a:gd name="connsiteY0" fmla="*/ 268685 h 373460"/>
                <a:gd name="connsiteX1" fmla="*/ 201087 w 557953"/>
                <a:gd name="connsiteY1" fmla="*/ 252810 h 373460"/>
                <a:gd name="connsiteX2" fmla="*/ 258237 w 557953"/>
                <a:gd name="connsiteY2" fmla="*/ 75010 h 373460"/>
                <a:gd name="connsiteX3" fmla="*/ 426512 w 557953"/>
                <a:gd name="connsiteY3" fmla="*/ 15479 h 373460"/>
                <a:gd name="connsiteX4" fmla="*/ 556687 w 557953"/>
                <a:gd name="connsiteY4" fmla="*/ 348060 h 373460"/>
                <a:gd name="connsiteX5" fmla="*/ 347137 w 557953"/>
                <a:gd name="connsiteY5" fmla="*/ 357585 h 373460"/>
                <a:gd name="connsiteX6" fmla="*/ 413812 w 557953"/>
                <a:gd name="connsiteY6" fmla="*/ 198835 h 373460"/>
                <a:gd name="connsiteX7" fmla="*/ 378887 w 557953"/>
                <a:gd name="connsiteY7" fmla="*/ 189310 h 373460"/>
                <a:gd name="connsiteX8" fmla="*/ 299512 w 557953"/>
                <a:gd name="connsiteY8" fmla="*/ 367110 h 373460"/>
                <a:gd name="connsiteX9" fmla="*/ 26462 w 557953"/>
                <a:gd name="connsiteY9" fmla="*/ 373460 h 373460"/>
                <a:gd name="connsiteX10" fmla="*/ 32812 w 557953"/>
                <a:gd name="connsiteY10" fmla="*/ 268685 h 373460"/>
                <a:gd name="connsiteX0" fmla="*/ 32812 w 557953"/>
                <a:gd name="connsiteY0" fmla="*/ 260976 h 365751"/>
                <a:gd name="connsiteX1" fmla="*/ 201087 w 557953"/>
                <a:gd name="connsiteY1" fmla="*/ 245101 h 365751"/>
                <a:gd name="connsiteX2" fmla="*/ 258237 w 557953"/>
                <a:gd name="connsiteY2" fmla="*/ 67301 h 365751"/>
                <a:gd name="connsiteX3" fmla="*/ 426512 w 557953"/>
                <a:gd name="connsiteY3" fmla="*/ 7770 h 365751"/>
                <a:gd name="connsiteX4" fmla="*/ 556687 w 557953"/>
                <a:gd name="connsiteY4" fmla="*/ 340351 h 365751"/>
                <a:gd name="connsiteX5" fmla="*/ 347137 w 557953"/>
                <a:gd name="connsiteY5" fmla="*/ 349876 h 365751"/>
                <a:gd name="connsiteX6" fmla="*/ 413812 w 557953"/>
                <a:gd name="connsiteY6" fmla="*/ 191126 h 365751"/>
                <a:gd name="connsiteX7" fmla="*/ 378887 w 557953"/>
                <a:gd name="connsiteY7" fmla="*/ 181601 h 365751"/>
                <a:gd name="connsiteX8" fmla="*/ 299512 w 557953"/>
                <a:gd name="connsiteY8" fmla="*/ 359401 h 365751"/>
                <a:gd name="connsiteX9" fmla="*/ 26462 w 557953"/>
                <a:gd name="connsiteY9" fmla="*/ 365751 h 365751"/>
                <a:gd name="connsiteX10" fmla="*/ 32812 w 557953"/>
                <a:gd name="connsiteY10" fmla="*/ 260976 h 365751"/>
                <a:gd name="connsiteX0" fmla="*/ 32812 w 558115"/>
                <a:gd name="connsiteY0" fmla="*/ 269583 h 374358"/>
                <a:gd name="connsiteX1" fmla="*/ 201087 w 558115"/>
                <a:gd name="connsiteY1" fmla="*/ 253708 h 374358"/>
                <a:gd name="connsiteX2" fmla="*/ 258237 w 558115"/>
                <a:gd name="connsiteY2" fmla="*/ 75908 h 374358"/>
                <a:gd name="connsiteX3" fmla="*/ 438418 w 558115"/>
                <a:gd name="connsiteY3" fmla="*/ 6852 h 374358"/>
                <a:gd name="connsiteX4" fmla="*/ 556687 w 558115"/>
                <a:gd name="connsiteY4" fmla="*/ 348958 h 374358"/>
                <a:gd name="connsiteX5" fmla="*/ 347137 w 558115"/>
                <a:gd name="connsiteY5" fmla="*/ 358483 h 374358"/>
                <a:gd name="connsiteX6" fmla="*/ 413812 w 558115"/>
                <a:gd name="connsiteY6" fmla="*/ 199733 h 374358"/>
                <a:gd name="connsiteX7" fmla="*/ 378887 w 558115"/>
                <a:gd name="connsiteY7" fmla="*/ 190208 h 374358"/>
                <a:gd name="connsiteX8" fmla="*/ 299512 w 558115"/>
                <a:gd name="connsiteY8" fmla="*/ 368008 h 374358"/>
                <a:gd name="connsiteX9" fmla="*/ 26462 w 558115"/>
                <a:gd name="connsiteY9" fmla="*/ 374358 h 374358"/>
                <a:gd name="connsiteX10" fmla="*/ 32812 w 558115"/>
                <a:gd name="connsiteY10" fmla="*/ 269583 h 374358"/>
                <a:gd name="connsiteX0" fmla="*/ 32812 w 558706"/>
                <a:gd name="connsiteY0" fmla="*/ 269583 h 374358"/>
                <a:gd name="connsiteX1" fmla="*/ 201087 w 558706"/>
                <a:gd name="connsiteY1" fmla="*/ 253708 h 374358"/>
                <a:gd name="connsiteX2" fmla="*/ 258237 w 558706"/>
                <a:gd name="connsiteY2" fmla="*/ 75908 h 374358"/>
                <a:gd name="connsiteX3" fmla="*/ 438418 w 558706"/>
                <a:gd name="connsiteY3" fmla="*/ 6852 h 374358"/>
                <a:gd name="connsiteX4" fmla="*/ 556687 w 558706"/>
                <a:gd name="connsiteY4" fmla="*/ 348958 h 374358"/>
                <a:gd name="connsiteX5" fmla="*/ 347137 w 558706"/>
                <a:gd name="connsiteY5" fmla="*/ 358483 h 374358"/>
                <a:gd name="connsiteX6" fmla="*/ 413812 w 558706"/>
                <a:gd name="connsiteY6" fmla="*/ 199733 h 374358"/>
                <a:gd name="connsiteX7" fmla="*/ 378887 w 558706"/>
                <a:gd name="connsiteY7" fmla="*/ 190208 h 374358"/>
                <a:gd name="connsiteX8" fmla="*/ 299512 w 558706"/>
                <a:gd name="connsiteY8" fmla="*/ 368008 h 374358"/>
                <a:gd name="connsiteX9" fmla="*/ 26462 w 558706"/>
                <a:gd name="connsiteY9" fmla="*/ 374358 h 374358"/>
                <a:gd name="connsiteX10" fmla="*/ 32812 w 558706"/>
                <a:gd name="connsiteY10" fmla="*/ 269583 h 374358"/>
                <a:gd name="connsiteX0" fmla="*/ 32812 w 558706"/>
                <a:gd name="connsiteY0" fmla="*/ 265576 h 370351"/>
                <a:gd name="connsiteX1" fmla="*/ 201087 w 558706"/>
                <a:gd name="connsiteY1" fmla="*/ 249701 h 370351"/>
                <a:gd name="connsiteX2" fmla="*/ 258237 w 558706"/>
                <a:gd name="connsiteY2" fmla="*/ 71901 h 370351"/>
                <a:gd name="connsiteX3" fmla="*/ 438418 w 558706"/>
                <a:gd name="connsiteY3" fmla="*/ 2845 h 370351"/>
                <a:gd name="connsiteX4" fmla="*/ 556687 w 558706"/>
                <a:gd name="connsiteY4" fmla="*/ 344951 h 370351"/>
                <a:gd name="connsiteX5" fmla="*/ 347137 w 558706"/>
                <a:gd name="connsiteY5" fmla="*/ 354476 h 370351"/>
                <a:gd name="connsiteX6" fmla="*/ 413812 w 558706"/>
                <a:gd name="connsiteY6" fmla="*/ 195726 h 370351"/>
                <a:gd name="connsiteX7" fmla="*/ 378887 w 558706"/>
                <a:gd name="connsiteY7" fmla="*/ 186201 h 370351"/>
                <a:gd name="connsiteX8" fmla="*/ 299512 w 558706"/>
                <a:gd name="connsiteY8" fmla="*/ 364001 h 370351"/>
                <a:gd name="connsiteX9" fmla="*/ 26462 w 558706"/>
                <a:gd name="connsiteY9" fmla="*/ 370351 h 370351"/>
                <a:gd name="connsiteX10" fmla="*/ 32812 w 558706"/>
                <a:gd name="connsiteY10" fmla="*/ 265576 h 370351"/>
                <a:gd name="connsiteX0" fmla="*/ 32812 w 558706"/>
                <a:gd name="connsiteY0" fmla="*/ 268667 h 373442"/>
                <a:gd name="connsiteX1" fmla="*/ 201087 w 558706"/>
                <a:gd name="connsiteY1" fmla="*/ 252792 h 373442"/>
                <a:gd name="connsiteX2" fmla="*/ 258237 w 558706"/>
                <a:gd name="connsiteY2" fmla="*/ 74992 h 373442"/>
                <a:gd name="connsiteX3" fmla="*/ 438418 w 558706"/>
                <a:gd name="connsiteY3" fmla="*/ 5936 h 373442"/>
                <a:gd name="connsiteX4" fmla="*/ 556687 w 558706"/>
                <a:gd name="connsiteY4" fmla="*/ 348042 h 373442"/>
                <a:gd name="connsiteX5" fmla="*/ 347137 w 558706"/>
                <a:gd name="connsiteY5" fmla="*/ 357567 h 373442"/>
                <a:gd name="connsiteX6" fmla="*/ 413812 w 558706"/>
                <a:gd name="connsiteY6" fmla="*/ 198817 h 373442"/>
                <a:gd name="connsiteX7" fmla="*/ 378887 w 558706"/>
                <a:gd name="connsiteY7" fmla="*/ 189292 h 373442"/>
                <a:gd name="connsiteX8" fmla="*/ 299512 w 558706"/>
                <a:gd name="connsiteY8" fmla="*/ 367092 h 373442"/>
                <a:gd name="connsiteX9" fmla="*/ 26462 w 558706"/>
                <a:gd name="connsiteY9" fmla="*/ 373442 h 373442"/>
                <a:gd name="connsiteX10" fmla="*/ 32812 w 558706"/>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6687" h="373442">
                  <a:moveTo>
                    <a:pt x="32812" y="268667"/>
                  </a:moveTo>
                  <a:lnTo>
                    <a:pt x="201087" y="252792"/>
                  </a:lnTo>
                  <a:lnTo>
                    <a:pt x="258237" y="74992"/>
                  </a:lnTo>
                  <a:cubicBezTo>
                    <a:pt x="302951" y="-282"/>
                    <a:pt x="376770" y="-8615"/>
                    <a:pt x="438418" y="5936"/>
                  </a:cubicBezTo>
                  <a:cubicBezTo>
                    <a:pt x="516735" y="49062"/>
                    <a:pt x="546104" y="71949"/>
                    <a:pt x="556687" y="348042"/>
                  </a:cubicBezTo>
                  <a:cubicBezTo>
                    <a:pt x="479693" y="353599"/>
                    <a:pt x="416987" y="354392"/>
                    <a:pt x="347137" y="357567"/>
                  </a:cubicBezTo>
                  <a:cubicBezTo>
                    <a:pt x="357456" y="321318"/>
                    <a:pt x="389206" y="251734"/>
                    <a:pt x="413812" y="198817"/>
                  </a:cubicBezTo>
                  <a:lnTo>
                    <a:pt x="378887" y="189292"/>
                  </a:lnTo>
                  <a:lnTo>
                    <a:pt x="299512" y="367092"/>
                  </a:lnTo>
                  <a:lnTo>
                    <a:pt x="26462" y="373442"/>
                  </a:lnTo>
                  <a:cubicBezTo>
                    <a:pt x="3972" y="361535"/>
                    <a:pt x="-22485" y="302005"/>
                    <a:pt x="32812" y="26866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239" eaLnBrk="1" fontAlgn="auto" latinLnBrk="0" hangingPunct="1">
                <a:lnSpc>
                  <a:spcPct val="100000"/>
                </a:lnSpc>
                <a:spcBef>
                  <a:spcPts val="0"/>
                </a:spcBef>
                <a:spcAft>
                  <a:spcPts val="0"/>
                </a:spcAft>
                <a:buClrTx/>
                <a:buSzTx/>
                <a:buFontTx/>
                <a:buNone/>
                <a:tabLst/>
                <a:defRPr/>
              </a:pPr>
              <a:endParaRPr kumimoji="0" lang="en-IN" sz="1836" b="0" i="0" u="none" strike="noStrike" kern="0" cap="none" spc="0" normalizeH="0" baseline="0" noProof="0">
                <a:ln>
                  <a:noFill/>
                </a:ln>
                <a:solidFill>
                  <a:prstClr val="white"/>
                </a:solidFill>
                <a:effectLst/>
                <a:uLnTx/>
                <a:uFillTx/>
              </a:endParaRPr>
            </a:p>
          </p:txBody>
        </p:sp>
        <p:sp>
          <p:nvSpPr>
            <p:cNvPr id="34" name="Freeform 33"/>
            <p:cNvSpPr/>
            <p:nvPr/>
          </p:nvSpPr>
          <p:spPr>
            <a:xfrm rot="20245202">
              <a:off x="3807371" y="3312921"/>
              <a:ext cx="255167" cy="149644"/>
            </a:xfrm>
            <a:custGeom>
              <a:avLst/>
              <a:gdLst>
                <a:gd name="connsiteX0" fmla="*/ 246244 w 255167"/>
                <a:gd name="connsiteY0" fmla="*/ 8923 h 128920"/>
                <a:gd name="connsiteX1" fmla="*/ 255167 w 255167"/>
                <a:gd name="connsiteY1" fmla="*/ 30466 h 128920"/>
                <a:gd name="connsiteX2" fmla="*/ 255167 w 255167"/>
                <a:gd name="connsiteY2" fmla="*/ 101784 h 128920"/>
                <a:gd name="connsiteX3" fmla="*/ 246244 w 255167"/>
                <a:gd name="connsiteY3" fmla="*/ 123327 h 128920"/>
                <a:gd name="connsiteX4" fmla="*/ 232739 w 255167"/>
                <a:gd name="connsiteY4" fmla="*/ 128920 h 128920"/>
                <a:gd name="connsiteX5" fmla="*/ 232739 w 255167"/>
                <a:gd name="connsiteY5" fmla="*/ 29639 h 128920"/>
                <a:gd name="connsiteX6" fmla="*/ 223504 w 255167"/>
                <a:gd name="connsiteY6" fmla="*/ 20404 h 128920"/>
                <a:gd name="connsiteX7" fmla="*/ 31662 w 255167"/>
                <a:gd name="connsiteY7" fmla="*/ 20404 h 128920"/>
                <a:gd name="connsiteX8" fmla="*/ 22427 w 255167"/>
                <a:gd name="connsiteY8" fmla="*/ 29639 h 128920"/>
                <a:gd name="connsiteX9" fmla="*/ 22427 w 255167"/>
                <a:gd name="connsiteY9" fmla="*/ 128920 h 128920"/>
                <a:gd name="connsiteX10" fmla="*/ 8923 w 255167"/>
                <a:gd name="connsiteY10" fmla="*/ 123327 h 128920"/>
                <a:gd name="connsiteX11" fmla="*/ 0 w 255167"/>
                <a:gd name="connsiteY11" fmla="*/ 101784 h 128920"/>
                <a:gd name="connsiteX12" fmla="*/ 0 w 255167"/>
                <a:gd name="connsiteY12" fmla="*/ 30466 h 128920"/>
                <a:gd name="connsiteX13" fmla="*/ 30466 w 255167"/>
                <a:gd name="connsiteY13" fmla="*/ 0 h 128920"/>
                <a:gd name="connsiteX14" fmla="*/ 224701 w 255167"/>
                <a:gd name="connsiteY14" fmla="*/ 0 h 128920"/>
                <a:gd name="connsiteX15" fmla="*/ 246244 w 255167"/>
                <a:gd name="connsiteY15" fmla="*/ 8923 h 128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5167" h="128920">
                  <a:moveTo>
                    <a:pt x="246244" y="8923"/>
                  </a:moveTo>
                  <a:cubicBezTo>
                    <a:pt x="251757" y="14437"/>
                    <a:pt x="255167" y="22053"/>
                    <a:pt x="255167" y="30466"/>
                  </a:cubicBezTo>
                  <a:lnTo>
                    <a:pt x="255167" y="101784"/>
                  </a:lnTo>
                  <a:cubicBezTo>
                    <a:pt x="255167" y="110197"/>
                    <a:pt x="251757" y="117814"/>
                    <a:pt x="246244" y="123327"/>
                  </a:cubicBezTo>
                  <a:lnTo>
                    <a:pt x="232739" y="128920"/>
                  </a:lnTo>
                  <a:lnTo>
                    <a:pt x="232739" y="29639"/>
                  </a:lnTo>
                  <a:cubicBezTo>
                    <a:pt x="232739" y="24539"/>
                    <a:pt x="228604" y="20404"/>
                    <a:pt x="223504" y="20404"/>
                  </a:cubicBezTo>
                  <a:lnTo>
                    <a:pt x="31662" y="20404"/>
                  </a:lnTo>
                  <a:cubicBezTo>
                    <a:pt x="26562" y="20404"/>
                    <a:pt x="22427" y="24539"/>
                    <a:pt x="22427" y="29639"/>
                  </a:cubicBezTo>
                  <a:lnTo>
                    <a:pt x="22427" y="128920"/>
                  </a:lnTo>
                  <a:lnTo>
                    <a:pt x="8923" y="123327"/>
                  </a:lnTo>
                  <a:cubicBezTo>
                    <a:pt x="3410" y="117813"/>
                    <a:pt x="0" y="110197"/>
                    <a:pt x="0" y="101784"/>
                  </a:cubicBezTo>
                  <a:lnTo>
                    <a:pt x="0" y="30466"/>
                  </a:lnTo>
                  <a:cubicBezTo>
                    <a:pt x="0" y="13640"/>
                    <a:pt x="13640" y="0"/>
                    <a:pt x="30466" y="0"/>
                  </a:cubicBezTo>
                  <a:lnTo>
                    <a:pt x="224701" y="0"/>
                  </a:lnTo>
                  <a:cubicBezTo>
                    <a:pt x="233114" y="0"/>
                    <a:pt x="240731" y="3410"/>
                    <a:pt x="246244" y="892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239" eaLnBrk="1" fontAlgn="auto" latinLnBrk="0" hangingPunct="1">
                <a:lnSpc>
                  <a:spcPct val="100000"/>
                </a:lnSpc>
                <a:spcBef>
                  <a:spcPts val="0"/>
                </a:spcBef>
                <a:spcAft>
                  <a:spcPts val="0"/>
                </a:spcAft>
                <a:buClrTx/>
                <a:buSzTx/>
                <a:buFontTx/>
                <a:buNone/>
                <a:tabLst/>
                <a:defRPr/>
              </a:pPr>
              <a:endParaRPr kumimoji="0" lang="en-IN" sz="1836" b="0" i="0" u="none" strike="noStrike" kern="0" cap="none" spc="0" normalizeH="0" baseline="0" noProof="0">
                <a:ln>
                  <a:noFill/>
                </a:ln>
                <a:solidFill>
                  <a:prstClr val="white"/>
                </a:solidFill>
                <a:effectLst/>
                <a:uLnTx/>
                <a:uFillTx/>
              </a:endParaRPr>
            </a:p>
          </p:txBody>
        </p:sp>
      </p:grpSp>
      <p:sp>
        <p:nvSpPr>
          <p:cNvPr id="35" name="Freeform 34"/>
          <p:cNvSpPr/>
          <p:nvPr/>
        </p:nvSpPr>
        <p:spPr>
          <a:xfrm>
            <a:off x="11141516" y="5087672"/>
            <a:ext cx="597694" cy="682297"/>
          </a:xfrm>
          <a:custGeom>
            <a:avLst/>
            <a:gdLst>
              <a:gd name="connsiteX0" fmla="*/ 599650 w 1199300"/>
              <a:gd name="connsiteY0" fmla="*/ 88729 h 1369060"/>
              <a:gd name="connsiteX1" fmla="*/ 270362 w 1199300"/>
              <a:gd name="connsiteY1" fmla="*/ 418017 h 1369060"/>
              <a:gd name="connsiteX2" fmla="*/ 599650 w 1199300"/>
              <a:gd name="connsiteY2" fmla="*/ 747305 h 1369060"/>
              <a:gd name="connsiteX3" fmla="*/ 928938 w 1199300"/>
              <a:gd name="connsiteY3" fmla="*/ 418017 h 1369060"/>
              <a:gd name="connsiteX4" fmla="*/ 599650 w 1199300"/>
              <a:gd name="connsiteY4" fmla="*/ 88729 h 1369060"/>
              <a:gd name="connsiteX5" fmla="*/ 599651 w 1199300"/>
              <a:gd name="connsiteY5" fmla="*/ 0 h 1369060"/>
              <a:gd name="connsiteX6" fmla="*/ 1017668 w 1199300"/>
              <a:gd name="connsiteY6" fmla="*/ 418017 h 1369060"/>
              <a:gd name="connsiteX7" fmla="*/ 833368 w 1199300"/>
              <a:gd name="connsiteY7" fmla="*/ 764643 h 1369060"/>
              <a:gd name="connsiteX8" fmla="*/ 772437 w 1199300"/>
              <a:gd name="connsiteY8" fmla="*/ 797716 h 1369060"/>
              <a:gd name="connsiteX9" fmla="*/ 833061 w 1199300"/>
              <a:gd name="connsiteY9" fmla="*/ 816535 h 1369060"/>
              <a:gd name="connsiteX10" fmla="*/ 1199300 w 1199300"/>
              <a:gd name="connsiteY10" fmla="*/ 1369060 h 1369060"/>
              <a:gd name="connsiteX11" fmla="*/ 1092443 w 1199300"/>
              <a:gd name="connsiteY11" fmla="*/ 1369060 h 1369060"/>
              <a:gd name="connsiteX12" fmla="*/ 599650 w 1199300"/>
              <a:gd name="connsiteY12" fmla="*/ 876268 h 1369060"/>
              <a:gd name="connsiteX13" fmla="*/ 106857 w 1199300"/>
              <a:gd name="connsiteY13" fmla="*/ 1369060 h 1369060"/>
              <a:gd name="connsiteX14" fmla="*/ 0 w 1199300"/>
              <a:gd name="connsiteY14" fmla="*/ 1369060 h 1369060"/>
              <a:gd name="connsiteX15" fmla="*/ 366239 w 1199300"/>
              <a:gd name="connsiteY15" fmla="*/ 816535 h 1369060"/>
              <a:gd name="connsiteX16" fmla="*/ 426865 w 1199300"/>
              <a:gd name="connsiteY16" fmla="*/ 797716 h 1369060"/>
              <a:gd name="connsiteX17" fmla="*/ 365934 w 1199300"/>
              <a:gd name="connsiteY17" fmla="*/ 764643 h 1369060"/>
              <a:gd name="connsiteX18" fmla="*/ 181634 w 1199300"/>
              <a:gd name="connsiteY18" fmla="*/ 418017 h 1369060"/>
              <a:gd name="connsiteX19" fmla="*/ 599651 w 1199300"/>
              <a:gd name="connsiteY19" fmla="*/ 0 h 136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9300" h="1369060">
                <a:moveTo>
                  <a:pt x="599650" y="88729"/>
                </a:moveTo>
                <a:cubicBezTo>
                  <a:pt x="417789" y="88729"/>
                  <a:pt x="270362" y="236156"/>
                  <a:pt x="270362" y="418017"/>
                </a:cubicBezTo>
                <a:cubicBezTo>
                  <a:pt x="270362" y="599878"/>
                  <a:pt x="417789" y="747305"/>
                  <a:pt x="599650" y="747305"/>
                </a:cubicBezTo>
                <a:cubicBezTo>
                  <a:pt x="781511" y="747305"/>
                  <a:pt x="928938" y="599878"/>
                  <a:pt x="928938" y="418017"/>
                </a:cubicBezTo>
                <a:cubicBezTo>
                  <a:pt x="928938" y="236156"/>
                  <a:pt x="781511" y="88729"/>
                  <a:pt x="599650" y="88729"/>
                </a:cubicBezTo>
                <a:close/>
                <a:moveTo>
                  <a:pt x="599651" y="0"/>
                </a:moveTo>
                <a:cubicBezTo>
                  <a:pt x="830515" y="0"/>
                  <a:pt x="1017668" y="187153"/>
                  <a:pt x="1017668" y="418017"/>
                </a:cubicBezTo>
                <a:cubicBezTo>
                  <a:pt x="1017668" y="562307"/>
                  <a:pt x="944561" y="689522"/>
                  <a:pt x="833368" y="764643"/>
                </a:cubicBezTo>
                <a:lnTo>
                  <a:pt x="772437" y="797716"/>
                </a:lnTo>
                <a:lnTo>
                  <a:pt x="833061" y="816535"/>
                </a:lnTo>
                <a:cubicBezTo>
                  <a:pt x="1048285" y="907566"/>
                  <a:pt x="1199300" y="1120678"/>
                  <a:pt x="1199300" y="1369060"/>
                </a:cubicBezTo>
                <a:lnTo>
                  <a:pt x="1092443" y="1369060"/>
                </a:lnTo>
                <a:cubicBezTo>
                  <a:pt x="1092443" y="1096898"/>
                  <a:pt x="871812" y="876268"/>
                  <a:pt x="599650" y="876268"/>
                </a:cubicBezTo>
                <a:cubicBezTo>
                  <a:pt x="327488" y="876268"/>
                  <a:pt x="106857" y="1096898"/>
                  <a:pt x="106857" y="1369060"/>
                </a:cubicBezTo>
                <a:lnTo>
                  <a:pt x="0" y="1369060"/>
                </a:lnTo>
                <a:cubicBezTo>
                  <a:pt x="0" y="1120678"/>
                  <a:pt x="151016" y="907566"/>
                  <a:pt x="366239" y="816535"/>
                </a:cubicBezTo>
                <a:lnTo>
                  <a:pt x="426865" y="797716"/>
                </a:lnTo>
                <a:lnTo>
                  <a:pt x="365934" y="764643"/>
                </a:lnTo>
                <a:cubicBezTo>
                  <a:pt x="254741" y="689522"/>
                  <a:pt x="181634" y="562307"/>
                  <a:pt x="181634" y="418017"/>
                </a:cubicBezTo>
                <a:cubicBezTo>
                  <a:pt x="181634" y="187153"/>
                  <a:pt x="368787" y="0"/>
                  <a:pt x="599651" y="0"/>
                </a:cubicBezTo>
                <a:close/>
              </a:path>
            </a:pathLst>
          </a:cu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sp>
        <p:nvSpPr>
          <p:cNvPr id="11" name="Down Arrow 10"/>
          <p:cNvSpPr/>
          <p:nvPr/>
        </p:nvSpPr>
        <p:spPr>
          <a:xfrm>
            <a:off x="7921209" y="4275015"/>
            <a:ext cx="221343" cy="430834"/>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 name="Up Arrow 51"/>
          <p:cNvSpPr/>
          <p:nvPr/>
        </p:nvSpPr>
        <p:spPr>
          <a:xfrm rot="5400000">
            <a:off x="10768205" y="5348291"/>
            <a:ext cx="221343" cy="292907"/>
          </a:xfrm>
          <a:prstGeom prst="up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 name="Left Arrow 55"/>
          <p:cNvSpPr/>
          <p:nvPr/>
        </p:nvSpPr>
        <p:spPr>
          <a:xfrm flipH="1">
            <a:off x="8790333" y="5386741"/>
            <a:ext cx="641522" cy="221344"/>
          </a:xfrm>
          <a:prstGeom prst="lef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aphicFrame>
        <p:nvGraphicFramePr>
          <p:cNvPr id="2048" name="Table 2047"/>
          <p:cNvGraphicFramePr>
            <a:graphicFrameLocks noGrp="1"/>
          </p:cNvGraphicFramePr>
          <p:nvPr>
            <p:extLst/>
          </p:nvPr>
        </p:nvGraphicFramePr>
        <p:xfrm>
          <a:off x="7444052" y="2380388"/>
          <a:ext cx="1175657" cy="1828800"/>
        </p:xfrm>
        <a:graphic>
          <a:graphicData uri="http://schemas.openxmlformats.org/drawingml/2006/table">
            <a:tbl>
              <a:tblPr firstRow="1" bandRow="1">
                <a:tableStyleId>{5940675A-B579-460E-94D1-54222C63F5DA}</a:tableStyleId>
              </a:tblPr>
              <a:tblGrid>
                <a:gridCol w="1175657">
                  <a:extLst>
                    <a:ext uri="{9D8B030D-6E8A-4147-A177-3AD203B41FA5}">
                      <a16:colId xmlns:a16="http://schemas.microsoft.com/office/drawing/2014/main" val="335739504"/>
                    </a:ext>
                  </a:extLst>
                </a:gridCol>
              </a:tblGrid>
              <a:tr h="204712">
                <a:tc>
                  <a:txBody>
                    <a:bodyPr/>
                    <a:lstStyle/>
                    <a:p>
                      <a:r>
                        <a:rPr lang="en-US" sz="900" dirty="0">
                          <a:solidFill>
                            <a:srgbClr val="282828"/>
                          </a:solidFill>
                        </a:rPr>
                        <a:t>Name</a:t>
                      </a:r>
                    </a:p>
                  </a:txBody>
                  <a:tcPr/>
                </a:tc>
                <a:extLst>
                  <a:ext uri="{0D108BD9-81ED-4DB2-BD59-A6C34878D82A}">
                    <a16:rowId xmlns:a16="http://schemas.microsoft.com/office/drawing/2014/main" val="663487802"/>
                  </a:ext>
                </a:extLst>
              </a:tr>
              <a:tr h="204712">
                <a:tc>
                  <a:txBody>
                    <a:bodyPr/>
                    <a:lstStyle/>
                    <a:p>
                      <a:r>
                        <a:rPr lang="en-US" sz="900" dirty="0">
                          <a:solidFill>
                            <a:srgbClr val="282828"/>
                          </a:solidFill>
                        </a:rPr>
                        <a:t>Admin</a:t>
                      </a:r>
                      <a:r>
                        <a:rPr lang="en-US" sz="900" baseline="0" dirty="0">
                          <a:solidFill>
                            <a:srgbClr val="282828"/>
                          </a:solidFill>
                        </a:rPr>
                        <a:t> Users</a:t>
                      </a:r>
                      <a:endParaRPr lang="en-US" sz="900" dirty="0">
                        <a:solidFill>
                          <a:srgbClr val="282828"/>
                        </a:solidFill>
                      </a:endParaRPr>
                    </a:p>
                  </a:txBody>
                  <a:tcPr/>
                </a:tc>
                <a:extLst>
                  <a:ext uri="{0D108BD9-81ED-4DB2-BD59-A6C34878D82A}">
                    <a16:rowId xmlns:a16="http://schemas.microsoft.com/office/drawing/2014/main" val="198218354"/>
                  </a:ext>
                </a:extLst>
              </a:tr>
              <a:tr h="204712">
                <a:tc>
                  <a:txBody>
                    <a:bodyPr/>
                    <a:lstStyle/>
                    <a:p>
                      <a:r>
                        <a:rPr lang="en-US" sz="900" dirty="0">
                          <a:solidFill>
                            <a:srgbClr val="282828"/>
                          </a:solidFill>
                        </a:rPr>
                        <a:t>Endpoints</a:t>
                      </a:r>
                    </a:p>
                  </a:txBody>
                  <a:tcPr/>
                </a:tc>
                <a:extLst>
                  <a:ext uri="{0D108BD9-81ED-4DB2-BD59-A6C34878D82A}">
                    <a16:rowId xmlns:a16="http://schemas.microsoft.com/office/drawing/2014/main" val="3013982744"/>
                  </a:ext>
                </a:extLst>
              </a:tr>
              <a:tr h="204712">
                <a:tc>
                  <a:txBody>
                    <a:bodyPr/>
                    <a:lstStyle/>
                    <a:p>
                      <a:r>
                        <a:rPr lang="en-US" sz="900" dirty="0">
                          <a:solidFill>
                            <a:srgbClr val="282828"/>
                          </a:solidFill>
                        </a:rPr>
                        <a:t>Keys</a:t>
                      </a:r>
                    </a:p>
                  </a:txBody>
                  <a:tcPr/>
                </a:tc>
                <a:extLst>
                  <a:ext uri="{0D108BD9-81ED-4DB2-BD59-A6C34878D82A}">
                    <a16:rowId xmlns:a16="http://schemas.microsoft.com/office/drawing/2014/main" val="3047835177"/>
                  </a:ext>
                </a:extLst>
              </a:tr>
              <a:tr h="204712">
                <a:tc>
                  <a:txBody>
                    <a:bodyPr/>
                    <a:lstStyle/>
                    <a:p>
                      <a:r>
                        <a:rPr lang="en-US" sz="900" dirty="0">
                          <a:solidFill>
                            <a:srgbClr val="282828"/>
                          </a:solidFill>
                        </a:rPr>
                        <a:t>Gateways</a:t>
                      </a:r>
                    </a:p>
                  </a:txBody>
                  <a:tcPr/>
                </a:tc>
                <a:extLst>
                  <a:ext uri="{0D108BD9-81ED-4DB2-BD59-A6C34878D82A}">
                    <a16:rowId xmlns:a16="http://schemas.microsoft.com/office/drawing/2014/main" val="74604356"/>
                  </a:ext>
                </a:extLst>
              </a:tr>
              <a:tr h="204712">
                <a:tc>
                  <a:txBody>
                    <a:bodyPr/>
                    <a:lstStyle/>
                    <a:p>
                      <a:pPr marL="0" indent="0">
                        <a:buFontTx/>
                        <a:buNone/>
                      </a:pPr>
                      <a:r>
                        <a:rPr lang="en-US" sz="900" dirty="0">
                          <a:solidFill>
                            <a:srgbClr val="282828"/>
                          </a:solidFill>
                        </a:rPr>
                        <a:t>Credentials</a:t>
                      </a:r>
                    </a:p>
                  </a:txBody>
                  <a:tcPr/>
                </a:tc>
                <a:extLst>
                  <a:ext uri="{0D108BD9-81ED-4DB2-BD59-A6C34878D82A}">
                    <a16:rowId xmlns:a16="http://schemas.microsoft.com/office/drawing/2014/main" val="930729931"/>
                  </a:ext>
                </a:extLst>
              </a:tr>
              <a:tr h="204712">
                <a:tc>
                  <a:txBody>
                    <a:bodyPr/>
                    <a:lstStyle/>
                    <a:p>
                      <a:r>
                        <a:rPr lang="en-US" sz="900" dirty="0">
                          <a:solidFill>
                            <a:srgbClr val="282828"/>
                          </a:solidFill>
                        </a:rPr>
                        <a:t>Geo Location</a:t>
                      </a:r>
                    </a:p>
                  </a:txBody>
                  <a:tcPr/>
                </a:tc>
                <a:extLst>
                  <a:ext uri="{0D108BD9-81ED-4DB2-BD59-A6C34878D82A}">
                    <a16:rowId xmlns:a16="http://schemas.microsoft.com/office/drawing/2014/main" val="1427339996"/>
                  </a:ext>
                </a:extLst>
              </a:tr>
              <a:tr h="204712">
                <a:tc>
                  <a:txBody>
                    <a:bodyPr/>
                    <a:lstStyle/>
                    <a:p>
                      <a:r>
                        <a:rPr lang="en-US" sz="900" dirty="0">
                          <a:solidFill>
                            <a:srgbClr val="282828"/>
                          </a:solidFill>
                        </a:rPr>
                        <a:t>Tags</a:t>
                      </a:r>
                    </a:p>
                  </a:txBody>
                  <a:tcPr/>
                </a:tc>
                <a:extLst>
                  <a:ext uri="{0D108BD9-81ED-4DB2-BD59-A6C34878D82A}">
                    <a16:rowId xmlns:a16="http://schemas.microsoft.com/office/drawing/2014/main" val="3184768203"/>
                  </a:ext>
                </a:extLst>
              </a:tr>
            </a:tbl>
          </a:graphicData>
        </a:graphic>
      </p:graphicFrame>
      <p:graphicFrame>
        <p:nvGraphicFramePr>
          <p:cNvPr id="70" name="Table 69"/>
          <p:cNvGraphicFramePr>
            <a:graphicFrameLocks noGrp="1"/>
          </p:cNvGraphicFramePr>
          <p:nvPr>
            <p:extLst/>
          </p:nvPr>
        </p:nvGraphicFramePr>
        <p:xfrm>
          <a:off x="7444052" y="5029360"/>
          <a:ext cx="1175657" cy="914400"/>
        </p:xfrm>
        <a:graphic>
          <a:graphicData uri="http://schemas.openxmlformats.org/drawingml/2006/table">
            <a:tbl>
              <a:tblPr firstRow="1" bandRow="1">
                <a:tableStyleId>{5940675A-B579-460E-94D1-54222C63F5DA}</a:tableStyleId>
              </a:tblPr>
              <a:tblGrid>
                <a:gridCol w="1175657">
                  <a:extLst>
                    <a:ext uri="{9D8B030D-6E8A-4147-A177-3AD203B41FA5}">
                      <a16:colId xmlns:a16="http://schemas.microsoft.com/office/drawing/2014/main" val="335739504"/>
                    </a:ext>
                  </a:extLst>
                </a:gridCol>
              </a:tblGrid>
              <a:tr h="204712">
                <a:tc>
                  <a:txBody>
                    <a:bodyPr/>
                    <a:lstStyle/>
                    <a:p>
                      <a:r>
                        <a:rPr lang="en-US" sz="900" dirty="0">
                          <a:solidFill>
                            <a:srgbClr val="282828"/>
                          </a:solidFill>
                        </a:rPr>
                        <a:t>Name</a:t>
                      </a:r>
                    </a:p>
                  </a:txBody>
                  <a:tcPr/>
                </a:tc>
                <a:extLst>
                  <a:ext uri="{0D108BD9-81ED-4DB2-BD59-A6C34878D82A}">
                    <a16:rowId xmlns:a16="http://schemas.microsoft.com/office/drawing/2014/main" val="663487802"/>
                  </a:ext>
                </a:extLst>
              </a:tr>
              <a:tr h="193206">
                <a:tc>
                  <a:txBody>
                    <a:bodyPr/>
                    <a:lstStyle/>
                    <a:p>
                      <a:r>
                        <a:rPr lang="en-US" sz="900" dirty="0">
                          <a:solidFill>
                            <a:srgbClr val="282828"/>
                          </a:solidFill>
                        </a:rPr>
                        <a:t>Reports</a:t>
                      </a:r>
                    </a:p>
                  </a:txBody>
                  <a:tcPr/>
                </a:tc>
                <a:extLst>
                  <a:ext uri="{0D108BD9-81ED-4DB2-BD59-A6C34878D82A}">
                    <a16:rowId xmlns:a16="http://schemas.microsoft.com/office/drawing/2014/main" val="198218354"/>
                  </a:ext>
                </a:extLst>
              </a:tr>
              <a:tr h="204712">
                <a:tc>
                  <a:txBody>
                    <a:bodyPr/>
                    <a:lstStyle/>
                    <a:p>
                      <a:r>
                        <a:rPr lang="en-US" sz="900" dirty="0">
                          <a:solidFill>
                            <a:srgbClr val="282828"/>
                          </a:solidFill>
                        </a:rPr>
                        <a:t>Datasets</a:t>
                      </a:r>
                    </a:p>
                  </a:txBody>
                  <a:tcPr/>
                </a:tc>
                <a:extLst>
                  <a:ext uri="{0D108BD9-81ED-4DB2-BD59-A6C34878D82A}">
                    <a16:rowId xmlns:a16="http://schemas.microsoft.com/office/drawing/2014/main" val="3013982744"/>
                  </a:ext>
                </a:extLst>
              </a:tr>
              <a:tr h="204712">
                <a:tc>
                  <a:txBody>
                    <a:bodyPr/>
                    <a:lstStyle/>
                    <a:p>
                      <a:r>
                        <a:rPr lang="en-US" sz="900" dirty="0">
                          <a:solidFill>
                            <a:srgbClr val="282828"/>
                          </a:solidFill>
                        </a:rPr>
                        <a:t>Tags</a:t>
                      </a:r>
                    </a:p>
                  </a:txBody>
                  <a:tcPr/>
                </a:tc>
                <a:extLst>
                  <a:ext uri="{0D108BD9-81ED-4DB2-BD59-A6C34878D82A}">
                    <a16:rowId xmlns:a16="http://schemas.microsoft.com/office/drawing/2014/main" val="74604356"/>
                  </a:ext>
                </a:extLst>
              </a:tr>
            </a:tbl>
          </a:graphicData>
        </a:graphic>
      </p:graphicFrame>
      <p:sp>
        <p:nvSpPr>
          <p:cNvPr id="59" name="TextBox 58"/>
          <p:cNvSpPr txBox="1"/>
          <p:nvPr/>
        </p:nvSpPr>
        <p:spPr>
          <a:xfrm>
            <a:off x="9783724" y="5891075"/>
            <a:ext cx="583494" cy="169277"/>
          </a:xfrm>
          <a:prstGeom prst="rect">
            <a:avLst/>
          </a:prstGeom>
          <a:noFill/>
        </p:spPr>
        <p:txBody>
          <a:bodyPr wrap="none" lIns="0" tIns="0" rIns="0" bIns="0" rtlCol="0" anchor="ctr">
            <a:spAutoFit/>
          </a:bodyPr>
          <a:lstStyle/>
          <a:p>
            <a:pPr algn="ctr">
              <a:defRPr/>
            </a:pPr>
            <a:r>
              <a:rPr lang="en-US" sz="1100" kern="0" dirty="0">
                <a:solidFill>
                  <a:srgbClr val="282828"/>
                </a:solidFill>
                <a:latin typeface="Segoe UI Semibold" panose="020B0702040204020203" pitchFamily="34" charset="0"/>
                <a:cs typeface="Segoe UI Semibold" panose="020B0702040204020203" pitchFamily="34" charset="0"/>
              </a:rPr>
              <a:t>Your app</a:t>
            </a:r>
          </a:p>
        </p:txBody>
      </p:sp>
      <p:grpSp>
        <p:nvGrpSpPr>
          <p:cNvPr id="54" name="Group 53"/>
          <p:cNvGrpSpPr/>
          <p:nvPr/>
        </p:nvGrpSpPr>
        <p:grpSpPr>
          <a:xfrm>
            <a:off x="9588339" y="5064952"/>
            <a:ext cx="974264" cy="729557"/>
            <a:chOff x="10467794" y="2369307"/>
            <a:chExt cx="1004386" cy="752113"/>
          </a:xfrm>
          <a:solidFill>
            <a:srgbClr val="282828"/>
          </a:solidFill>
        </p:grpSpPr>
        <p:sp>
          <p:nvSpPr>
            <p:cNvPr id="65" name="Freeform 64"/>
            <p:cNvSpPr>
              <a:spLocks noChangeAspect="1"/>
            </p:cNvSpPr>
            <p:nvPr/>
          </p:nvSpPr>
          <p:spPr bwMode="auto">
            <a:xfrm>
              <a:off x="10768048" y="2628306"/>
              <a:ext cx="375318" cy="374098"/>
            </a:xfrm>
            <a:custGeom>
              <a:avLst/>
              <a:gdLst>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72174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179572 w 1481959"/>
                <a:gd name="connsiteY24" fmla="*/ 228919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179572 w 1481959"/>
                <a:gd name="connsiteY28" fmla="*/ 228919 h 962317"/>
                <a:gd name="connsiteX29" fmla="*/ 65620 w 1481959"/>
                <a:gd name="connsiteY29" fmla="*/ 0 h 962317"/>
                <a:gd name="connsiteX30" fmla="*/ 1416339 w 1481959"/>
                <a:gd name="connsiteY30" fmla="*/ 0 h 962317"/>
                <a:gd name="connsiteX31" fmla="*/ 1481959 w 1481959"/>
                <a:gd name="connsiteY31" fmla="*/ 65621 h 962317"/>
                <a:gd name="connsiteX32" fmla="*/ 1481959 w 1481959"/>
                <a:gd name="connsiteY32" fmla="*/ 896697 h 962317"/>
                <a:gd name="connsiteX33" fmla="*/ 1416339 w 1481959"/>
                <a:gd name="connsiteY33" fmla="*/ 962317 h 962317"/>
                <a:gd name="connsiteX34" fmla="*/ 65620 w 1481959"/>
                <a:gd name="connsiteY34" fmla="*/ 962317 h 962317"/>
                <a:gd name="connsiteX35" fmla="*/ 0 w 1481959"/>
                <a:gd name="connsiteY35" fmla="*/ 896697 h 962317"/>
                <a:gd name="connsiteX36" fmla="*/ 0 w 1481959"/>
                <a:gd name="connsiteY36" fmla="*/ 65621 h 962317"/>
                <a:gd name="connsiteX37" fmla="*/ 65620 w 1481959"/>
                <a:gd name="connsiteY37" fmla="*/ 0 h 962317"/>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1402569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 name="connsiteX0" fmla="*/ 678350 w 1481959"/>
                <a:gd name="connsiteY0" fmla="*/ 282422 h 985749"/>
                <a:gd name="connsiteX1" fmla="*/ 688805 w 1481959"/>
                <a:gd name="connsiteY1" fmla="*/ 282656 h 985749"/>
                <a:gd name="connsiteX2" fmla="*/ 971484 w 1481959"/>
                <a:gd name="connsiteY2" fmla="*/ 282656 h 985749"/>
                <a:gd name="connsiteX3" fmla="*/ 1006067 w 1481959"/>
                <a:gd name="connsiteY3" fmla="*/ 315737 h 985749"/>
                <a:gd name="connsiteX4" fmla="*/ 1006067 w 1481959"/>
                <a:gd name="connsiteY4" fmla="*/ 599920 h 985749"/>
                <a:gd name="connsiteX5" fmla="*/ 1004269 w 1481959"/>
                <a:gd name="connsiteY5" fmla="*/ 618617 h 985749"/>
                <a:gd name="connsiteX6" fmla="*/ 996845 w 1481959"/>
                <a:gd name="connsiteY6" fmla="*/ 620135 h 985749"/>
                <a:gd name="connsiteX7" fmla="*/ 946477 w 1481959"/>
                <a:gd name="connsiteY7" fmla="*/ 570273 h 985749"/>
                <a:gd name="connsiteX8" fmla="*/ 903068 w 1481959"/>
                <a:gd name="connsiteY8" fmla="*/ 570491 h 985749"/>
                <a:gd name="connsiteX9" fmla="*/ 711725 w 1481959"/>
                <a:gd name="connsiteY9" fmla="*/ 763776 h 985749"/>
                <a:gd name="connsiteX10" fmla="*/ 661739 w 1481959"/>
                <a:gd name="connsiteY10" fmla="*/ 742764 h 985749"/>
                <a:gd name="connsiteX11" fmla="*/ 535436 w 1481959"/>
                <a:gd name="connsiteY11" fmla="*/ 616460 h 985749"/>
                <a:gd name="connsiteX12" fmla="*/ 520710 w 1481959"/>
                <a:gd name="connsiteY12" fmla="*/ 581034 h 985749"/>
                <a:gd name="connsiteX13" fmla="*/ 597984 w 1481959"/>
                <a:gd name="connsiteY13" fmla="*/ 502258 h 985749"/>
                <a:gd name="connsiteX14" fmla="*/ 709855 w 1481959"/>
                <a:gd name="connsiteY14" fmla="*/ 392420 h 985749"/>
                <a:gd name="connsiteX15" fmla="*/ 720565 w 1481959"/>
                <a:gd name="connsiteY15" fmla="*/ 374487 h 985749"/>
                <a:gd name="connsiteX16" fmla="*/ 722022 w 1481959"/>
                <a:gd name="connsiteY16" fmla="*/ 371349 h 985749"/>
                <a:gd name="connsiteX17" fmla="*/ 723721 w 1481959"/>
                <a:gd name="connsiteY17" fmla="*/ 362150 h 985749"/>
                <a:gd name="connsiteX18" fmla="*/ 723262 w 1481959"/>
                <a:gd name="connsiteY18" fmla="*/ 357770 h 985749"/>
                <a:gd name="connsiteX19" fmla="*/ 723111 w 1481959"/>
                <a:gd name="connsiteY19" fmla="*/ 357034 h 985749"/>
                <a:gd name="connsiteX20" fmla="*/ 714729 w 1481959"/>
                <a:gd name="connsiteY20" fmla="*/ 339411 h 985749"/>
                <a:gd name="connsiteX21" fmla="*/ 678087 w 1481959"/>
                <a:gd name="connsiteY21" fmla="*/ 303467 h 985749"/>
                <a:gd name="connsiteX22" fmla="*/ 668098 w 1481959"/>
                <a:gd name="connsiteY22" fmla="*/ 285733 h 985749"/>
                <a:gd name="connsiteX23" fmla="*/ 678350 w 1481959"/>
                <a:gd name="connsiteY23" fmla="*/ 282422 h 985749"/>
                <a:gd name="connsiteX24" fmla="*/ 1402569 w 1481959"/>
                <a:gd name="connsiteY24" fmla="*/ 95606 h 985749"/>
                <a:gd name="connsiteX25" fmla="*/ 72174 w 1481959"/>
                <a:gd name="connsiteY25" fmla="*/ 911169 h 985749"/>
                <a:gd name="connsiteX26" fmla="*/ 1402569 w 1481959"/>
                <a:gd name="connsiteY26" fmla="*/ 911169 h 985749"/>
                <a:gd name="connsiteX27" fmla="*/ 1402569 w 1481959"/>
                <a:gd name="connsiteY27" fmla="*/ 95606 h 985749"/>
                <a:gd name="connsiteX28" fmla="*/ 0 w 1481959"/>
                <a:gd name="connsiteY28" fmla="*/ 89053 h 985749"/>
                <a:gd name="connsiteX29" fmla="*/ 1416339 w 1481959"/>
                <a:gd name="connsiteY29" fmla="*/ 23432 h 985749"/>
                <a:gd name="connsiteX30" fmla="*/ 1481959 w 1481959"/>
                <a:gd name="connsiteY30" fmla="*/ 89053 h 985749"/>
                <a:gd name="connsiteX31" fmla="*/ 1481959 w 1481959"/>
                <a:gd name="connsiteY31" fmla="*/ 920129 h 985749"/>
                <a:gd name="connsiteX32" fmla="*/ 1416339 w 1481959"/>
                <a:gd name="connsiteY32" fmla="*/ 985749 h 985749"/>
                <a:gd name="connsiteX33" fmla="*/ 65620 w 1481959"/>
                <a:gd name="connsiteY33" fmla="*/ 985749 h 985749"/>
                <a:gd name="connsiteX34" fmla="*/ 0 w 1481959"/>
                <a:gd name="connsiteY34" fmla="*/ 920129 h 985749"/>
                <a:gd name="connsiteX35" fmla="*/ 0 w 1481959"/>
                <a:gd name="connsiteY35" fmla="*/ 89053 h 985749"/>
                <a:gd name="connsiteX0" fmla="*/ 701571 w 1505180"/>
                <a:gd name="connsiteY0" fmla="*/ 282422 h 985749"/>
                <a:gd name="connsiteX1" fmla="*/ 712026 w 1505180"/>
                <a:gd name="connsiteY1" fmla="*/ 282656 h 985749"/>
                <a:gd name="connsiteX2" fmla="*/ 994705 w 1505180"/>
                <a:gd name="connsiteY2" fmla="*/ 282656 h 985749"/>
                <a:gd name="connsiteX3" fmla="*/ 1029288 w 1505180"/>
                <a:gd name="connsiteY3" fmla="*/ 315737 h 985749"/>
                <a:gd name="connsiteX4" fmla="*/ 1029288 w 1505180"/>
                <a:gd name="connsiteY4" fmla="*/ 599920 h 985749"/>
                <a:gd name="connsiteX5" fmla="*/ 1027490 w 1505180"/>
                <a:gd name="connsiteY5" fmla="*/ 618617 h 985749"/>
                <a:gd name="connsiteX6" fmla="*/ 1020066 w 1505180"/>
                <a:gd name="connsiteY6" fmla="*/ 620135 h 985749"/>
                <a:gd name="connsiteX7" fmla="*/ 969698 w 1505180"/>
                <a:gd name="connsiteY7" fmla="*/ 570273 h 985749"/>
                <a:gd name="connsiteX8" fmla="*/ 926289 w 1505180"/>
                <a:gd name="connsiteY8" fmla="*/ 570491 h 985749"/>
                <a:gd name="connsiteX9" fmla="*/ 734946 w 1505180"/>
                <a:gd name="connsiteY9" fmla="*/ 763776 h 985749"/>
                <a:gd name="connsiteX10" fmla="*/ 684960 w 1505180"/>
                <a:gd name="connsiteY10" fmla="*/ 742764 h 985749"/>
                <a:gd name="connsiteX11" fmla="*/ 558657 w 1505180"/>
                <a:gd name="connsiteY11" fmla="*/ 616460 h 985749"/>
                <a:gd name="connsiteX12" fmla="*/ 543931 w 1505180"/>
                <a:gd name="connsiteY12" fmla="*/ 581034 h 985749"/>
                <a:gd name="connsiteX13" fmla="*/ 621205 w 1505180"/>
                <a:gd name="connsiteY13" fmla="*/ 502258 h 985749"/>
                <a:gd name="connsiteX14" fmla="*/ 733076 w 1505180"/>
                <a:gd name="connsiteY14" fmla="*/ 392420 h 985749"/>
                <a:gd name="connsiteX15" fmla="*/ 743786 w 1505180"/>
                <a:gd name="connsiteY15" fmla="*/ 374487 h 985749"/>
                <a:gd name="connsiteX16" fmla="*/ 745243 w 1505180"/>
                <a:gd name="connsiteY16" fmla="*/ 371349 h 985749"/>
                <a:gd name="connsiteX17" fmla="*/ 746942 w 1505180"/>
                <a:gd name="connsiteY17" fmla="*/ 362150 h 985749"/>
                <a:gd name="connsiteX18" fmla="*/ 746483 w 1505180"/>
                <a:gd name="connsiteY18" fmla="*/ 357770 h 985749"/>
                <a:gd name="connsiteX19" fmla="*/ 746332 w 1505180"/>
                <a:gd name="connsiteY19" fmla="*/ 357034 h 985749"/>
                <a:gd name="connsiteX20" fmla="*/ 737950 w 1505180"/>
                <a:gd name="connsiteY20" fmla="*/ 339411 h 985749"/>
                <a:gd name="connsiteX21" fmla="*/ 701308 w 1505180"/>
                <a:gd name="connsiteY21" fmla="*/ 303467 h 985749"/>
                <a:gd name="connsiteX22" fmla="*/ 691319 w 1505180"/>
                <a:gd name="connsiteY22" fmla="*/ 285733 h 985749"/>
                <a:gd name="connsiteX23" fmla="*/ 701571 w 1505180"/>
                <a:gd name="connsiteY23" fmla="*/ 282422 h 985749"/>
                <a:gd name="connsiteX24" fmla="*/ 1425790 w 1505180"/>
                <a:gd name="connsiteY24" fmla="*/ 95606 h 985749"/>
                <a:gd name="connsiteX25" fmla="*/ 95395 w 1505180"/>
                <a:gd name="connsiteY25" fmla="*/ 911169 h 985749"/>
                <a:gd name="connsiteX26" fmla="*/ 1425790 w 1505180"/>
                <a:gd name="connsiteY26" fmla="*/ 911169 h 985749"/>
                <a:gd name="connsiteX27" fmla="*/ 1425790 w 1505180"/>
                <a:gd name="connsiteY27" fmla="*/ 95606 h 985749"/>
                <a:gd name="connsiteX28" fmla="*/ 0 w 1505180"/>
                <a:gd name="connsiteY28" fmla="*/ 89053 h 985749"/>
                <a:gd name="connsiteX29" fmla="*/ 1439560 w 1505180"/>
                <a:gd name="connsiteY29" fmla="*/ 23432 h 985749"/>
                <a:gd name="connsiteX30" fmla="*/ 1505180 w 1505180"/>
                <a:gd name="connsiteY30" fmla="*/ 89053 h 985749"/>
                <a:gd name="connsiteX31" fmla="*/ 1505180 w 1505180"/>
                <a:gd name="connsiteY31" fmla="*/ 920129 h 985749"/>
                <a:gd name="connsiteX32" fmla="*/ 1439560 w 1505180"/>
                <a:gd name="connsiteY32" fmla="*/ 985749 h 985749"/>
                <a:gd name="connsiteX33" fmla="*/ 88841 w 1505180"/>
                <a:gd name="connsiteY33" fmla="*/ 985749 h 985749"/>
                <a:gd name="connsiteX34" fmla="*/ 23221 w 1505180"/>
                <a:gd name="connsiteY34" fmla="*/ 920129 h 985749"/>
                <a:gd name="connsiteX35" fmla="*/ 0 w 1505180"/>
                <a:gd name="connsiteY35" fmla="*/ 89053 h 985749"/>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1402569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0 w 1481959"/>
                <a:gd name="connsiteY28" fmla="*/ 896697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0" fmla="*/ 678350 w 1519998"/>
                <a:gd name="connsiteY0" fmla="*/ 325515 h 1028842"/>
                <a:gd name="connsiteX1" fmla="*/ 688805 w 1519998"/>
                <a:gd name="connsiteY1" fmla="*/ 325749 h 1028842"/>
                <a:gd name="connsiteX2" fmla="*/ 971484 w 1519998"/>
                <a:gd name="connsiteY2" fmla="*/ 325749 h 1028842"/>
                <a:gd name="connsiteX3" fmla="*/ 1006067 w 1519998"/>
                <a:gd name="connsiteY3" fmla="*/ 358830 h 1028842"/>
                <a:gd name="connsiteX4" fmla="*/ 1006067 w 1519998"/>
                <a:gd name="connsiteY4" fmla="*/ 643013 h 1028842"/>
                <a:gd name="connsiteX5" fmla="*/ 1004269 w 1519998"/>
                <a:gd name="connsiteY5" fmla="*/ 661710 h 1028842"/>
                <a:gd name="connsiteX6" fmla="*/ 996845 w 1519998"/>
                <a:gd name="connsiteY6" fmla="*/ 663228 h 1028842"/>
                <a:gd name="connsiteX7" fmla="*/ 946477 w 1519998"/>
                <a:gd name="connsiteY7" fmla="*/ 613366 h 1028842"/>
                <a:gd name="connsiteX8" fmla="*/ 903068 w 1519998"/>
                <a:gd name="connsiteY8" fmla="*/ 613584 h 1028842"/>
                <a:gd name="connsiteX9" fmla="*/ 711725 w 1519998"/>
                <a:gd name="connsiteY9" fmla="*/ 806869 h 1028842"/>
                <a:gd name="connsiteX10" fmla="*/ 661739 w 1519998"/>
                <a:gd name="connsiteY10" fmla="*/ 785857 h 1028842"/>
                <a:gd name="connsiteX11" fmla="*/ 535436 w 1519998"/>
                <a:gd name="connsiteY11" fmla="*/ 659553 h 1028842"/>
                <a:gd name="connsiteX12" fmla="*/ 520710 w 1519998"/>
                <a:gd name="connsiteY12" fmla="*/ 624127 h 1028842"/>
                <a:gd name="connsiteX13" fmla="*/ 597984 w 1519998"/>
                <a:gd name="connsiteY13" fmla="*/ 545351 h 1028842"/>
                <a:gd name="connsiteX14" fmla="*/ 709855 w 1519998"/>
                <a:gd name="connsiteY14" fmla="*/ 435513 h 1028842"/>
                <a:gd name="connsiteX15" fmla="*/ 720565 w 1519998"/>
                <a:gd name="connsiteY15" fmla="*/ 417580 h 1028842"/>
                <a:gd name="connsiteX16" fmla="*/ 722022 w 1519998"/>
                <a:gd name="connsiteY16" fmla="*/ 414442 h 1028842"/>
                <a:gd name="connsiteX17" fmla="*/ 723721 w 1519998"/>
                <a:gd name="connsiteY17" fmla="*/ 405243 h 1028842"/>
                <a:gd name="connsiteX18" fmla="*/ 723262 w 1519998"/>
                <a:gd name="connsiteY18" fmla="*/ 400863 h 1028842"/>
                <a:gd name="connsiteX19" fmla="*/ 723111 w 1519998"/>
                <a:gd name="connsiteY19" fmla="*/ 400127 h 1028842"/>
                <a:gd name="connsiteX20" fmla="*/ 714729 w 1519998"/>
                <a:gd name="connsiteY20" fmla="*/ 382504 h 1028842"/>
                <a:gd name="connsiteX21" fmla="*/ 678087 w 1519998"/>
                <a:gd name="connsiteY21" fmla="*/ 346560 h 1028842"/>
                <a:gd name="connsiteX22" fmla="*/ 668098 w 1519998"/>
                <a:gd name="connsiteY22" fmla="*/ 328826 h 1028842"/>
                <a:gd name="connsiteX23" fmla="*/ 678350 w 1519998"/>
                <a:gd name="connsiteY23" fmla="*/ 325515 h 1028842"/>
                <a:gd name="connsiteX24" fmla="*/ 1402569 w 1519998"/>
                <a:gd name="connsiteY24" fmla="*/ 138699 h 1028842"/>
                <a:gd name="connsiteX25" fmla="*/ 72174 w 1519998"/>
                <a:gd name="connsiteY25" fmla="*/ 954262 h 1028842"/>
                <a:gd name="connsiteX26" fmla="*/ 1402569 w 1519998"/>
                <a:gd name="connsiteY26" fmla="*/ 954262 h 1028842"/>
                <a:gd name="connsiteX27" fmla="*/ 1402569 w 1519998"/>
                <a:gd name="connsiteY27" fmla="*/ 138699 h 1028842"/>
                <a:gd name="connsiteX28" fmla="*/ 0 w 1519998"/>
                <a:gd name="connsiteY28" fmla="*/ 963222 h 1028842"/>
                <a:gd name="connsiteX29" fmla="*/ 1416339 w 1519998"/>
                <a:gd name="connsiteY29" fmla="*/ 66525 h 1028842"/>
                <a:gd name="connsiteX30" fmla="*/ 1419830 w 1519998"/>
                <a:gd name="connsiteY30" fmla="*/ 73512 h 1028842"/>
                <a:gd name="connsiteX31" fmla="*/ 1481959 w 1519998"/>
                <a:gd name="connsiteY31" fmla="*/ 132146 h 1028842"/>
                <a:gd name="connsiteX32" fmla="*/ 1481959 w 1519998"/>
                <a:gd name="connsiteY32" fmla="*/ 963222 h 1028842"/>
                <a:gd name="connsiteX33" fmla="*/ 1416339 w 1519998"/>
                <a:gd name="connsiteY33" fmla="*/ 1028842 h 1028842"/>
                <a:gd name="connsiteX34" fmla="*/ 65620 w 1519998"/>
                <a:gd name="connsiteY34" fmla="*/ 1028842 h 1028842"/>
                <a:gd name="connsiteX35" fmla="*/ 0 w 1519998"/>
                <a:gd name="connsiteY35" fmla="*/ 963222 h 1028842"/>
                <a:gd name="connsiteX0" fmla="*/ 678350 w 1520000"/>
                <a:gd name="connsiteY0" fmla="*/ 367198 h 1070525"/>
                <a:gd name="connsiteX1" fmla="*/ 688805 w 1520000"/>
                <a:gd name="connsiteY1" fmla="*/ 367432 h 1070525"/>
                <a:gd name="connsiteX2" fmla="*/ 971484 w 1520000"/>
                <a:gd name="connsiteY2" fmla="*/ 367432 h 1070525"/>
                <a:gd name="connsiteX3" fmla="*/ 1006067 w 1520000"/>
                <a:gd name="connsiteY3" fmla="*/ 400513 h 1070525"/>
                <a:gd name="connsiteX4" fmla="*/ 1006067 w 1520000"/>
                <a:gd name="connsiteY4" fmla="*/ 684696 h 1070525"/>
                <a:gd name="connsiteX5" fmla="*/ 1004269 w 1520000"/>
                <a:gd name="connsiteY5" fmla="*/ 703393 h 1070525"/>
                <a:gd name="connsiteX6" fmla="*/ 996845 w 1520000"/>
                <a:gd name="connsiteY6" fmla="*/ 704911 h 1070525"/>
                <a:gd name="connsiteX7" fmla="*/ 946477 w 1520000"/>
                <a:gd name="connsiteY7" fmla="*/ 655049 h 1070525"/>
                <a:gd name="connsiteX8" fmla="*/ 903068 w 1520000"/>
                <a:gd name="connsiteY8" fmla="*/ 655267 h 1070525"/>
                <a:gd name="connsiteX9" fmla="*/ 711725 w 1520000"/>
                <a:gd name="connsiteY9" fmla="*/ 848552 h 1070525"/>
                <a:gd name="connsiteX10" fmla="*/ 661739 w 1520000"/>
                <a:gd name="connsiteY10" fmla="*/ 827540 h 1070525"/>
                <a:gd name="connsiteX11" fmla="*/ 535436 w 1520000"/>
                <a:gd name="connsiteY11" fmla="*/ 701236 h 1070525"/>
                <a:gd name="connsiteX12" fmla="*/ 520710 w 1520000"/>
                <a:gd name="connsiteY12" fmla="*/ 665810 h 1070525"/>
                <a:gd name="connsiteX13" fmla="*/ 597984 w 1520000"/>
                <a:gd name="connsiteY13" fmla="*/ 587034 h 1070525"/>
                <a:gd name="connsiteX14" fmla="*/ 709855 w 1520000"/>
                <a:gd name="connsiteY14" fmla="*/ 477196 h 1070525"/>
                <a:gd name="connsiteX15" fmla="*/ 720565 w 1520000"/>
                <a:gd name="connsiteY15" fmla="*/ 459263 h 1070525"/>
                <a:gd name="connsiteX16" fmla="*/ 722022 w 1520000"/>
                <a:gd name="connsiteY16" fmla="*/ 456125 h 1070525"/>
                <a:gd name="connsiteX17" fmla="*/ 723721 w 1520000"/>
                <a:gd name="connsiteY17" fmla="*/ 446926 h 1070525"/>
                <a:gd name="connsiteX18" fmla="*/ 723262 w 1520000"/>
                <a:gd name="connsiteY18" fmla="*/ 442546 h 1070525"/>
                <a:gd name="connsiteX19" fmla="*/ 723111 w 1520000"/>
                <a:gd name="connsiteY19" fmla="*/ 441810 h 1070525"/>
                <a:gd name="connsiteX20" fmla="*/ 714729 w 1520000"/>
                <a:gd name="connsiteY20" fmla="*/ 424187 h 1070525"/>
                <a:gd name="connsiteX21" fmla="*/ 678087 w 1520000"/>
                <a:gd name="connsiteY21" fmla="*/ 388243 h 1070525"/>
                <a:gd name="connsiteX22" fmla="*/ 668098 w 1520000"/>
                <a:gd name="connsiteY22" fmla="*/ 370509 h 1070525"/>
                <a:gd name="connsiteX23" fmla="*/ 678350 w 1520000"/>
                <a:gd name="connsiteY23" fmla="*/ 367198 h 1070525"/>
                <a:gd name="connsiteX24" fmla="*/ 1402569 w 1520000"/>
                <a:gd name="connsiteY24" fmla="*/ 180382 h 1070525"/>
                <a:gd name="connsiteX25" fmla="*/ 72174 w 1520000"/>
                <a:gd name="connsiteY25" fmla="*/ 995945 h 1070525"/>
                <a:gd name="connsiteX26" fmla="*/ 1402569 w 1520000"/>
                <a:gd name="connsiteY26" fmla="*/ 995945 h 1070525"/>
                <a:gd name="connsiteX27" fmla="*/ 1402569 w 1520000"/>
                <a:gd name="connsiteY27" fmla="*/ 180382 h 1070525"/>
                <a:gd name="connsiteX28" fmla="*/ 0 w 1520000"/>
                <a:gd name="connsiteY28" fmla="*/ 1004905 h 1070525"/>
                <a:gd name="connsiteX29" fmla="*/ 1416339 w 1520000"/>
                <a:gd name="connsiteY29" fmla="*/ 108208 h 1070525"/>
                <a:gd name="connsiteX30" fmla="*/ 1419830 w 1520000"/>
                <a:gd name="connsiteY30" fmla="*/ 115195 h 1070525"/>
                <a:gd name="connsiteX31" fmla="*/ 1481959 w 1520000"/>
                <a:gd name="connsiteY31" fmla="*/ 1004905 h 1070525"/>
                <a:gd name="connsiteX32" fmla="*/ 1416339 w 1520000"/>
                <a:gd name="connsiteY32" fmla="*/ 1070525 h 1070525"/>
                <a:gd name="connsiteX33" fmla="*/ 65620 w 1520000"/>
                <a:gd name="connsiteY33" fmla="*/ 1070525 h 1070525"/>
                <a:gd name="connsiteX34" fmla="*/ 0 w 1520000"/>
                <a:gd name="connsiteY34" fmla="*/ 1004905 h 1070525"/>
                <a:gd name="connsiteX0" fmla="*/ 678350 w 1546152"/>
                <a:gd name="connsiteY0" fmla="*/ 258990 h 962317"/>
                <a:gd name="connsiteX1" fmla="*/ 688805 w 1546152"/>
                <a:gd name="connsiteY1" fmla="*/ 259224 h 962317"/>
                <a:gd name="connsiteX2" fmla="*/ 971484 w 1546152"/>
                <a:gd name="connsiteY2" fmla="*/ 259224 h 962317"/>
                <a:gd name="connsiteX3" fmla="*/ 1006067 w 1546152"/>
                <a:gd name="connsiteY3" fmla="*/ 292305 h 962317"/>
                <a:gd name="connsiteX4" fmla="*/ 1006067 w 1546152"/>
                <a:gd name="connsiteY4" fmla="*/ 576488 h 962317"/>
                <a:gd name="connsiteX5" fmla="*/ 1004269 w 1546152"/>
                <a:gd name="connsiteY5" fmla="*/ 595185 h 962317"/>
                <a:gd name="connsiteX6" fmla="*/ 996845 w 1546152"/>
                <a:gd name="connsiteY6" fmla="*/ 596703 h 962317"/>
                <a:gd name="connsiteX7" fmla="*/ 946477 w 1546152"/>
                <a:gd name="connsiteY7" fmla="*/ 546841 h 962317"/>
                <a:gd name="connsiteX8" fmla="*/ 903068 w 1546152"/>
                <a:gd name="connsiteY8" fmla="*/ 547059 h 962317"/>
                <a:gd name="connsiteX9" fmla="*/ 711725 w 1546152"/>
                <a:gd name="connsiteY9" fmla="*/ 740344 h 962317"/>
                <a:gd name="connsiteX10" fmla="*/ 661739 w 1546152"/>
                <a:gd name="connsiteY10" fmla="*/ 719332 h 962317"/>
                <a:gd name="connsiteX11" fmla="*/ 535436 w 1546152"/>
                <a:gd name="connsiteY11" fmla="*/ 593028 h 962317"/>
                <a:gd name="connsiteX12" fmla="*/ 520710 w 1546152"/>
                <a:gd name="connsiteY12" fmla="*/ 557602 h 962317"/>
                <a:gd name="connsiteX13" fmla="*/ 597984 w 1546152"/>
                <a:gd name="connsiteY13" fmla="*/ 478826 h 962317"/>
                <a:gd name="connsiteX14" fmla="*/ 709855 w 1546152"/>
                <a:gd name="connsiteY14" fmla="*/ 368988 h 962317"/>
                <a:gd name="connsiteX15" fmla="*/ 720565 w 1546152"/>
                <a:gd name="connsiteY15" fmla="*/ 351055 h 962317"/>
                <a:gd name="connsiteX16" fmla="*/ 722022 w 1546152"/>
                <a:gd name="connsiteY16" fmla="*/ 347917 h 962317"/>
                <a:gd name="connsiteX17" fmla="*/ 723721 w 1546152"/>
                <a:gd name="connsiteY17" fmla="*/ 338718 h 962317"/>
                <a:gd name="connsiteX18" fmla="*/ 723262 w 1546152"/>
                <a:gd name="connsiteY18" fmla="*/ 334338 h 962317"/>
                <a:gd name="connsiteX19" fmla="*/ 723111 w 1546152"/>
                <a:gd name="connsiteY19" fmla="*/ 333602 h 962317"/>
                <a:gd name="connsiteX20" fmla="*/ 714729 w 1546152"/>
                <a:gd name="connsiteY20" fmla="*/ 315979 h 962317"/>
                <a:gd name="connsiteX21" fmla="*/ 678087 w 1546152"/>
                <a:gd name="connsiteY21" fmla="*/ 280035 h 962317"/>
                <a:gd name="connsiteX22" fmla="*/ 668098 w 1546152"/>
                <a:gd name="connsiteY22" fmla="*/ 262301 h 962317"/>
                <a:gd name="connsiteX23" fmla="*/ 678350 w 1546152"/>
                <a:gd name="connsiteY23" fmla="*/ 258990 h 962317"/>
                <a:gd name="connsiteX24" fmla="*/ 1402569 w 1546152"/>
                <a:gd name="connsiteY24" fmla="*/ 72174 h 962317"/>
                <a:gd name="connsiteX25" fmla="*/ 72174 w 1546152"/>
                <a:gd name="connsiteY25" fmla="*/ 887737 h 962317"/>
                <a:gd name="connsiteX26" fmla="*/ 1402569 w 1546152"/>
                <a:gd name="connsiteY26" fmla="*/ 887737 h 962317"/>
                <a:gd name="connsiteX27" fmla="*/ 1402569 w 1546152"/>
                <a:gd name="connsiteY27" fmla="*/ 72174 h 962317"/>
                <a:gd name="connsiteX28" fmla="*/ 0 w 1546152"/>
                <a:gd name="connsiteY28" fmla="*/ 896697 h 962317"/>
                <a:gd name="connsiteX29" fmla="*/ 1416339 w 1546152"/>
                <a:gd name="connsiteY29" fmla="*/ 0 h 962317"/>
                <a:gd name="connsiteX30" fmla="*/ 1481959 w 1546152"/>
                <a:gd name="connsiteY30" fmla="*/ 896697 h 962317"/>
                <a:gd name="connsiteX31" fmla="*/ 1416339 w 1546152"/>
                <a:gd name="connsiteY31" fmla="*/ 962317 h 962317"/>
                <a:gd name="connsiteX32" fmla="*/ 65620 w 1546152"/>
                <a:gd name="connsiteY32" fmla="*/ 962317 h 962317"/>
                <a:gd name="connsiteX33" fmla="*/ 0 w 1546152"/>
                <a:gd name="connsiteY33" fmla="*/ 896697 h 962317"/>
                <a:gd name="connsiteX0" fmla="*/ 678350 w 1481959"/>
                <a:gd name="connsiteY0" fmla="*/ 186815 h 890142"/>
                <a:gd name="connsiteX1" fmla="*/ 688805 w 1481959"/>
                <a:gd name="connsiteY1" fmla="*/ 187049 h 890142"/>
                <a:gd name="connsiteX2" fmla="*/ 971484 w 1481959"/>
                <a:gd name="connsiteY2" fmla="*/ 187049 h 890142"/>
                <a:gd name="connsiteX3" fmla="*/ 1006067 w 1481959"/>
                <a:gd name="connsiteY3" fmla="*/ 220130 h 890142"/>
                <a:gd name="connsiteX4" fmla="*/ 1006067 w 1481959"/>
                <a:gd name="connsiteY4" fmla="*/ 504313 h 890142"/>
                <a:gd name="connsiteX5" fmla="*/ 1004269 w 1481959"/>
                <a:gd name="connsiteY5" fmla="*/ 523010 h 890142"/>
                <a:gd name="connsiteX6" fmla="*/ 996845 w 1481959"/>
                <a:gd name="connsiteY6" fmla="*/ 524528 h 890142"/>
                <a:gd name="connsiteX7" fmla="*/ 946477 w 1481959"/>
                <a:gd name="connsiteY7" fmla="*/ 474666 h 890142"/>
                <a:gd name="connsiteX8" fmla="*/ 903068 w 1481959"/>
                <a:gd name="connsiteY8" fmla="*/ 474884 h 890142"/>
                <a:gd name="connsiteX9" fmla="*/ 711725 w 1481959"/>
                <a:gd name="connsiteY9" fmla="*/ 668169 h 890142"/>
                <a:gd name="connsiteX10" fmla="*/ 661739 w 1481959"/>
                <a:gd name="connsiteY10" fmla="*/ 647157 h 890142"/>
                <a:gd name="connsiteX11" fmla="*/ 535436 w 1481959"/>
                <a:gd name="connsiteY11" fmla="*/ 520853 h 890142"/>
                <a:gd name="connsiteX12" fmla="*/ 520710 w 1481959"/>
                <a:gd name="connsiteY12" fmla="*/ 485427 h 890142"/>
                <a:gd name="connsiteX13" fmla="*/ 597984 w 1481959"/>
                <a:gd name="connsiteY13" fmla="*/ 406651 h 890142"/>
                <a:gd name="connsiteX14" fmla="*/ 709855 w 1481959"/>
                <a:gd name="connsiteY14" fmla="*/ 296813 h 890142"/>
                <a:gd name="connsiteX15" fmla="*/ 720565 w 1481959"/>
                <a:gd name="connsiteY15" fmla="*/ 278880 h 890142"/>
                <a:gd name="connsiteX16" fmla="*/ 722022 w 1481959"/>
                <a:gd name="connsiteY16" fmla="*/ 275742 h 890142"/>
                <a:gd name="connsiteX17" fmla="*/ 723721 w 1481959"/>
                <a:gd name="connsiteY17" fmla="*/ 266543 h 890142"/>
                <a:gd name="connsiteX18" fmla="*/ 723262 w 1481959"/>
                <a:gd name="connsiteY18" fmla="*/ 262163 h 890142"/>
                <a:gd name="connsiteX19" fmla="*/ 723111 w 1481959"/>
                <a:gd name="connsiteY19" fmla="*/ 261427 h 890142"/>
                <a:gd name="connsiteX20" fmla="*/ 714729 w 1481959"/>
                <a:gd name="connsiteY20" fmla="*/ 243804 h 890142"/>
                <a:gd name="connsiteX21" fmla="*/ 678087 w 1481959"/>
                <a:gd name="connsiteY21" fmla="*/ 207860 h 890142"/>
                <a:gd name="connsiteX22" fmla="*/ 668098 w 1481959"/>
                <a:gd name="connsiteY22" fmla="*/ 190126 h 890142"/>
                <a:gd name="connsiteX23" fmla="*/ 678350 w 1481959"/>
                <a:gd name="connsiteY23" fmla="*/ 186815 h 890142"/>
                <a:gd name="connsiteX24" fmla="*/ 1402569 w 1481959"/>
                <a:gd name="connsiteY24" fmla="*/ -1 h 890142"/>
                <a:gd name="connsiteX25" fmla="*/ 72174 w 1481959"/>
                <a:gd name="connsiteY25" fmla="*/ 815562 h 890142"/>
                <a:gd name="connsiteX26" fmla="*/ 1402569 w 1481959"/>
                <a:gd name="connsiteY26" fmla="*/ 815562 h 890142"/>
                <a:gd name="connsiteX27" fmla="*/ 1402569 w 1481959"/>
                <a:gd name="connsiteY27" fmla="*/ -1 h 890142"/>
                <a:gd name="connsiteX28" fmla="*/ 0 w 1481959"/>
                <a:gd name="connsiteY28" fmla="*/ 824522 h 890142"/>
                <a:gd name="connsiteX29" fmla="*/ 1481959 w 1481959"/>
                <a:gd name="connsiteY29" fmla="*/ 824522 h 890142"/>
                <a:gd name="connsiteX30" fmla="*/ 1416339 w 1481959"/>
                <a:gd name="connsiteY30" fmla="*/ 890142 h 890142"/>
                <a:gd name="connsiteX31" fmla="*/ 65620 w 1481959"/>
                <a:gd name="connsiteY31" fmla="*/ 890142 h 890142"/>
                <a:gd name="connsiteX32" fmla="*/ 0 w 1481959"/>
                <a:gd name="connsiteY32" fmla="*/ 824522 h 890142"/>
                <a:gd name="connsiteX0" fmla="*/ 678350 w 1481959"/>
                <a:gd name="connsiteY0" fmla="*/ 55 h 703382"/>
                <a:gd name="connsiteX1" fmla="*/ 688805 w 1481959"/>
                <a:gd name="connsiteY1" fmla="*/ 289 h 703382"/>
                <a:gd name="connsiteX2" fmla="*/ 971484 w 1481959"/>
                <a:gd name="connsiteY2" fmla="*/ 289 h 703382"/>
                <a:gd name="connsiteX3" fmla="*/ 1006067 w 1481959"/>
                <a:gd name="connsiteY3" fmla="*/ 33370 h 703382"/>
                <a:gd name="connsiteX4" fmla="*/ 1006067 w 1481959"/>
                <a:gd name="connsiteY4" fmla="*/ 317553 h 703382"/>
                <a:gd name="connsiteX5" fmla="*/ 1004269 w 1481959"/>
                <a:gd name="connsiteY5" fmla="*/ 336250 h 703382"/>
                <a:gd name="connsiteX6" fmla="*/ 996845 w 1481959"/>
                <a:gd name="connsiteY6" fmla="*/ 337768 h 703382"/>
                <a:gd name="connsiteX7" fmla="*/ 946477 w 1481959"/>
                <a:gd name="connsiteY7" fmla="*/ 287906 h 703382"/>
                <a:gd name="connsiteX8" fmla="*/ 903068 w 1481959"/>
                <a:gd name="connsiteY8" fmla="*/ 288124 h 703382"/>
                <a:gd name="connsiteX9" fmla="*/ 711725 w 1481959"/>
                <a:gd name="connsiteY9" fmla="*/ 481409 h 703382"/>
                <a:gd name="connsiteX10" fmla="*/ 661739 w 1481959"/>
                <a:gd name="connsiteY10" fmla="*/ 460397 h 703382"/>
                <a:gd name="connsiteX11" fmla="*/ 535436 w 1481959"/>
                <a:gd name="connsiteY11" fmla="*/ 334093 h 703382"/>
                <a:gd name="connsiteX12" fmla="*/ 520710 w 1481959"/>
                <a:gd name="connsiteY12" fmla="*/ 298667 h 703382"/>
                <a:gd name="connsiteX13" fmla="*/ 597984 w 1481959"/>
                <a:gd name="connsiteY13" fmla="*/ 219891 h 703382"/>
                <a:gd name="connsiteX14" fmla="*/ 709855 w 1481959"/>
                <a:gd name="connsiteY14" fmla="*/ 110053 h 703382"/>
                <a:gd name="connsiteX15" fmla="*/ 720565 w 1481959"/>
                <a:gd name="connsiteY15" fmla="*/ 92120 h 703382"/>
                <a:gd name="connsiteX16" fmla="*/ 722022 w 1481959"/>
                <a:gd name="connsiteY16" fmla="*/ 88982 h 703382"/>
                <a:gd name="connsiteX17" fmla="*/ 723721 w 1481959"/>
                <a:gd name="connsiteY17" fmla="*/ 79783 h 703382"/>
                <a:gd name="connsiteX18" fmla="*/ 723262 w 1481959"/>
                <a:gd name="connsiteY18" fmla="*/ 75403 h 703382"/>
                <a:gd name="connsiteX19" fmla="*/ 723111 w 1481959"/>
                <a:gd name="connsiteY19" fmla="*/ 74667 h 703382"/>
                <a:gd name="connsiteX20" fmla="*/ 714729 w 1481959"/>
                <a:gd name="connsiteY20" fmla="*/ 57044 h 703382"/>
                <a:gd name="connsiteX21" fmla="*/ 678087 w 1481959"/>
                <a:gd name="connsiteY21" fmla="*/ 21100 h 703382"/>
                <a:gd name="connsiteX22" fmla="*/ 668098 w 1481959"/>
                <a:gd name="connsiteY22" fmla="*/ 3366 h 703382"/>
                <a:gd name="connsiteX23" fmla="*/ 678350 w 1481959"/>
                <a:gd name="connsiteY23" fmla="*/ 55 h 703382"/>
                <a:gd name="connsiteX24" fmla="*/ 1402569 w 1481959"/>
                <a:gd name="connsiteY24" fmla="*/ 628802 h 703382"/>
                <a:gd name="connsiteX25" fmla="*/ 72174 w 1481959"/>
                <a:gd name="connsiteY25" fmla="*/ 628802 h 703382"/>
                <a:gd name="connsiteX26" fmla="*/ 1402569 w 1481959"/>
                <a:gd name="connsiteY26" fmla="*/ 628802 h 703382"/>
                <a:gd name="connsiteX27" fmla="*/ 0 w 1481959"/>
                <a:gd name="connsiteY27" fmla="*/ 637762 h 703382"/>
                <a:gd name="connsiteX28" fmla="*/ 1481959 w 1481959"/>
                <a:gd name="connsiteY28" fmla="*/ 637762 h 703382"/>
                <a:gd name="connsiteX29" fmla="*/ 1416339 w 1481959"/>
                <a:gd name="connsiteY29" fmla="*/ 703382 h 703382"/>
                <a:gd name="connsiteX30" fmla="*/ 65620 w 1481959"/>
                <a:gd name="connsiteY30" fmla="*/ 703382 h 703382"/>
                <a:gd name="connsiteX31" fmla="*/ 0 w 1481959"/>
                <a:gd name="connsiteY31" fmla="*/ 637762 h 703382"/>
                <a:gd name="connsiteX0" fmla="*/ 678350 w 1481959"/>
                <a:gd name="connsiteY0" fmla="*/ 55 h 703382"/>
                <a:gd name="connsiteX1" fmla="*/ 688805 w 1481959"/>
                <a:gd name="connsiteY1" fmla="*/ 289 h 703382"/>
                <a:gd name="connsiteX2" fmla="*/ 971484 w 1481959"/>
                <a:gd name="connsiteY2" fmla="*/ 289 h 703382"/>
                <a:gd name="connsiteX3" fmla="*/ 1006067 w 1481959"/>
                <a:gd name="connsiteY3" fmla="*/ 33370 h 703382"/>
                <a:gd name="connsiteX4" fmla="*/ 1006067 w 1481959"/>
                <a:gd name="connsiteY4" fmla="*/ 317553 h 703382"/>
                <a:gd name="connsiteX5" fmla="*/ 1004269 w 1481959"/>
                <a:gd name="connsiteY5" fmla="*/ 336250 h 703382"/>
                <a:gd name="connsiteX6" fmla="*/ 996845 w 1481959"/>
                <a:gd name="connsiteY6" fmla="*/ 337768 h 703382"/>
                <a:gd name="connsiteX7" fmla="*/ 946477 w 1481959"/>
                <a:gd name="connsiteY7" fmla="*/ 287906 h 703382"/>
                <a:gd name="connsiteX8" fmla="*/ 903068 w 1481959"/>
                <a:gd name="connsiteY8" fmla="*/ 288124 h 703382"/>
                <a:gd name="connsiteX9" fmla="*/ 711725 w 1481959"/>
                <a:gd name="connsiteY9" fmla="*/ 481409 h 703382"/>
                <a:gd name="connsiteX10" fmla="*/ 661739 w 1481959"/>
                <a:gd name="connsiteY10" fmla="*/ 460397 h 703382"/>
                <a:gd name="connsiteX11" fmla="*/ 535436 w 1481959"/>
                <a:gd name="connsiteY11" fmla="*/ 334093 h 703382"/>
                <a:gd name="connsiteX12" fmla="*/ 520710 w 1481959"/>
                <a:gd name="connsiteY12" fmla="*/ 298667 h 703382"/>
                <a:gd name="connsiteX13" fmla="*/ 597984 w 1481959"/>
                <a:gd name="connsiteY13" fmla="*/ 219891 h 703382"/>
                <a:gd name="connsiteX14" fmla="*/ 709855 w 1481959"/>
                <a:gd name="connsiteY14" fmla="*/ 110053 h 703382"/>
                <a:gd name="connsiteX15" fmla="*/ 720565 w 1481959"/>
                <a:gd name="connsiteY15" fmla="*/ 92120 h 703382"/>
                <a:gd name="connsiteX16" fmla="*/ 722022 w 1481959"/>
                <a:gd name="connsiteY16" fmla="*/ 88982 h 703382"/>
                <a:gd name="connsiteX17" fmla="*/ 723721 w 1481959"/>
                <a:gd name="connsiteY17" fmla="*/ 79783 h 703382"/>
                <a:gd name="connsiteX18" fmla="*/ 723262 w 1481959"/>
                <a:gd name="connsiteY18" fmla="*/ 75403 h 703382"/>
                <a:gd name="connsiteX19" fmla="*/ 723111 w 1481959"/>
                <a:gd name="connsiteY19" fmla="*/ 74667 h 703382"/>
                <a:gd name="connsiteX20" fmla="*/ 714729 w 1481959"/>
                <a:gd name="connsiteY20" fmla="*/ 57044 h 703382"/>
                <a:gd name="connsiteX21" fmla="*/ 678087 w 1481959"/>
                <a:gd name="connsiteY21" fmla="*/ 21100 h 703382"/>
                <a:gd name="connsiteX22" fmla="*/ 668098 w 1481959"/>
                <a:gd name="connsiteY22" fmla="*/ 3366 h 703382"/>
                <a:gd name="connsiteX23" fmla="*/ 678350 w 1481959"/>
                <a:gd name="connsiteY23" fmla="*/ 55 h 703382"/>
                <a:gd name="connsiteX24" fmla="*/ 0 w 1481959"/>
                <a:gd name="connsiteY24" fmla="*/ 637762 h 703382"/>
                <a:gd name="connsiteX25" fmla="*/ 1481959 w 1481959"/>
                <a:gd name="connsiteY25" fmla="*/ 637762 h 703382"/>
                <a:gd name="connsiteX26" fmla="*/ 1416339 w 1481959"/>
                <a:gd name="connsiteY26" fmla="*/ 703382 h 703382"/>
                <a:gd name="connsiteX27" fmla="*/ 65620 w 1481959"/>
                <a:gd name="connsiteY27" fmla="*/ 703382 h 703382"/>
                <a:gd name="connsiteX28" fmla="*/ 0 w 1481959"/>
                <a:gd name="connsiteY28" fmla="*/ 637762 h 703382"/>
                <a:gd name="connsiteX0" fmla="*/ 678350 w 1481959"/>
                <a:gd name="connsiteY0" fmla="*/ 55 h 703382"/>
                <a:gd name="connsiteX1" fmla="*/ 688805 w 1481959"/>
                <a:gd name="connsiteY1" fmla="*/ 289 h 703382"/>
                <a:gd name="connsiteX2" fmla="*/ 971484 w 1481959"/>
                <a:gd name="connsiteY2" fmla="*/ 289 h 703382"/>
                <a:gd name="connsiteX3" fmla="*/ 1006067 w 1481959"/>
                <a:gd name="connsiteY3" fmla="*/ 33370 h 703382"/>
                <a:gd name="connsiteX4" fmla="*/ 1006067 w 1481959"/>
                <a:gd name="connsiteY4" fmla="*/ 317553 h 703382"/>
                <a:gd name="connsiteX5" fmla="*/ 1004269 w 1481959"/>
                <a:gd name="connsiteY5" fmla="*/ 336250 h 703382"/>
                <a:gd name="connsiteX6" fmla="*/ 996845 w 1481959"/>
                <a:gd name="connsiteY6" fmla="*/ 337768 h 703382"/>
                <a:gd name="connsiteX7" fmla="*/ 946477 w 1481959"/>
                <a:gd name="connsiteY7" fmla="*/ 287906 h 703382"/>
                <a:gd name="connsiteX8" fmla="*/ 903068 w 1481959"/>
                <a:gd name="connsiteY8" fmla="*/ 288124 h 703382"/>
                <a:gd name="connsiteX9" fmla="*/ 711725 w 1481959"/>
                <a:gd name="connsiteY9" fmla="*/ 481409 h 703382"/>
                <a:gd name="connsiteX10" fmla="*/ 661739 w 1481959"/>
                <a:gd name="connsiteY10" fmla="*/ 460397 h 703382"/>
                <a:gd name="connsiteX11" fmla="*/ 535436 w 1481959"/>
                <a:gd name="connsiteY11" fmla="*/ 334093 h 703382"/>
                <a:gd name="connsiteX12" fmla="*/ 520710 w 1481959"/>
                <a:gd name="connsiteY12" fmla="*/ 298667 h 703382"/>
                <a:gd name="connsiteX13" fmla="*/ 597984 w 1481959"/>
                <a:gd name="connsiteY13" fmla="*/ 219891 h 703382"/>
                <a:gd name="connsiteX14" fmla="*/ 709855 w 1481959"/>
                <a:gd name="connsiteY14" fmla="*/ 110053 h 703382"/>
                <a:gd name="connsiteX15" fmla="*/ 720565 w 1481959"/>
                <a:gd name="connsiteY15" fmla="*/ 92120 h 703382"/>
                <a:gd name="connsiteX16" fmla="*/ 722022 w 1481959"/>
                <a:gd name="connsiteY16" fmla="*/ 88982 h 703382"/>
                <a:gd name="connsiteX17" fmla="*/ 723721 w 1481959"/>
                <a:gd name="connsiteY17" fmla="*/ 79783 h 703382"/>
                <a:gd name="connsiteX18" fmla="*/ 723262 w 1481959"/>
                <a:gd name="connsiteY18" fmla="*/ 75403 h 703382"/>
                <a:gd name="connsiteX19" fmla="*/ 723111 w 1481959"/>
                <a:gd name="connsiteY19" fmla="*/ 74667 h 703382"/>
                <a:gd name="connsiteX20" fmla="*/ 714729 w 1481959"/>
                <a:gd name="connsiteY20" fmla="*/ 57044 h 703382"/>
                <a:gd name="connsiteX21" fmla="*/ 678087 w 1481959"/>
                <a:gd name="connsiteY21" fmla="*/ 21100 h 703382"/>
                <a:gd name="connsiteX22" fmla="*/ 668098 w 1481959"/>
                <a:gd name="connsiteY22" fmla="*/ 3366 h 703382"/>
                <a:gd name="connsiteX23" fmla="*/ 678350 w 1481959"/>
                <a:gd name="connsiteY23" fmla="*/ 55 h 703382"/>
                <a:gd name="connsiteX24" fmla="*/ 0 w 1481959"/>
                <a:gd name="connsiteY24" fmla="*/ 637762 h 703382"/>
                <a:gd name="connsiteX25" fmla="*/ 1481959 w 1481959"/>
                <a:gd name="connsiteY25" fmla="*/ 637762 h 703382"/>
                <a:gd name="connsiteX26" fmla="*/ 1416339 w 1481959"/>
                <a:gd name="connsiteY26" fmla="*/ 703382 h 703382"/>
                <a:gd name="connsiteX27" fmla="*/ 0 w 1481959"/>
                <a:gd name="connsiteY27" fmla="*/ 637762 h 703382"/>
                <a:gd name="connsiteX0" fmla="*/ 158632 w 962241"/>
                <a:gd name="connsiteY0" fmla="*/ 55 h 703382"/>
                <a:gd name="connsiteX1" fmla="*/ 169087 w 962241"/>
                <a:gd name="connsiteY1" fmla="*/ 289 h 703382"/>
                <a:gd name="connsiteX2" fmla="*/ 451766 w 962241"/>
                <a:gd name="connsiteY2" fmla="*/ 289 h 703382"/>
                <a:gd name="connsiteX3" fmla="*/ 486349 w 962241"/>
                <a:gd name="connsiteY3" fmla="*/ 33370 h 703382"/>
                <a:gd name="connsiteX4" fmla="*/ 486349 w 962241"/>
                <a:gd name="connsiteY4" fmla="*/ 317553 h 703382"/>
                <a:gd name="connsiteX5" fmla="*/ 484551 w 962241"/>
                <a:gd name="connsiteY5" fmla="*/ 336250 h 703382"/>
                <a:gd name="connsiteX6" fmla="*/ 477127 w 962241"/>
                <a:gd name="connsiteY6" fmla="*/ 337768 h 703382"/>
                <a:gd name="connsiteX7" fmla="*/ 426759 w 962241"/>
                <a:gd name="connsiteY7" fmla="*/ 287906 h 703382"/>
                <a:gd name="connsiteX8" fmla="*/ 383350 w 962241"/>
                <a:gd name="connsiteY8" fmla="*/ 288124 h 703382"/>
                <a:gd name="connsiteX9" fmla="*/ 192007 w 962241"/>
                <a:gd name="connsiteY9" fmla="*/ 481409 h 703382"/>
                <a:gd name="connsiteX10" fmla="*/ 142021 w 962241"/>
                <a:gd name="connsiteY10" fmla="*/ 460397 h 703382"/>
                <a:gd name="connsiteX11" fmla="*/ 15718 w 962241"/>
                <a:gd name="connsiteY11" fmla="*/ 334093 h 703382"/>
                <a:gd name="connsiteX12" fmla="*/ 992 w 962241"/>
                <a:gd name="connsiteY12" fmla="*/ 298667 h 703382"/>
                <a:gd name="connsiteX13" fmla="*/ 78266 w 962241"/>
                <a:gd name="connsiteY13" fmla="*/ 219891 h 703382"/>
                <a:gd name="connsiteX14" fmla="*/ 190137 w 962241"/>
                <a:gd name="connsiteY14" fmla="*/ 110053 h 703382"/>
                <a:gd name="connsiteX15" fmla="*/ 200847 w 962241"/>
                <a:gd name="connsiteY15" fmla="*/ 92120 h 703382"/>
                <a:gd name="connsiteX16" fmla="*/ 202304 w 962241"/>
                <a:gd name="connsiteY16" fmla="*/ 88982 h 703382"/>
                <a:gd name="connsiteX17" fmla="*/ 204003 w 962241"/>
                <a:gd name="connsiteY17" fmla="*/ 79783 h 703382"/>
                <a:gd name="connsiteX18" fmla="*/ 203544 w 962241"/>
                <a:gd name="connsiteY18" fmla="*/ 75403 h 703382"/>
                <a:gd name="connsiteX19" fmla="*/ 203393 w 962241"/>
                <a:gd name="connsiteY19" fmla="*/ 74667 h 703382"/>
                <a:gd name="connsiteX20" fmla="*/ 195011 w 962241"/>
                <a:gd name="connsiteY20" fmla="*/ 57044 h 703382"/>
                <a:gd name="connsiteX21" fmla="*/ 158369 w 962241"/>
                <a:gd name="connsiteY21" fmla="*/ 21100 h 703382"/>
                <a:gd name="connsiteX22" fmla="*/ 148380 w 962241"/>
                <a:gd name="connsiteY22" fmla="*/ 3366 h 703382"/>
                <a:gd name="connsiteX23" fmla="*/ 158632 w 962241"/>
                <a:gd name="connsiteY23" fmla="*/ 55 h 703382"/>
                <a:gd name="connsiteX24" fmla="*/ 896621 w 962241"/>
                <a:gd name="connsiteY24" fmla="*/ 703382 h 703382"/>
                <a:gd name="connsiteX25" fmla="*/ 962241 w 962241"/>
                <a:gd name="connsiteY25" fmla="*/ 637762 h 703382"/>
                <a:gd name="connsiteX26" fmla="*/ 896621 w 962241"/>
                <a:gd name="connsiteY26" fmla="*/ 703382 h 703382"/>
                <a:gd name="connsiteX0" fmla="*/ 158632 w 486646"/>
                <a:gd name="connsiteY0" fmla="*/ 55 h 485065"/>
                <a:gd name="connsiteX1" fmla="*/ 169087 w 486646"/>
                <a:gd name="connsiteY1" fmla="*/ 289 h 485065"/>
                <a:gd name="connsiteX2" fmla="*/ 451766 w 486646"/>
                <a:gd name="connsiteY2" fmla="*/ 289 h 485065"/>
                <a:gd name="connsiteX3" fmla="*/ 486349 w 486646"/>
                <a:gd name="connsiteY3" fmla="*/ 33370 h 485065"/>
                <a:gd name="connsiteX4" fmla="*/ 486349 w 486646"/>
                <a:gd name="connsiteY4" fmla="*/ 317553 h 485065"/>
                <a:gd name="connsiteX5" fmla="*/ 484551 w 486646"/>
                <a:gd name="connsiteY5" fmla="*/ 336250 h 485065"/>
                <a:gd name="connsiteX6" fmla="*/ 477127 w 486646"/>
                <a:gd name="connsiteY6" fmla="*/ 337768 h 485065"/>
                <a:gd name="connsiteX7" fmla="*/ 426759 w 486646"/>
                <a:gd name="connsiteY7" fmla="*/ 287906 h 485065"/>
                <a:gd name="connsiteX8" fmla="*/ 383350 w 486646"/>
                <a:gd name="connsiteY8" fmla="*/ 288124 h 485065"/>
                <a:gd name="connsiteX9" fmla="*/ 192007 w 486646"/>
                <a:gd name="connsiteY9" fmla="*/ 481409 h 485065"/>
                <a:gd name="connsiteX10" fmla="*/ 142021 w 486646"/>
                <a:gd name="connsiteY10" fmla="*/ 460397 h 485065"/>
                <a:gd name="connsiteX11" fmla="*/ 15718 w 486646"/>
                <a:gd name="connsiteY11" fmla="*/ 334093 h 485065"/>
                <a:gd name="connsiteX12" fmla="*/ 992 w 486646"/>
                <a:gd name="connsiteY12" fmla="*/ 298667 h 485065"/>
                <a:gd name="connsiteX13" fmla="*/ 78266 w 486646"/>
                <a:gd name="connsiteY13" fmla="*/ 219891 h 485065"/>
                <a:gd name="connsiteX14" fmla="*/ 190137 w 486646"/>
                <a:gd name="connsiteY14" fmla="*/ 110053 h 485065"/>
                <a:gd name="connsiteX15" fmla="*/ 200847 w 486646"/>
                <a:gd name="connsiteY15" fmla="*/ 92120 h 485065"/>
                <a:gd name="connsiteX16" fmla="*/ 202304 w 486646"/>
                <a:gd name="connsiteY16" fmla="*/ 88982 h 485065"/>
                <a:gd name="connsiteX17" fmla="*/ 204003 w 486646"/>
                <a:gd name="connsiteY17" fmla="*/ 79783 h 485065"/>
                <a:gd name="connsiteX18" fmla="*/ 203544 w 486646"/>
                <a:gd name="connsiteY18" fmla="*/ 75403 h 485065"/>
                <a:gd name="connsiteX19" fmla="*/ 203393 w 486646"/>
                <a:gd name="connsiteY19" fmla="*/ 74667 h 485065"/>
                <a:gd name="connsiteX20" fmla="*/ 195011 w 486646"/>
                <a:gd name="connsiteY20" fmla="*/ 57044 h 485065"/>
                <a:gd name="connsiteX21" fmla="*/ 158369 w 486646"/>
                <a:gd name="connsiteY21" fmla="*/ 21100 h 485065"/>
                <a:gd name="connsiteX22" fmla="*/ 148380 w 486646"/>
                <a:gd name="connsiteY22" fmla="*/ 3366 h 485065"/>
                <a:gd name="connsiteX23" fmla="*/ 158632 w 486646"/>
                <a:gd name="connsiteY23" fmla="*/ 55 h 485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86646" h="485065">
                  <a:moveTo>
                    <a:pt x="158632" y="55"/>
                  </a:moveTo>
                  <a:lnTo>
                    <a:pt x="169087" y="289"/>
                  </a:lnTo>
                  <a:lnTo>
                    <a:pt x="451766" y="289"/>
                  </a:lnTo>
                  <a:cubicBezTo>
                    <a:pt x="480584" y="-2217"/>
                    <a:pt x="488353" y="11818"/>
                    <a:pt x="486349" y="33370"/>
                  </a:cubicBezTo>
                  <a:lnTo>
                    <a:pt x="486349" y="317553"/>
                  </a:lnTo>
                  <a:lnTo>
                    <a:pt x="484551" y="336250"/>
                  </a:lnTo>
                  <a:cubicBezTo>
                    <a:pt x="482733" y="339091"/>
                    <a:pt x="479977" y="339068"/>
                    <a:pt x="477127" y="337768"/>
                  </a:cubicBezTo>
                  <a:lnTo>
                    <a:pt x="426759" y="287906"/>
                  </a:lnTo>
                  <a:cubicBezTo>
                    <a:pt x="414712" y="275979"/>
                    <a:pt x="395277" y="276076"/>
                    <a:pt x="383350" y="288124"/>
                  </a:cubicBezTo>
                  <a:lnTo>
                    <a:pt x="192007" y="481409"/>
                  </a:lnTo>
                  <a:cubicBezTo>
                    <a:pt x="179642" y="489291"/>
                    <a:pt x="169595" y="485360"/>
                    <a:pt x="142021" y="460397"/>
                  </a:cubicBezTo>
                  <a:lnTo>
                    <a:pt x="15718" y="334093"/>
                  </a:lnTo>
                  <a:cubicBezTo>
                    <a:pt x="5152" y="320618"/>
                    <a:pt x="-2888" y="310510"/>
                    <a:pt x="992" y="298667"/>
                  </a:cubicBezTo>
                  <a:lnTo>
                    <a:pt x="78266" y="219891"/>
                  </a:lnTo>
                  <a:lnTo>
                    <a:pt x="190137" y="110053"/>
                  </a:lnTo>
                  <a:cubicBezTo>
                    <a:pt x="195360" y="103041"/>
                    <a:pt x="198864" y="97182"/>
                    <a:pt x="200847" y="92120"/>
                  </a:cubicBezTo>
                  <a:cubicBezTo>
                    <a:pt x="201687" y="91224"/>
                    <a:pt x="202130" y="90148"/>
                    <a:pt x="202304" y="88982"/>
                  </a:cubicBezTo>
                  <a:cubicBezTo>
                    <a:pt x="203608" y="85474"/>
                    <a:pt x="204144" y="82444"/>
                    <a:pt x="204003" y="79783"/>
                  </a:cubicBezTo>
                  <a:cubicBezTo>
                    <a:pt x="204241" y="78306"/>
                    <a:pt x="204174" y="76824"/>
                    <a:pt x="203544" y="75403"/>
                  </a:cubicBezTo>
                  <a:cubicBezTo>
                    <a:pt x="203573" y="75136"/>
                    <a:pt x="203507" y="74894"/>
                    <a:pt x="203393" y="74667"/>
                  </a:cubicBezTo>
                  <a:cubicBezTo>
                    <a:pt x="202982" y="68153"/>
                    <a:pt x="200016" y="61952"/>
                    <a:pt x="195011" y="57044"/>
                  </a:cubicBezTo>
                  <a:lnTo>
                    <a:pt x="158369" y="21100"/>
                  </a:lnTo>
                  <a:lnTo>
                    <a:pt x="148380" y="3366"/>
                  </a:lnTo>
                  <a:cubicBezTo>
                    <a:pt x="149287" y="485"/>
                    <a:pt x="153565" y="7"/>
                    <a:pt x="158632" y="55"/>
                  </a:cubicBezTo>
                  <a:close/>
                </a:path>
              </a:pathLst>
            </a:custGeom>
            <a:grpFill/>
            <a:ln w="9525" cap="flat" cmpd="sng" algn="ctr">
              <a:noFill/>
              <a:prstDash val="soli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eaLnBrk="1" fontAlgn="auto" latinLnBrk="0" hangingPunct="1">
                <a:lnSpc>
                  <a:spcPct val="100000"/>
                </a:lnSpc>
                <a:spcBef>
                  <a:spcPts val="0"/>
                </a:spcBef>
                <a:spcAft>
                  <a:spcPts val="0"/>
                </a:spcAft>
                <a:buClrTx/>
                <a:buSzTx/>
                <a:buFontTx/>
                <a:buNone/>
                <a:tabLst/>
                <a:defRPr/>
              </a:pPr>
              <a:endParaRPr kumimoji="0" lang="en-US" sz="1398" b="0" i="0" u="none" strike="noStrike" kern="0" cap="none" spc="-50" normalizeH="0" baseline="0" noProof="0" dirty="0">
                <a:ln>
                  <a:solidFill>
                    <a:srgbClr val="FFFFFF">
                      <a:alpha val="0"/>
                    </a:srgbClr>
                  </a:solidFill>
                </a:ln>
                <a:solidFill>
                  <a:srgbClr val="000000"/>
                </a:solidFill>
                <a:effectLst/>
                <a:uLnTx/>
                <a:uFillTx/>
                <a:latin typeface="Segoe UI"/>
                <a:ea typeface="Segoe UI" pitchFamily="34" charset="0"/>
                <a:cs typeface="Segoe UI" pitchFamily="34" charset="0"/>
              </a:endParaRPr>
            </a:p>
          </p:txBody>
        </p:sp>
        <p:sp>
          <p:nvSpPr>
            <p:cNvPr id="69" name="Freeform 68"/>
            <p:cNvSpPr/>
            <p:nvPr/>
          </p:nvSpPr>
          <p:spPr>
            <a:xfrm>
              <a:off x="10467794" y="2369307"/>
              <a:ext cx="1004386" cy="752113"/>
            </a:xfrm>
            <a:custGeom>
              <a:avLst/>
              <a:gdLst>
                <a:gd name="connsiteX0" fmla="*/ 95091 w 1344068"/>
                <a:gd name="connsiteY0" fmla="*/ 183749 h 1006476"/>
                <a:gd name="connsiteX1" fmla="*/ 1234463 w 1344068"/>
                <a:gd name="connsiteY1" fmla="*/ 183749 h 1006476"/>
                <a:gd name="connsiteX2" fmla="*/ 1234463 w 1344068"/>
                <a:gd name="connsiteY2" fmla="*/ 912133 h 1006476"/>
                <a:gd name="connsiteX3" fmla="*/ 95091 w 1344068"/>
                <a:gd name="connsiteY3" fmla="*/ 912133 h 1006476"/>
                <a:gd name="connsiteX4" fmla="*/ 36697 w 1344068"/>
                <a:gd name="connsiteY4" fmla="*/ 138779 h 1006476"/>
                <a:gd name="connsiteX5" fmla="*/ 36697 w 1344068"/>
                <a:gd name="connsiteY5" fmla="*/ 979442 h 1006476"/>
                <a:gd name="connsiteX6" fmla="*/ 1307371 w 1344068"/>
                <a:gd name="connsiteY6" fmla="*/ 979442 h 1006476"/>
                <a:gd name="connsiteX7" fmla="*/ 1307371 w 1344068"/>
                <a:gd name="connsiteY7" fmla="*/ 138779 h 1006476"/>
                <a:gd name="connsiteX8" fmla="*/ 1239333 w 1344068"/>
                <a:gd name="connsiteY8" fmla="*/ 37932 h 1006476"/>
                <a:gd name="connsiteX9" fmla="*/ 1239333 w 1344068"/>
                <a:gd name="connsiteY9" fmla="*/ 105968 h 1006476"/>
                <a:gd name="connsiteX10" fmla="*/ 1307371 w 1344068"/>
                <a:gd name="connsiteY10" fmla="*/ 105968 h 1006476"/>
                <a:gd name="connsiteX11" fmla="*/ 1307371 w 1344068"/>
                <a:gd name="connsiteY11" fmla="*/ 37932 h 1006476"/>
                <a:gd name="connsiteX12" fmla="*/ 839679 w 1344068"/>
                <a:gd name="connsiteY12" fmla="*/ 37932 h 1006476"/>
                <a:gd name="connsiteX13" fmla="*/ 839679 w 1344068"/>
                <a:gd name="connsiteY13" fmla="*/ 105968 h 1006476"/>
                <a:gd name="connsiteX14" fmla="*/ 1173745 w 1344068"/>
                <a:gd name="connsiteY14" fmla="*/ 105968 h 1006476"/>
                <a:gd name="connsiteX15" fmla="*/ 1173745 w 1344068"/>
                <a:gd name="connsiteY15" fmla="*/ 37932 h 1006476"/>
                <a:gd name="connsiteX16" fmla="*/ 170323 w 1344068"/>
                <a:gd name="connsiteY16" fmla="*/ 37932 h 1006476"/>
                <a:gd name="connsiteX17" fmla="*/ 170323 w 1344068"/>
                <a:gd name="connsiteY17" fmla="*/ 105968 h 1006476"/>
                <a:gd name="connsiteX18" fmla="*/ 504389 w 1344068"/>
                <a:gd name="connsiteY18" fmla="*/ 105968 h 1006476"/>
                <a:gd name="connsiteX19" fmla="*/ 504389 w 1344068"/>
                <a:gd name="connsiteY19" fmla="*/ 37932 h 1006476"/>
                <a:gd name="connsiteX20" fmla="*/ 36697 w 1344068"/>
                <a:gd name="connsiteY20" fmla="*/ 37932 h 1006476"/>
                <a:gd name="connsiteX21" fmla="*/ 36697 w 1344068"/>
                <a:gd name="connsiteY21" fmla="*/ 105968 h 1006476"/>
                <a:gd name="connsiteX22" fmla="*/ 104736 w 1344068"/>
                <a:gd name="connsiteY22" fmla="*/ 105968 h 1006476"/>
                <a:gd name="connsiteX23" fmla="*/ 104736 w 1344068"/>
                <a:gd name="connsiteY23" fmla="*/ 37932 h 1006476"/>
                <a:gd name="connsiteX24" fmla="*/ 0 w 1344068"/>
                <a:gd name="connsiteY24" fmla="*/ 0 h 1006476"/>
                <a:gd name="connsiteX25" fmla="*/ 1344068 w 1344068"/>
                <a:gd name="connsiteY25" fmla="*/ 0 h 1006476"/>
                <a:gd name="connsiteX26" fmla="*/ 1344068 w 1344068"/>
                <a:gd name="connsiteY26" fmla="*/ 1006476 h 1006476"/>
                <a:gd name="connsiteX27" fmla="*/ 0 w 1344068"/>
                <a:gd name="connsiteY27" fmla="*/ 1006476 h 1006476"/>
                <a:gd name="connsiteX0" fmla="*/ 95091 w 1344068"/>
                <a:gd name="connsiteY0" fmla="*/ 912133 h 1006476"/>
                <a:gd name="connsiteX1" fmla="*/ 1234463 w 1344068"/>
                <a:gd name="connsiteY1" fmla="*/ 183749 h 1006476"/>
                <a:gd name="connsiteX2" fmla="*/ 1234463 w 1344068"/>
                <a:gd name="connsiteY2" fmla="*/ 912133 h 1006476"/>
                <a:gd name="connsiteX3" fmla="*/ 95091 w 1344068"/>
                <a:gd name="connsiteY3" fmla="*/ 912133 h 1006476"/>
                <a:gd name="connsiteX4" fmla="*/ 36697 w 1344068"/>
                <a:gd name="connsiteY4" fmla="*/ 138779 h 1006476"/>
                <a:gd name="connsiteX5" fmla="*/ 36697 w 1344068"/>
                <a:gd name="connsiteY5" fmla="*/ 979442 h 1006476"/>
                <a:gd name="connsiteX6" fmla="*/ 1307371 w 1344068"/>
                <a:gd name="connsiteY6" fmla="*/ 979442 h 1006476"/>
                <a:gd name="connsiteX7" fmla="*/ 1307371 w 1344068"/>
                <a:gd name="connsiteY7" fmla="*/ 138779 h 1006476"/>
                <a:gd name="connsiteX8" fmla="*/ 36697 w 1344068"/>
                <a:gd name="connsiteY8" fmla="*/ 138779 h 1006476"/>
                <a:gd name="connsiteX9" fmla="*/ 1239333 w 1344068"/>
                <a:gd name="connsiteY9" fmla="*/ 37932 h 1006476"/>
                <a:gd name="connsiteX10" fmla="*/ 1239333 w 1344068"/>
                <a:gd name="connsiteY10" fmla="*/ 105968 h 1006476"/>
                <a:gd name="connsiteX11" fmla="*/ 1307371 w 1344068"/>
                <a:gd name="connsiteY11" fmla="*/ 105968 h 1006476"/>
                <a:gd name="connsiteX12" fmla="*/ 1307371 w 1344068"/>
                <a:gd name="connsiteY12" fmla="*/ 37932 h 1006476"/>
                <a:gd name="connsiteX13" fmla="*/ 1239333 w 1344068"/>
                <a:gd name="connsiteY13" fmla="*/ 37932 h 1006476"/>
                <a:gd name="connsiteX14" fmla="*/ 839679 w 1344068"/>
                <a:gd name="connsiteY14" fmla="*/ 37932 h 1006476"/>
                <a:gd name="connsiteX15" fmla="*/ 839679 w 1344068"/>
                <a:gd name="connsiteY15" fmla="*/ 105968 h 1006476"/>
                <a:gd name="connsiteX16" fmla="*/ 1173745 w 1344068"/>
                <a:gd name="connsiteY16" fmla="*/ 105968 h 1006476"/>
                <a:gd name="connsiteX17" fmla="*/ 1173745 w 1344068"/>
                <a:gd name="connsiteY17" fmla="*/ 37932 h 1006476"/>
                <a:gd name="connsiteX18" fmla="*/ 839679 w 1344068"/>
                <a:gd name="connsiteY18" fmla="*/ 37932 h 1006476"/>
                <a:gd name="connsiteX19" fmla="*/ 170323 w 1344068"/>
                <a:gd name="connsiteY19" fmla="*/ 37932 h 1006476"/>
                <a:gd name="connsiteX20" fmla="*/ 170323 w 1344068"/>
                <a:gd name="connsiteY20" fmla="*/ 105968 h 1006476"/>
                <a:gd name="connsiteX21" fmla="*/ 504389 w 1344068"/>
                <a:gd name="connsiteY21" fmla="*/ 105968 h 1006476"/>
                <a:gd name="connsiteX22" fmla="*/ 504389 w 1344068"/>
                <a:gd name="connsiteY22" fmla="*/ 37932 h 1006476"/>
                <a:gd name="connsiteX23" fmla="*/ 170323 w 1344068"/>
                <a:gd name="connsiteY23" fmla="*/ 37932 h 1006476"/>
                <a:gd name="connsiteX24" fmla="*/ 36697 w 1344068"/>
                <a:gd name="connsiteY24" fmla="*/ 37932 h 1006476"/>
                <a:gd name="connsiteX25" fmla="*/ 36697 w 1344068"/>
                <a:gd name="connsiteY25" fmla="*/ 105968 h 1006476"/>
                <a:gd name="connsiteX26" fmla="*/ 104736 w 1344068"/>
                <a:gd name="connsiteY26" fmla="*/ 105968 h 1006476"/>
                <a:gd name="connsiteX27" fmla="*/ 104736 w 1344068"/>
                <a:gd name="connsiteY27" fmla="*/ 37932 h 1006476"/>
                <a:gd name="connsiteX28" fmla="*/ 36697 w 1344068"/>
                <a:gd name="connsiteY28" fmla="*/ 37932 h 1006476"/>
                <a:gd name="connsiteX29" fmla="*/ 0 w 1344068"/>
                <a:gd name="connsiteY29" fmla="*/ 0 h 1006476"/>
                <a:gd name="connsiteX30" fmla="*/ 1344068 w 1344068"/>
                <a:gd name="connsiteY30" fmla="*/ 0 h 1006476"/>
                <a:gd name="connsiteX31" fmla="*/ 1344068 w 1344068"/>
                <a:gd name="connsiteY31" fmla="*/ 1006476 h 1006476"/>
                <a:gd name="connsiteX32" fmla="*/ 0 w 1344068"/>
                <a:gd name="connsiteY32" fmla="*/ 1006476 h 1006476"/>
                <a:gd name="connsiteX33" fmla="*/ 0 w 1344068"/>
                <a:gd name="connsiteY33" fmla="*/ 0 h 1006476"/>
                <a:gd name="connsiteX0" fmla="*/ 1234463 w 1344068"/>
                <a:gd name="connsiteY0" fmla="*/ 912133 h 1006476"/>
                <a:gd name="connsiteX1" fmla="*/ 1234463 w 1344068"/>
                <a:gd name="connsiteY1" fmla="*/ 183749 h 1006476"/>
                <a:gd name="connsiteX2" fmla="*/ 1234463 w 1344068"/>
                <a:gd name="connsiteY2" fmla="*/ 912133 h 1006476"/>
                <a:gd name="connsiteX3" fmla="*/ 36697 w 1344068"/>
                <a:gd name="connsiteY3" fmla="*/ 138779 h 1006476"/>
                <a:gd name="connsiteX4" fmla="*/ 36697 w 1344068"/>
                <a:gd name="connsiteY4" fmla="*/ 979442 h 1006476"/>
                <a:gd name="connsiteX5" fmla="*/ 1307371 w 1344068"/>
                <a:gd name="connsiteY5" fmla="*/ 979442 h 1006476"/>
                <a:gd name="connsiteX6" fmla="*/ 1307371 w 1344068"/>
                <a:gd name="connsiteY6" fmla="*/ 138779 h 1006476"/>
                <a:gd name="connsiteX7" fmla="*/ 36697 w 1344068"/>
                <a:gd name="connsiteY7" fmla="*/ 138779 h 1006476"/>
                <a:gd name="connsiteX8" fmla="*/ 1239333 w 1344068"/>
                <a:gd name="connsiteY8" fmla="*/ 37932 h 1006476"/>
                <a:gd name="connsiteX9" fmla="*/ 1239333 w 1344068"/>
                <a:gd name="connsiteY9" fmla="*/ 105968 h 1006476"/>
                <a:gd name="connsiteX10" fmla="*/ 1307371 w 1344068"/>
                <a:gd name="connsiteY10" fmla="*/ 105968 h 1006476"/>
                <a:gd name="connsiteX11" fmla="*/ 1307371 w 1344068"/>
                <a:gd name="connsiteY11" fmla="*/ 37932 h 1006476"/>
                <a:gd name="connsiteX12" fmla="*/ 1239333 w 1344068"/>
                <a:gd name="connsiteY12" fmla="*/ 37932 h 1006476"/>
                <a:gd name="connsiteX13" fmla="*/ 839679 w 1344068"/>
                <a:gd name="connsiteY13" fmla="*/ 37932 h 1006476"/>
                <a:gd name="connsiteX14" fmla="*/ 839679 w 1344068"/>
                <a:gd name="connsiteY14" fmla="*/ 105968 h 1006476"/>
                <a:gd name="connsiteX15" fmla="*/ 1173745 w 1344068"/>
                <a:gd name="connsiteY15" fmla="*/ 105968 h 1006476"/>
                <a:gd name="connsiteX16" fmla="*/ 1173745 w 1344068"/>
                <a:gd name="connsiteY16" fmla="*/ 37932 h 1006476"/>
                <a:gd name="connsiteX17" fmla="*/ 839679 w 1344068"/>
                <a:gd name="connsiteY17" fmla="*/ 37932 h 1006476"/>
                <a:gd name="connsiteX18" fmla="*/ 170323 w 1344068"/>
                <a:gd name="connsiteY18" fmla="*/ 37932 h 1006476"/>
                <a:gd name="connsiteX19" fmla="*/ 170323 w 1344068"/>
                <a:gd name="connsiteY19" fmla="*/ 105968 h 1006476"/>
                <a:gd name="connsiteX20" fmla="*/ 504389 w 1344068"/>
                <a:gd name="connsiteY20" fmla="*/ 105968 h 1006476"/>
                <a:gd name="connsiteX21" fmla="*/ 504389 w 1344068"/>
                <a:gd name="connsiteY21" fmla="*/ 37932 h 1006476"/>
                <a:gd name="connsiteX22" fmla="*/ 170323 w 1344068"/>
                <a:gd name="connsiteY22" fmla="*/ 37932 h 1006476"/>
                <a:gd name="connsiteX23" fmla="*/ 36697 w 1344068"/>
                <a:gd name="connsiteY23" fmla="*/ 37932 h 1006476"/>
                <a:gd name="connsiteX24" fmla="*/ 36697 w 1344068"/>
                <a:gd name="connsiteY24" fmla="*/ 105968 h 1006476"/>
                <a:gd name="connsiteX25" fmla="*/ 104736 w 1344068"/>
                <a:gd name="connsiteY25" fmla="*/ 105968 h 1006476"/>
                <a:gd name="connsiteX26" fmla="*/ 104736 w 1344068"/>
                <a:gd name="connsiteY26" fmla="*/ 37932 h 1006476"/>
                <a:gd name="connsiteX27" fmla="*/ 36697 w 1344068"/>
                <a:gd name="connsiteY27" fmla="*/ 37932 h 1006476"/>
                <a:gd name="connsiteX28" fmla="*/ 0 w 1344068"/>
                <a:gd name="connsiteY28" fmla="*/ 0 h 1006476"/>
                <a:gd name="connsiteX29" fmla="*/ 1344068 w 1344068"/>
                <a:gd name="connsiteY29" fmla="*/ 0 h 1006476"/>
                <a:gd name="connsiteX30" fmla="*/ 1344068 w 1344068"/>
                <a:gd name="connsiteY30" fmla="*/ 1006476 h 1006476"/>
                <a:gd name="connsiteX31" fmla="*/ 0 w 1344068"/>
                <a:gd name="connsiteY31" fmla="*/ 1006476 h 1006476"/>
                <a:gd name="connsiteX32" fmla="*/ 0 w 1344068"/>
                <a:gd name="connsiteY32" fmla="*/ 0 h 1006476"/>
                <a:gd name="connsiteX0" fmla="*/ 36697 w 1344068"/>
                <a:gd name="connsiteY0" fmla="*/ 138779 h 1006476"/>
                <a:gd name="connsiteX1" fmla="*/ 36697 w 1344068"/>
                <a:gd name="connsiteY1" fmla="*/ 979442 h 1006476"/>
                <a:gd name="connsiteX2" fmla="*/ 1307371 w 1344068"/>
                <a:gd name="connsiteY2" fmla="*/ 979442 h 1006476"/>
                <a:gd name="connsiteX3" fmla="*/ 1307371 w 1344068"/>
                <a:gd name="connsiteY3" fmla="*/ 138779 h 1006476"/>
                <a:gd name="connsiteX4" fmla="*/ 36697 w 1344068"/>
                <a:gd name="connsiteY4" fmla="*/ 138779 h 1006476"/>
                <a:gd name="connsiteX5" fmla="*/ 1239333 w 1344068"/>
                <a:gd name="connsiteY5" fmla="*/ 37932 h 1006476"/>
                <a:gd name="connsiteX6" fmla="*/ 1239333 w 1344068"/>
                <a:gd name="connsiteY6" fmla="*/ 105968 h 1006476"/>
                <a:gd name="connsiteX7" fmla="*/ 1307371 w 1344068"/>
                <a:gd name="connsiteY7" fmla="*/ 105968 h 1006476"/>
                <a:gd name="connsiteX8" fmla="*/ 1307371 w 1344068"/>
                <a:gd name="connsiteY8" fmla="*/ 37932 h 1006476"/>
                <a:gd name="connsiteX9" fmla="*/ 1239333 w 1344068"/>
                <a:gd name="connsiteY9" fmla="*/ 37932 h 1006476"/>
                <a:gd name="connsiteX10" fmla="*/ 839679 w 1344068"/>
                <a:gd name="connsiteY10" fmla="*/ 37932 h 1006476"/>
                <a:gd name="connsiteX11" fmla="*/ 839679 w 1344068"/>
                <a:gd name="connsiteY11" fmla="*/ 105968 h 1006476"/>
                <a:gd name="connsiteX12" fmla="*/ 1173745 w 1344068"/>
                <a:gd name="connsiteY12" fmla="*/ 105968 h 1006476"/>
                <a:gd name="connsiteX13" fmla="*/ 1173745 w 1344068"/>
                <a:gd name="connsiteY13" fmla="*/ 37932 h 1006476"/>
                <a:gd name="connsiteX14" fmla="*/ 839679 w 1344068"/>
                <a:gd name="connsiteY14" fmla="*/ 37932 h 1006476"/>
                <a:gd name="connsiteX15" fmla="*/ 170323 w 1344068"/>
                <a:gd name="connsiteY15" fmla="*/ 37932 h 1006476"/>
                <a:gd name="connsiteX16" fmla="*/ 170323 w 1344068"/>
                <a:gd name="connsiteY16" fmla="*/ 105968 h 1006476"/>
                <a:gd name="connsiteX17" fmla="*/ 504389 w 1344068"/>
                <a:gd name="connsiteY17" fmla="*/ 105968 h 1006476"/>
                <a:gd name="connsiteX18" fmla="*/ 504389 w 1344068"/>
                <a:gd name="connsiteY18" fmla="*/ 37932 h 1006476"/>
                <a:gd name="connsiteX19" fmla="*/ 170323 w 1344068"/>
                <a:gd name="connsiteY19" fmla="*/ 37932 h 1006476"/>
                <a:gd name="connsiteX20" fmla="*/ 36697 w 1344068"/>
                <a:gd name="connsiteY20" fmla="*/ 37932 h 1006476"/>
                <a:gd name="connsiteX21" fmla="*/ 36697 w 1344068"/>
                <a:gd name="connsiteY21" fmla="*/ 105968 h 1006476"/>
                <a:gd name="connsiteX22" fmla="*/ 104736 w 1344068"/>
                <a:gd name="connsiteY22" fmla="*/ 105968 h 1006476"/>
                <a:gd name="connsiteX23" fmla="*/ 104736 w 1344068"/>
                <a:gd name="connsiteY23" fmla="*/ 37932 h 1006476"/>
                <a:gd name="connsiteX24" fmla="*/ 36697 w 1344068"/>
                <a:gd name="connsiteY24" fmla="*/ 37932 h 1006476"/>
                <a:gd name="connsiteX25" fmla="*/ 0 w 1344068"/>
                <a:gd name="connsiteY25" fmla="*/ 0 h 1006476"/>
                <a:gd name="connsiteX26" fmla="*/ 1344068 w 1344068"/>
                <a:gd name="connsiteY26" fmla="*/ 0 h 1006476"/>
                <a:gd name="connsiteX27" fmla="*/ 1344068 w 1344068"/>
                <a:gd name="connsiteY27" fmla="*/ 1006476 h 1006476"/>
                <a:gd name="connsiteX28" fmla="*/ 0 w 1344068"/>
                <a:gd name="connsiteY28" fmla="*/ 1006476 h 1006476"/>
                <a:gd name="connsiteX29" fmla="*/ 0 w 1344068"/>
                <a:gd name="connsiteY29" fmla="*/ 0 h 1006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344068" h="1006476">
                  <a:moveTo>
                    <a:pt x="36697" y="138779"/>
                  </a:moveTo>
                  <a:lnTo>
                    <a:pt x="36697" y="979442"/>
                  </a:lnTo>
                  <a:lnTo>
                    <a:pt x="1307371" y="979442"/>
                  </a:lnTo>
                  <a:lnTo>
                    <a:pt x="1307371" y="138779"/>
                  </a:lnTo>
                  <a:lnTo>
                    <a:pt x="36697" y="138779"/>
                  </a:lnTo>
                  <a:close/>
                  <a:moveTo>
                    <a:pt x="1239333" y="37932"/>
                  </a:moveTo>
                  <a:lnTo>
                    <a:pt x="1239333" y="105968"/>
                  </a:lnTo>
                  <a:lnTo>
                    <a:pt x="1307371" y="105968"/>
                  </a:lnTo>
                  <a:lnTo>
                    <a:pt x="1307371" y="37932"/>
                  </a:lnTo>
                  <a:lnTo>
                    <a:pt x="1239333" y="37932"/>
                  </a:lnTo>
                  <a:close/>
                  <a:moveTo>
                    <a:pt x="839679" y="37932"/>
                  </a:moveTo>
                  <a:lnTo>
                    <a:pt x="839679" y="105968"/>
                  </a:lnTo>
                  <a:lnTo>
                    <a:pt x="1173745" y="105968"/>
                  </a:lnTo>
                  <a:lnTo>
                    <a:pt x="1173745" y="37932"/>
                  </a:lnTo>
                  <a:lnTo>
                    <a:pt x="839679" y="37932"/>
                  </a:lnTo>
                  <a:close/>
                  <a:moveTo>
                    <a:pt x="170323" y="37932"/>
                  </a:moveTo>
                  <a:lnTo>
                    <a:pt x="170323" y="105968"/>
                  </a:lnTo>
                  <a:lnTo>
                    <a:pt x="504389" y="105968"/>
                  </a:lnTo>
                  <a:lnTo>
                    <a:pt x="504389" y="37932"/>
                  </a:lnTo>
                  <a:lnTo>
                    <a:pt x="170323" y="37932"/>
                  </a:lnTo>
                  <a:close/>
                  <a:moveTo>
                    <a:pt x="36697" y="37932"/>
                  </a:moveTo>
                  <a:lnTo>
                    <a:pt x="36697" y="105968"/>
                  </a:lnTo>
                  <a:lnTo>
                    <a:pt x="104736" y="105968"/>
                  </a:lnTo>
                  <a:lnTo>
                    <a:pt x="104736" y="37932"/>
                  </a:lnTo>
                  <a:lnTo>
                    <a:pt x="36697" y="37932"/>
                  </a:lnTo>
                  <a:close/>
                  <a:moveTo>
                    <a:pt x="0" y="0"/>
                  </a:moveTo>
                  <a:lnTo>
                    <a:pt x="1344068" y="0"/>
                  </a:lnTo>
                  <a:lnTo>
                    <a:pt x="1344068" y="1006476"/>
                  </a:lnTo>
                  <a:lnTo>
                    <a:pt x="0" y="1006476"/>
                  </a:lnTo>
                  <a:lnTo>
                    <a:pt x="0" y="0"/>
                  </a:lnTo>
                  <a:close/>
                </a:path>
              </a:pathLst>
            </a:cu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grpSp>
      <p:sp>
        <p:nvSpPr>
          <p:cNvPr id="5" name="Content Placeholder 4"/>
          <p:cNvSpPr>
            <a:spLocks noGrp="1"/>
          </p:cNvSpPr>
          <p:nvPr>
            <p:ph type="body" sz="quarter" idx="10"/>
          </p:nvPr>
        </p:nvSpPr>
        <p:spPr>
          <a:xfrm>
            <a:off x="356896" y="3900295"/>
            <a:ext cx="4320544" cy="2369880"/>
          </a:xfrm>
        </p:spPr>
        <p:txBody>
          <a:bodyPr tIns="0" bIns="91440">
            <a:spAutoFit/>
          </a:bodyPr>
          <a:lstStyle/>
          <a:p>
            <a:pPr marL="342900" indent="-342900">
              <a:spcAft>
                <a:spcPts val="600"/>
              </a:spcAft>
            </a:pPr>
            <a:r>
              <a:rPr lang="en-US" sz="2000" kern="0" dirty="0">
                <a:solidFill>
                  <a:srgbClr val="EDC30D"/>
                </a:solidFill>
                <a:latin typeface="Segoe UI Light" panose="020B0502040204020203" pitchFamily="34" charset="0"/>
                <a:cs typeface="Segoe UI Light" panose="020B0502040204020203" pitchFamily="34" charset="0"/>
              </a:rPr>
              <a:t>Manually or programmatically provision workspaces </a:t>
            </a:r>
          </a:p>
          <a:p>
            <a:pPr marL="342900" indent="-342900">
              <a:spcAft>
                <a:spcPts val="600"/>
              </a:spcAft>
            </a:pPr>
            <a:r>
              <a:rPr lang="en-US" sz="2000" kern="0" dirty="0">
                <a:solidFill>
                  <a:srgbClr val="EDC30D"/>
                </a:solidFill>
                <a:latin typeface="Segoe UI Light" panose="020B0502040204020203" pitchFamily="34" charset="0"/>
                <a:cs typeface="Segoe UI Light" panose="020B0502040204020203" pitchFamily="34" charset="0"/>
              </a:rPr>
              <a:t>Create datasets</a:t>
            </a:r>
            <a:r>
              <a:rPr lang="en-US" kern="0" dirty="0">
                <a:solidFill>
                  <a:srgbClr val="EDC30D"/>
                </a:solidFill>
                <a:latin typeface="Segoe UI Light" panose="020B0502040204020203" pitchFamily="34" charset="0"/>
                <a:cs typeface="Segoe UI Light" panose="020B0502040204020203" pitchFamily="34" charset="0"/>
              </a:rPr>
              <a:t> </a:t>
            </a:r>
            <a:r>
              <a:rPr lang="en-US" sz="2000" kern="0" dirty="0">
                <a:solidFill>
                  <a:srgbClr val="EDC30D"/>
                </a:solidFill>
                <a:latin typeface="Segoe UI Light" panose="020B0502040204020203" pitchFamily="34" charset="0"/>
                <a:cs typeface="Segoe UI Light" panose="020B0502040204020203" pitchFamily="34" charset="0"/>
              </a:rPr>
              <a:t>and reports</a:t>
            </a:r>
          </a:p>
          <a:p>
            <a:pPr marL="342900" indent="-342900">
              <a:spcAft>
                <a:spcPts val="600"/>
              </a:spcAft>
            </a:pPr>
            <a:r>
              <a:rPr lang="en-US" sz="2000" kern="0" dirty="0">
                <a:solidFill>
                  <a:srgbClr val="EDC30D"/>
                </a:solidFill>
                <a:latin typeface="Segoe UI Light" panose="020B0502040204020203" pitchFamily="34" charset="0"/>
                <a:cs typeface="Segoe UI Light" panose="020B0502040204020203" pitchFamily="34" charset="0"/>
              </a:rPr>
              <a:t>Embed reports in your app</a:t>
            </a:r>
          </a:p>
          <a:p>
            <a:pPr marL="342900" indent="-342900">
              <a:spcAft>
                <a:spcPts val="600"/>
              </a:spcAft>
            </a:pPr>
            <a:r>
              <a:rPr lang="en-US" sz="2000" kern="0" dirty="0">
                <a:solidFill>
                  <a:srgbClr val="EDC30D"/>
                </a:solidFill>
                <a:latin typeface="Segoe UI Light" panose="020B0502040204020203" pitchFamily="34" charset="0"/>
                <a:cs typeface="Segoe UI Light" panose="020B0502040204020203" pitchFamily="34" charset="0"/>
              </a:rPr>
              <a:t>Control refresh behavior and credentials</a:t>
            </a:r>
          </a:p>
        </p:txBody>
      </p:sp>
      <p:sp>
        <p:nvSpPr>
          <p:cNvPr id="4" name="Title 3"/>
          <p:cNvSpPr>
            <a:spLocks noGrp="1"/>
          </p:cNvSpPr>
          <p:nvPr>
            <p:ph type="title"/>
          </p:nvPr>
        </p:nvSpPr>
        <p:spPr/>
        <p:txBody>
          <a:bodyPr wrap="square" anchor="t">
            <a:spAutoFit/>
          </a:bodyPr>
          <a:lstStyle/>
          <a:p>
            <a:r>
              <a:rPr lang="en-US" sz="3600">
                <a:solidFill>
                  <a:srgbClr val="EDC30D"/>
                </a:solidFill>
              </a:rPr>
              <a:t>Manage in a familiar environment</a:t>
            </a:r>
            <a:r>
              <a:rPr lang="en-US" sz="3600" kern="0">
                <a:solidFill>
                  <a:srgbClr val="EDC30D"/>
                </a:solidFill>
                <a:ea typeface="Segoe UI Black" panose="020B0A02040204020203" pitchFamily="34" charset="0"/>
                <a:cs typeface="Segoe UI Semibold" panose="020B0702040204020203" pitchFamily="34" charset="0"/>
              </a:rPr>
              <a:t>—</a:t>
            </a:r>
            <a:r>
              <a:rPr lang="en-US" sz="3600">
                <a:solidFill>
                  <a:srgbClr val="EDC30D"/>
                </a:solidFill>
                <a:latin typeface="Segoe UI Black" panose="020B0A02040204020203" pitchFamily="34" charset="0"/>
                <a:ea typeface="Segoe UI Black" panose="020B0A02040204020203" pitchFamily="34" charset="0"/>
                <a:cs typeface="Segoe UI Black" panose="020B0A02040204020203" pitchFamily="34" charset="0"/>
              </a:rPr>
              <a:t>Azure</a:t>
            </a:r>
            <a:r>
              <a:rPr lang="en-US" sz="3600">
                <a:solidFill>
                  <a:srgbClr val="EDC30D"/>
                </a:solidFill>
              </a:rPr>
              <a:t> </a:t>
            </a:r>
            <a:endParaRPr lang="en-US" sz="3600" dirty="0">
              <a:solidFill>
                <a:srgbClr val="EDC30D"/>
              </a:solidFill>
            </a:endParaRPr>
          </a:p>
        </p:txBody>
      </p:sp>
      <p:sp>
        <p:nvSpPr>
          <p:cNvPr id="61" name="Freeform 60"/>
          <p:cNvSpPr>
            <a:spLocks noChangeAspect="1"/>
          </p:cNvSpPr>
          <p:nvPr/>
        </p:nvSpPr>
        <p:spPr bwMode="auto">
          <a:xfrm flipH="1">
            <a:off x="5662126" y="3183794"/>
            <a:ext cx="762645" cy="729179"/>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rgbClr val="282828"/>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040" b="1"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62" name="TextBox 61"/>
          <p:cNvSpPr txBox="1"/>
          <p:nvPr/>
        </p:nvSpPr>
        <p:spPr>
          <a:xfrm>
            <a:off x="5467433" y="3896915"/>
            <a:ext cx="1152030" cy="369332"/>
          </a:xfrm>
          <a:prstGeom prst="rect">
            <a:avLst/>
          </a:prstGeom>
          <a:noFill/>
        </p:spPr>
        <p:txBody>
          <a:bodyPr wrap="square" rtlCol="0">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Azure SQL </a:t>
            </a:r>
            <a:br>
              <a:rPr kumimoji="0" lang="en-US" sz="9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br>
            <a:r>
              <a:rPr kumimoji="0" lang="en-US" sz="9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Data Warehouse</a:t>
            </a:r>
          </a:p>
        </p:txBody>
      </p:sp>
      <p:sp>
        <p:nvSpPr>
          <p:cNvPr id="79" name="TextBox 78"/>
          <p:cNvSpPr txBox="1"/>
          <p:nvPr/>
        </p:nvSpPr>
        <p:spPr>
          <a:xfrm>
            <a:off x="5353032" y="2877416"/>
            <a:ext cx="1380832" cy="230832"/>
          </a:xfrm>
          <a:prstGeom prst="rect">
            <a:avLst/>
          </a:prstGeom>
          <a:noFill/>
        </p:spPr>
        <p:txBody>
          <a:bodyPr wrap="square" rtlCol="0">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Azure SQL Database</a:t>
            </a:r>
          </a:p>
        </p:txBody>
      </p:sp>
      <p:sp>
        <p:nvSpPr>
          <p:cNvPr id="80" name="TextBox 79"/>
          <p:cNvSpPr txBox="1"/>
          <p:nvPr/>
        </p:nvSpPr>
        <p:spPr>
          <a:xfrm>
            <a:off x="5724321" y="2130586"/>
            <a:ext cx="638252" cy="699674"/>
          </a:xfrm>
          <a:custGeom>
            <a:avLst/>
            <a:gdLst>
              <a:gd name="connsiteX0" fmla="*/ 2615664 w 3654515"/>
              <a:gd name="connsiteY0" fmla="*/ 2534931 h 4006207"/>
              <a:gd name="connsiteX1" fmla="*/ 1960582 w 3654515"/>
              <a:gd name="connsiteY1" fmla="*/ 3034209 h 4006207"/>
              <a:gd name="connsiteX2" fmla="*/ 1338741 w 3654515"/>
              <a:gd name="connsiteY2" fmla="*/ 3425023 h 4006207"/>
              <a:gd name="connsiteX3" fmla="*/ 1731746 w 3654515"/>
              <a:gd name="connsiteY3" fmla="*/ 3891938 h 4006207"/>
              <a:gd name="connsiteX4" fmla="*/ 1776343 w 3654515"/>
              <a:gd name="connsiteY4" fmla="*/ 3896192 h 4006207"/>
              <a:gd name="connsiteX5" fmla="*/ 1804775 w 3654515"/>
              <a:gd name="connsiteY5" fmla="*/ 3901622 h 4006207"/>
              <a:gd name="connsiteX6" fmla="*/ 3274309 w 3654515"/>
              <a:gd name="connsiteY6" fmla="*/ 3901622 h 4006207"/>
              <a:gd name="connsiteX7" fmla="*/ 3279764 w 3654515"/>
              <a:gd name="connsiteY7" fmla="*/ 3900582 h 4006207"/>
              <a:gd name="connsiteX8" fmla="*/ 3285213 w 3654515"/>
              <a:gd name="connsiteY8" fmla="*/ 3901622 h 4006207"/>
              <a:gd name="connsiteX9" fmla="*/ 3560897 w 3654515"/>
              <a:gd name="connsiteY9" fmla="*/ 3646315 h 4006207"/>
              <a:gd name="connsiteX10" fmla="*/ 3253200 w 3654515"/>
              <a:gd name="connsiteY10" fmla="*/ 3434254 h 4006207"/>
              <a:gd name="connsiteX11" fmla="*/ 3272188 w 3654515"/>
              <a:gd name="connsiteY11" fmla="*/ 3231989 h 4006207"/>
              <a:gd name="connsiteX12" fmla="*/ 2615664 w 3654515"/>
              <a:gd name="connsiteY12" fmla="*/ 2534931 h 4006207"/>
              <a:gd name="connsiteX13" fmla="*/ 2610633 w 3654515"/>
              <a:gd name="connsiteY13" fmla="*/ 2448880 h 4006207"/>
              <a:gd name="connsiteX14" fmla="*/ 3372712 w 3654515"/>
              <a:gd name="connsiteY14" fmla="*/ 3227544 h 4006207"/>
              <a:gd name="connsiteX15" fmla="*/ 3352240 w 3654515"/>
              <a:gd name="connsiteY15" fmla="*/ 3365886 h 4006207"/>
              <a:gd name="connsiteX16" fmla="*/ 3457751 w 3654515"/>
              <a:gd name="connsiteY16" fmla="*/ 3387188 h 4006207"/>
              <a:gd name="connsiteX17" fmla="*/ 3654515 w 3654515"/>
              <a:gd name="connsiteY17" fmla="*/ 3684038 h 4006207"/>
              <a:gd name="connsiteX18" fmla="*/ 3332349 w 3654515"/>
              <a:gd name="connsiteY18" fmla="*/ 4006204 h 4006207"/>
              <a:gd name="connsiteX19" fmla="*/ 3326473 w 3654515"/>
              <a:gd name="connsiteY19" fmla="*/ 4005021 h 4006207"/>
              <a:gd name="connsiteX20" fmla="*/ 3320592 w 3654515"/>
              <a:gd name="connsiteY20" fmla="*/ 4006207 h 4006207"/>
              <a:gd name="connsiteX21" fmla="*/ 1736561 w 3654515"/>
              <a:gd name="connsiteY21" fmla="*/ 4006204 h 4006207"/>
              <a:gd name="connsiteX22" fmla="*/ 1705914 w 3654515"/>
              <a:gd name="connsiteY22" fmla="*/ 4000020 h 4006207"/>
              <a:gd name="connsiteX23" fmla="*/ 1657844 w 3654515"/>
              <a:gd name="connsiteY23" fmla="*/ 3995171 h 4006207"/>
              <a:gd name="connsiteX24" fmla="*/ 1224216 w 3654515"/>
              <a:gd name="connsiteY24" fmla="*/ 3463131 h 4006207"/>
              <a:gd name="connsiteX25" fmla="*/ 1767292 w 3654515"/>
              <a:gd name="connsiteY25" fmla="*/ 2920055 h 4006207"/>
              <a:gd name="connsiteX26" fmla="*/ 1876738 w 3654515"/>
              <a:gd name="connsiteY26" fmla="*/ 2931089 h 4006207"/>
              <a:gd name="connsiteX27" fmla="*/ 1903868 w 3654515"/>
              <a:gd name="connsiteY27" fmla="*/ 2939508 h 4006207"/>
              <a:gd name="connsiteX28" fmla="*/ 1908440 w 3654515"/>
              <a:gd name="connsiteY28" fmla="*/ 2924453 h 4006207"/>
              <a:gd name="connsiteX29" fmla="*/ 2610633 w 3654515"/>
              <a:gd name="connsiteY29" fmla="*/ 2448880 h 4006207"/>
              <a:gd name="connsiteX30" fmla="*/ 1328895 w 3654515"/>
              <a:gd name="connsiteY30" fmla="*/ 1748195 h 4006207"/>
              <a:gd name="connsiteX31" fmla="*/ 1421457 w 3654515"/>
              <a:gd name="connsiteY31" fmla="*/ 1798955 h 4006207"/>
              <a:gd name="connsiteX32" fmla="*/ 1455297 w 3654515"/>
              <a:gd name="connsiteY32" fmla="*/ 1937798 h 4006207"/>
              <a:gd name="connsiteX33" fmla="*/ 1419466 w 3654515"/>
              <a:gd name="connsiteY33" fmla="*/ 2070171 h 4006207"/>
              <a:gd name="connsiteX34" fmla="*/ 1325411 w 3654515"/>
              <a:gd name="connsiteY34" fmla="*/ 2119438 h 4006207"/>
              <a:gd name="connsiteX35" fmla="*/ 1228620 w 3654515"/>
              <a:gd name="connsiteY35" fmla="*/ 2070668 h 4006207"/>
              <a:gd name="connsiteX36" fmla="*/ 1193038 w 3654515"/>
              <a:gd name="connsiteY36" fmla="*/ 1934812 h 4006207"/>
              <a:gd name="connsiteX37" fmla="*/ 1228869 w 3654515"/>
              <a:gd name="connsiteY37" fmla="*/ 1796964 h 4006207"/>
              <a:gd name="connsiteX38" fmla="*/ 1328895 w 3654515"/>
              <a:gd name="connsiteY38" fmla="*/ 1748195 h 4006207"/>
              <a:gd name="connsiteX39" fmla="*/ 1785481 w 3654515"/>
              <a:gd name="connsiteY39" fmla="*/ 1577006 h 4006207"/>
              <a:gd name="connsiteX40" fmla="*/ 1785481 w 3654515"/>
              <a:gd name="connsiteY40" fmla="*/ 2290627 h 4006207"/>
              <a:gd name="connsiteX41" fmla="*/ 2246299 w 3654515"/>
              <a:gd name="connsiteY41" fmla="*/ 2290627 h 4006207"/>
              <a:gd name="connsiteX42" fmla="*/ 2246299 w 3654515"/>
              <a:gd name="connsiteY42" fmla="*/ 2122423 h 4006207"/>
              <a:gd name="connsiteX43" fmla="*/ 2000463 w 3654515"/>
              <a:gd name="connsiteY43" fmla="*/ 2122423 h 4006207"/>
              <a:gd name="connsiteX44" fmla="*/ 2000463 w 3654515"/>
              <a:gd name="connsiteY44" fmla="*/ 1577006 h 4006207"/>
              <a:gd name="connsiteX45" fmla="*/ 1330885 w 3654515"/>
              <a:gd name="connsiteY45" fmla="*/ 1565062 h 4006207"/>
              <a:gd name="connsiteX46" fmla="*/ 1140785 w 3654515"/>
              <a:gd name="connsiteY46" fmla="*/ 1612587 h 4006207"/>
              <a:gd name="connsiteX47" fmla="*/ 1010900 w 3654515"/>
              <a:gd name="connsiteY47" fmla="*/ 1747200 h 4006207"/>
              <a:gd name="connsiteX48" fmla="*/ 964619 w 3654515"/>
              <a:gd name="connsiteY48" fmla="*/ 1943272 h 4006207"/>
              <a:gd name="connsiteX49" fmla="*/ 1010403 w 3654515"/>
              <a:gd name="connsiteY49" fmla="*/ 2129639 h 4006207"/>
              <a:gd name="connsiteX50" fmla="*/ 1138546 w 3654515"/>
              <a:gd name="connsiteY50" fmla="*/ 2257534 h 4006207"/>
              <a:gd name="connsiteX51" fmla="*/ 1321430 w 3654515"/>
              <a:gd name="connsiteY51" fmla="*/ 2303068 h 4006207"/>
              <a:gd name="connsiteX52" fmla="*/ 1404537 w 3654515"/>
              <a:gd name="connsiteY52" fmla="*/ 2294608 h 4006207"/>
              <a:gd name="connsiteX53" fmla="*/ 1495108 w 3654515"/>
              <a:gd name="connsiteY53" fmla="*/ 2386672 h 4006207"/>
              <a:gd name="connsiteX54" fmla="*/ 1764831 w 3654515"/>
              <a:gd name="connsiteY54" fmla="*/ 2386672 h 4006207"/>
              <a:gd name="connsiteX55" fmla="*/ 1576224 w 3654515"/>
              <a:gd name="connsiteY55" fmla="*/ 2204535 h 4006207"/>
              <a:gd name="connsiteX56" fmla="*/ 1683217 w 3654515"/>
              <a:gd name="connsiteY56" fmla="*/ 1931826 h 4006207"/>
              <a:gd name="connsiteX57" fmla="*/ 1639176 w 3654515"/>
              <a:gd name="connsiteY57" fmla="*/ 1740482 h 4006207"/>
              <a:gd name="connsiteX58" fmla="*/ 1514267 w 3654515"/>
              <a:gd name="connsiteY58" fmla="*/ 1610597 h 4006207"/>
              <a:gd name="connsiteX59" fmla="*/ 1330885 w 3654515"/>
              <a:gd name="connsiteY59" fmla="*/ 1565062 h 4006207"/>
              <a:gd name="connsiteX60" fmla="*/ 683674 w 3654515"/>
              <a:gd name="connsiteY60" fmla="*/ 1565062 h 4006207"/>
              <a:gd name="connsiteX61" fmla="*/ 472673 w 3654515"/>
              <a:gd name="connsiteY61" fmla="*/ 1627019 h 4006207"/>
              <a:gd name="connsiteX62" fmla="*/ 394045 w 3654515"/>
              <a:gd name="connsiteY62" fmla="*/ 1792485 h 4006207"/>
              <a:gd name="connsiteX63" fmla="*/ 566230 w 3654515"/>
              <a:gd name="connsiteY63" fmla="*/ 2006472 h 4006207"/>
              <a:gd name="connsiteX64" fmla="*/ 639135 w 3654515"/>
              <a:gd name="connsiteY64" fmla="*/ 2037824 h 4006207"/>
              <a:gd name="connsiteX65" fmla="*/ 668496 w 3654515"/>
              <a:gd name="connsiteY65" fmla="*/ 2062457 h 4006207"/>
              <a:gd name="connsiteX66" fmla="*/ 678200 w 3654515"/>
              <a:gd name="connsiteY66" fmla="*/ 2093062 h 4006207"/>
              <a:gd name="connsiteX67" fmla="*/ 658792 w 3654515"/>
              <a:gd name="connsiteY67" fmla="*/ 2130137 h 4006207"/>
              <a:gd name="connsiteX68" fmla="*/ 604051 w 3654515"/>
              <a:gd name="connsiteY68" fmla="*/ 2142827 h 4006207"/>
              <a:gd name="connsiteX69" fmla="*/ 503029 w 3654515"/>
              <a:gd name="connsiteY69" fmla="*/ 2122672 h 4006207"/>
              <a:gd name="connsiteX70" fmla="*/ 403998 w 3654515"/>
              <a:gd name="connsiteY70" fmla="*/ 2069673 h 4006207"/>
              <a:gd name="connsiteX71" fmla="*/ 403998 w 3654515"/>
              <a:gd name="connsiteY71" fmla="*/ 2265247 h 4006207"/>
              <a:gd name="connsiteX72" fmla="*/ 609027 w 3654515"/>
              <a:gd name="connsiteY72" fmla="*/ 2303068 h 4006207"/>
              <a:gd name="connsiteX73" fmla="*/ 774245 w 3654515"/>
              <a:gd name="connsiteY73" fmla="*/ 2277191 h 4006207"/>
              <a:gd name="connsiteX74" fmla="*/ 880990 w 3654515"/>
              <a:gd name="connsiteY74" fmla="*/ 2198563 h 4006207"/>
              <a:gd name="connsiteX75" fmla="*/ 919059 w 3654515"/>
              <a:gd name="connsiteY75" fmla="*/ 2074650 h 4006207"/>
              <a:gd name="connsiteX76" fmla="*/ 873027 w 3654515"/>
              <a:gd name="connsiteY76" fmla="*/ 1948248 h 4006207"/>
              <a:gd name="connsiteX77" fmla="*/ 716021 w 3654515"/>
              <a:gd name="connsiteY77" fmla="*/ 1850212 h 4006207"/>
              <a:gd name="connsiteX78" fmla="*/ 642121 w 3654515"/>
              <a:gd name="connsiteY78" fmla="*/ 1812142 h 4006207"/>
              <a:gd name="connsiteX79" fmla="*/ 624454 w 3654515"/>
              <a:gd name="connsiteY79" fmla="*/ 1775068 h 4006207"/>
              <a:gd name="connsiteX80" fmla="*/ 646350 w 3654515"/>
              <a:gd name="connsiteY80" fmla="*/ 1738242 h 4006207"/>
              <a:gd name="connsiteX81" fmla="*/ 704077 w 3654515"/>
              <a:gd name="connsiteY81" fmla="*/ 1724806 h 4006207"/>
              <a:gd name="connsiteX82" fmla="*/ 881239 w 3654515"/>
              <a:gd name="connsiteY82" fmla="*/ 1774073 h 4006207"/>
              <a:gd name="connsiteX83" fmla="*/ 881239 w 3654515"/>
              <a:gd name="connsiteY83" fmla="*/ 1592433 h 4006207"/>
              <a:gd name="connsiteX84" fmla="*/ 809329 w 3654515"/>
              <a:gd name="connsiteY84" fmla="*/ 1575513 h 4006207"/>
              <a:gd name="connsiteX85" fmla="*/ 752349 w 3654515"/>
              <a:gd name="connsiteY85" fmla="*/ 1568048 h 4006207"/>
              <a:gd name="connsiteX86" fmla="*/ 683674 w 3654515"/>
              <a:gd name="connsiteY86" fmla="*/ 1565062 h 4006207"/>
              <a:gd name="connsiteX87" fmla="*/ 1309044 w 3654515"/>
              <a:gd name="connsiteY87" fmla="*/ 196190 h 4006207"/>
              <a:gd name="connsiteX88" fmla="*/ 347062 w 3654515"/>
              <a:gd name="connsiteY88" fmla="*/ 500340 h 4006207"/>
              <a:gd name="connsiteX89" fmla="*/ 1309044 w 3654515"/>
              <a:gd name="connsiteY89" fmla="*/ 804488 h 4006207"/>
              <a:gd name="connsiteX90" fmla="*/ 2271029 w 3654515"/>
              <a:gd name="connsiteY90" fmla="*/ 500340 h 4006207"/>
              <a:gd name="connsiteX91" fmla="*/ 1309044 w 3654515"/>
              <a:gd name="connsiteY91" fmla="*/ 196190 h 4006207"/>
              <a:gd name="connsiteX92" fmla="*/ 1315224 w 3654515"/>
              <a:gd name="connsiteY92" fmla="*/ 0 h 4006207"/>
              <a:gd name="connsiteX93" fmla="*/ 2630444 w 3654515"/>
              <a:gd name="connsiteY93" fmla="*/ 588894 h 4006207"/>
              <a:gd name="connsiteX94" fmla="*/ 2636856 w 3654515"/>
              <a:gd name="connsiteY94" fmla="*/ 2379088 h 4006207"/>
              <a:gd name="connsiteX95" fmla="*/ 1860931 w 3654515"/>
              <a:gd name="connsiteY95" fmla="*/ 2847882 h 4006207"/>
              <a:gd name="connsiteX96" fmla="*/ 1167213 w 3654515"/>
              <a:gd name="connsiteY96" fmla="*/ 3297268 h 4006207"/>
              <a:gd name="connsiteX97" fmla="*/ 1144936 w 3654515"/>
              <a:gd name="connsiteY97" fmla="*/ 3503600 h 4006207"/>
              <a:gd name="connsiteX98" fmla="*/ 1050193 w 3654515"/>
              <a:gd name="connsiteY98" fmla="*/ 3520680 h 4006207"/>
              <a:gd name="connsiteX99" fmla="*/ 0 w 3654515"/>
              <a:gd name="connsiteY99" fmla="*/ 2943751 h 4006207"/>
              <a:gd name="connsiteX100" fmla="*/ 0 w 3654515"/>
              <a:gd name="connsiteY100" fmla="*/ 588894 h 4006207"/>
              <a:gd name="connsiteX101" fmla="*/ 1315224 w 3654515"/>
              <a:gd name="connsiteY101" fmla="*/ 0 h 400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3654515" h="4006207">
                <a:moveTo>
                  <a:pt x="2615664" y="2534931"/>
                </a:moveTo>
                <a:cubicBezTo>
                  <a:pt x="2075168" y="2553950"/>
                  <a:pt x="1992068" y="3047282"/>
                  <a:pt x="1960582" y="3034209"/>
                </a:cubicBezTo>
                <a:cubicBezTo>
                  <a:pt x="1750630" y="2947045"/>
                  <a:pt x="1387344" y="3032852"/>
                  <a:pt x="1338741" y="3425023"/>
                </a:cubicBezTo>
                <a:cubicBezTo>
                  <a:pt x="1313406" y="3629467"/>
                  <a:pt x="1448733" y="3854175"/>
                  <a:pt x="1731746" y="3891938"/>
                </a:cubicBezTo>
                <a:lnTo>
                  <a:pt x="1776343" y="3896192"/>
                </a:lnTo>
                <a:lnTo>
                  <a:pt x="1804775" y="3901622"/>
                </a:lnTo>
                <a:lnTo>
                  <a:pt x="3274309" y="3901622"/>
                </a:lnTo>
                <a:lnTo>
                  <a:pt x="3279764" y="3900582"/>
                </a:lnTo>
                <a:lnTo>
                  <a:pt x="3285213" y="3901622"/>
                </a:lnTo>
                <a:cubicBezTo>
                  <a:pt x="3450282" y="3901622"/>
                  <a:pt x="3586162" y="3769274"/>
                  <a:pt x="3560897" y="3646315"/>
                </a:cubicBezTo>
                <a:cubicBezTo>
                  <a:pt x="3543701" y="3562623"/>
                  <a:pt x="3485290" y="3469652"/>
                  <a:pt x="3253200" y="3434254"/>
                </a:cubicBezTo>
                <a:cubicBezTo>
                  <a:pt x="3255079" y="3357929"/>
                  <a:pt x="3270309" y="3308317"/>
                  <a:pt x="3272188" y="3231989"/>
                </a:cubicBezTo>
                <a:cubicBezTo>
                  <a:pt x="3272188" y="2854587"/>
                  <a:pt x="3006128" y="2534931"/>
                  <a:pt x="2615664" y="2534931"/>
                </a:cubicBezTo>
                <a:close/>
                <a:moveTo>
                  <a:pt x="2610633" y="2448880"/>
                </a:moveTo>
                <a:cubicBezTo>
                  <a:pt x="3031516" y="2448880"/>
                  <a:pt x="3372712" y="2797500"/>
                  <a:pt x="3372712" y="3227544"/>
                </a:cubicBezTo>
                <a:lnTo>
                  <a:pt x="3352240" y="3365886"/>
                </a:lnTo>
                <a:lnTo>
                  <a:pt x="3457751" y="3387188"/>
                </a:lnTo>
                <a:cubicBezTo>
                  <a:pt x="3573383" y="3436096"/>
                  <a:pt x="3654515" y="3550593"/>
                  <a:pt x="3654515" y="3684038"/>
                </a:cubicBezTo>
                <a:cubicBezTo>
                  <a:pt x="3654515" y="3861967"/>
                  <a:pt x="3510277" y="4006204"/>
                  <a:pt x="3332349" y="4006204"/>
                </a:cubicBezTo>
                <a:lnTo>
                  <a:pt x="3326473" y="4005021"/>
                </a:lnTo>
                <a:lnTo>
                  <a:pt x="3320592" y="4006207"/>
                </a:lnTo>
                <a:lnTo>
                  <a:pt x="1736561" y="4006204"/>
                </a:lnTo>
                <a:lnTo>
                  <a:pt x="1705914" y="4000020"/>
                </a:lnTo>
                <a:lnTo>
                  <a:pt x="1657844" y="3995171"/>
                </a:lnTo>
                <a:cubicBezTo>
                  <a:pt x="1410373" y="3944532"/>
                  <a:pt x="1224216" y="3725571"/>
                  <a:pt x="1224216" y="3463131"/>
                </a:cubicBezTo>
                <a:cubicBezTo>
                  <a:pt x="1224216" y="3163198"/>
                  <a:pt x="1467359" y="2920055"/>
                  <a:pt x="1767292" y="2920055"/>
                </a:cubicBezTo>
                <a:cubicBezTo>
                  <a:pt x="1804783" y="2920055"/>
                  <a:pt x="1841387" y="2923852"/>
                  <a:pt x="1876738" y="2931089"/>
                </a:cubicBezTo>
                <a:lnTo>
                  <a:pt x="1903868" y="2939508"/>
                </a:lnTo>
                <a:lnTo>
                  <a:pt x="1908440" y="2924453"/>
                </a:lnTo>
                <a:cubicBezTo>
                  <a:pt x="2024131" y="2644980"/>
                  <a:pt x="2294968" y="2448880"/>
                  <a:pt x="2610633" y="2448880"/>
                </a:cubicBezTo>
                <a:close/>
                <a:moveTo>
                  <a:pt x="1328895" y="1748195"/>
                </a:moveTo>
                <a:cubicBezTo>
                  <a:pt x="1368043" y="1748195"/>
                  <a:pt x="1398897" y="1765115"/>
                  <a:pt x="1421457" y="1798955"/>
                </a:cubicBezTo>
                <a:cubicBezTo>
                  <a:pt x="1444017" y="1832795"/>
                  <a:pt x="1455297" y="1879076"/>
                  <a:pt x="1455297" y="1937798"/>
                </a:cubicBezTo>
                <a:cubicBezTo>
                  <a:pt x="1455297" y="1993202"/>
                  <a:pt x="1443353" y="2037326"/>
                  <a:pt x="1419466" y="2070171"/>
                </a:cubicBezTo>
                <a:cubicBezTo>
                  <a:pt x="1395579" y="2103015"/>
                  <a:pt x="1364228" y="2119438"/>
                  <a:pt x="1325411" y="2119438"/>
                </a:cubicBezTo>
                <a:cubicBezTo>
                  <a:pt x="1284605" y="2119438"/>
                  <a:pt x="1252341" y="2103181"/>
                  <a:pt x="1228620" y="2070668"/>
                </a:cubicBezTo>
                <a:cubicBezTo>
                  <a:pt x="1204899" y="2038156"/>
                  <a:pt x="1193038" y="1992870"/>
                  <a:pt x="1193038" y="1934812"/>
                </a:cubicBezTo>
                <a:cubicBezTo>
                  <a:pt x="1193038" y="1875426"/>
                  <a:pt x="1204981" y="1829477"/>
                  <a:pt x="1228869" y="1796964"/>
                </a:cubicBezTo>
                <a:cubicBezTo>
                  <a:pt x="1252755" y="1764451"/>
                  <a:pt x="1286097" y="1748195"/>
                  <a:pt x="1328895" y="1748195"/>
                </a:cubicBezTo>
                <a:close/>
                <a:moveTo>
                  <a:pt x="1785481" y="1577006"/>
                </a:moveTo>
                <a:lnTo>
                  <a:pt x="1785481" y="2290627"/>
                </a:lnTo>
                <a:lnTo>
                  <a:pt x="2246299" y="2290627"/>
                </a:lnTo>
                <a:lnTo>
                  <a:pt x="2246299" y="2122423"/>
                </a:lnTo>
                <a:lnTo>
                  <a:pt x="2000463" y="2122423"/>
                </a:lnTo>
                <a:lnTo>
                  <a:pt x="2000463" y="1577006"/>
                </a:lnTo>
                <a:close/>
                <a:moveTo>
                  <a:pt x="1330885" y="1565062"/>
                </a:moveTo>
                <a:cubicBezTo>
                  <a:pt x="1259888" y="1565062"/>
                  <a:pt x="1196522" y="1580904"/>
                  <a:pt x="1140785" y="1612587"/>
                </a:cubicBezTo>
                <a:cubicBezTo>
                  <a:pt x="1085049" y="1644270"/>
                  <a:pt x="1041754" y="1689141"/>
                  <a:pt x="1010900" y="1747200"/>
                </a:cubicBezTo>
                <a:cubicBezTo>
                  <a:pt x="980046" y="1805258"/>
                  <a:pt x="964619" y="1870616"/>
                  <a:pt x="964619" y="1943272"/>
                </a:cubicBezTo>
                <a:cubicBezTo>
                  <a:pt x="964619" y="2012610"/>
                  <a:pt x="979880" y="2074733"/>
                  <a:pt x="1010403" y="2129639"/>
                </a:cubicBezTo>
                <a:cubicBezTo>
                  <a:pt x="1040925" y="2184546"/>
                  <a:pt x="1083639" y="2227178"/>
                  <a:pt x="1138546" y="2257534"/>
                </a:cubicBezTo>
                <a:cubicBezTo>
                  <a:pt x="1193453" y="2287890"/>
                  <a:pt x="1254414" y="2303068"/>
                  <a:pt x="1321430" y="2303068"/>
                </a:cubicBezTo>
                <a:cubicBezTo>
                  <a:pt x="1350294" y="2303068"/>
                  <a:pt x="1377996" y="2300248"/>
                  <a:pt x="1404537" y="2294608"/>
                </a:cubicBezTo>
                <a:lnTo>
                  <a:pt x="1495108" y="2386672"/>
                </a:lnTo>
                <a:lnTo>
                  <a:pt x="1764831" y="2386672"/>
                </a:lnTo>
                <a:lnTo>
                  <a:pt x="1576224" y="2204535"/>
                </a:lnTo>
                <a:cubicBezTo>
                  <a:pt x="1647553" y="2133206"/>
                  <a:pt x="1683217" y="2042303"/>
                  <a:pt x="1683217" y="1931826"/>
                </a:cubicBezTo>
                <a:cubicBezTo>
                  <a:pt x="1683217" y="1860497"/>
                  <a:pt x="1668537" y="1796715"/>
                  <a:pt x="1639176" y="1740482"/>
                </a:cubicBezTo>
                <a:cubicBezTo>
                  <a:pt x="1609815" y="1684248"/>
                  <a:pt x="1568179" y="1640953"/>
                  <a:pt x="1514267" y="1610597"/>
                </a:cubicBezTo>
                <a:cubicBezTo>
                  <a:pt x="1460356" y="1580240"/>
                  <a:pt x="1399229" y="1565062"/>
                  <a:pt x="1330885" y="1565062"/>
                </a:cubicBezTo>
                <a:close/>
                <a:moveTo>
                  <a:pt x="683674" y="1565062"/>
                </a:moveTo>
                <a:cubicBezTo>
                  <a:pt x="595425" y="1565062"/>
                  <a:pt x="525091" y="1585714"/>
                  <a:pt x="472673" y="1627019"/>
                </a:cubicBezTo>
                <a:cubicBezTo>
                  <a:pt x="420254" y="1668323"/>
                  <a:pt x="394045" y="1723479"/>
                  <a:pt x="394045" y="1792485"/>
                </a:cubicBezTo>
                <a:cubicBezTo>
                  <a:pt x="394045" y="1891019"/>
                  <a:pt x="451440" y="1962348"/>
                  <a:pt x="566230" y="2006472"/>
                </a:cubicBezTo>
                <a:cubicBezTo>
                  <a:pt x="601728" y="2019743"/>
                  <a:pt x="626030" y="2030193"/>
                  <a:pt x="639135" y="2037824"/>
                </a:cubicBezTo>
                <a:cubicBezTo>
                  <a:pt x="652239" y="2045455"/>
                  <a:pt x="662026" y="2053666"/>
                  <a:pt x="668496" y="2062457"/>
                </a:cubicBezTo>
                <a:cubicBezTo>
                  <a:pt x="674965" y="2071249"/>
                  <a:pt x="678200" y="2081451"/>
                  <a:pt x="678200" y="2093062"/>
                </a:cubicBezTo>
                <a:cubicBezTo>
                  <a:pt x="678200" y="2109319"/>
                  <a:pt x="671730" y="2121677"/>
                  <a:pt x="658792" y="2130137"/>
                </a:cubicBezTo>
                <a:cubicBezTo>
                  <a:pt x="645853" y="2138597"/>
                  <a:pt x="627606" y="2142827"/>
                  <a:pt x="604051" y="2142827"/>
                </a:cubicBezTo>
                <a:cubicBezTo>
                  <a:pt x="572865" y="2142827"/>
                  <a:pt x="539191" y="2136109"/>
                  <a:pt x="503029" y="2122672"/>
                </a:cubicBezTo>
                <a:cubicBezTo>
                  <a:pt x="466867" y="2109236"/>
                  <a:pt x="433857" y="2091570"/>
                  <a:pt x="403998" y="2069673"/>
                </a:cubicBezTo>
                <a:lnTo>
                  <a:pt x="403998" y="2265247"/>
                </a:lnTo>
                <a:cubicBezTo>
                  <a:pt x="466037" y="2290461"/>
                  <a:pt x="534381" y="2303068"/>
                  <a:pt x="609027" y="2303068"/>
                </a:cubicBezTo>
                <a:cubicBezTo>
                  <a:pt x="673389" y="2303068"/>
                  <a:pt x="728462" y="2294442"/>
                  <a:pt x="774245" y="2277191"/>
                </a:cubicBezTo>
                <a:cubicBezTo>
                  <a:pt x="820028" y="2259939"/>
                  <a:pt x="855610" y="2233730"/>
                  <a:pt x="880990" y="2198563"/>
                </a:cubicBezTo>
                <a:cubicBezTo>
                  <a:pt x="906370" y="2163396"/>
                  <a:pt x="919059" y="2122092"/>
                  <a:pt x="919059" y="2074650"/>
                </a:cubicBezTo>
                <a:cubicBezTo>
                  <a:pt x="919059" y="2025881"/>
                  <a:pt x="903715" y="1983747"/>
                  <a:pt x="873027" y="1948248"/>
                </a:cubicBezTo>
                <a:cubicBezTo>
                  <a:pt x="842339" y="1912749"/>
                  <a:pt x="790004" y="1880071"/>
                  <a:pt x="716021" y="1850212"/>
                </a:cubicBezTo>
                <a:cubicBezTo>
                  <a:pt x="678532" y="1834619"/>
                  <a:pt x="653898" y="1821929"/>
                  <a:pt x="642121" y="1812142"/>
                </a:cubicBezTo>
                <a:cubicBezTo>
                  <a:pt x="630343" y="1802355"/>
                  <a:pt x="624454" y="1789997"/>
                  <a:pt x="624454" y="1775068"/>
                </a:cubicBezTo>
                <a:cubicBezTo>
                  <a:pt x="624454" y="1759475"/>
                  <a:pt x="631753" y="1747200"/>
                  <a:pt x="646350" y="1738242"/>
                </a:cubicBezTo>
                <a:cubicBezTo>
                  <a:pt x="660948" y="1729285"/>
                  <a:pt x="680190" y="1724806"/>
                  <a:pt x="704077" y="1724806"/>
                </a:cubicBezTo>
                <a:cubicBezTo>
                  <a:pt x="762136" y="1724806"/>
                  <a:pt x="821189" y="1741228"/>
                  <a:pt x="881239" y="1774073"/>
                </a:cubicBezTo>
                <a:lnTo>
                  <a:pt x="881239" y="1592433"/>
                </a:lnTo>
                <a:cubicBezTo>
                  <a:pt x="850385" y="1584139"/>
                  <a:pt x="826415" y="1578499"/>
                  <a:pt x="809329" y="1575513"/>
                </a:cubicBezTo>
                <a:cubicBezTo>
                  <a:pt x="792243" y="1572527"/>
                  <a:pt x="773250" y="1570039"/>
                  <a:pt x="752349" y="1568048"/>
                </a:cubicBezTo>
                <a:cubicBezTo>
                  <a:pt x="731448" y="1566057"/>
                  <a:pt x="708556" y="1565062"/>
                  <a:pt x="683674" y="1565062"/>
                </a:cubicBezTo>
                <a:close/>
                <a:moveTo>
                  <a:pt x="1309044" y="196190"/>
                </a:moveTo>
                <a:cubicBezTo>
                  <a:pt x="777755" y="196190"/>
                  <a:pt x="347062" y="332363"/>
                  <a:pt x="347062" y="500340"/>
                </a:cubicBezTo>
                <a:cubicBezTo>
                  <a:pt x="347062" y="668316"/>
                  <a:pt x="777755" y="804488"/>
                  <a:pt x="1309044" y="804488"/>
                </a:cubicBezTo>
                <a:cubicBezTo>
                  <a:pt x="1840335" y="804488"/>
                  <a:pt x="2271029" y="668316"/>
                  <a:pt x="2271029" y="500340"/>
                </a:cubicBezTo>
                <a:cubicBezTo>
                  <a:pt x="2271029" y="332363"/>
                  <a:pt x="1840335" y="196190"/>
                  <a:pt x="1309044" y="196190"/>
                </a:cubicBezTo>
                <a:close/>
                <a:moveTo>
                  <a:pt x="1315224" y="0"/>
                </a:moveTo>
                <a:cubicBezTo>
                  <a:pt x="2041487" y="0"/>
                  <a:pt x="2630444" y="263538"/>
                  <a:pt x="2630444" y="588894"/>
                </a:cubicBezTo>
                <a:cubicBezTo>
                  <a:pt x="2632582" y="1185624"/>
                  <a:pt x="2634718" y="1782357"/>
                  <a:pt x="2636856" y="2379088"/>
                </a:cubicBezTo>
                <a:cubicBezTo>
                  <a:pt x="2239277" y="2346543"/>
                  <a:pt x="1952849" y="2602556"/>
                  <a:pt x="1860931" y="2847882"/>
                </a:cubicBezTo>
                <a:cubicBezTo>
                  <a:pt x="1610647" y="2807470"/>
                  <a:pt x="1299367" y="2933621"/>
                  <a:pt x="1167213" y="3297268"/>
                </a:cubicBezTo>
                <a:cubicBezTo>
                  <a:pt x="1137653" y="3455719"/>
                  <a:pt x="1164439" y="3466365"/>
                  <a:pt x="1144936" y="3503600"/>
                </a:cubicBezTo>
                <a:cubicBezTo>
                  <a:pt x="1125433" y="3540836"/>
                  <a:pt x="1157653" y="3515663"/>
                  <a:pt x="1050193" y="3520680"/>
                </a:cubicBezTo>
                <a:cubicBezTo>
                  <a:pt x="450921" y="3465791"/>
                  <a:pt x="0" y="3228437"/>
                  <a:pt x="0" y="2943751"/>
                </a:cubicBezTo>
                <a:lnTo>
                  <a:pt x="0" y="588894"/>
                </a:lnTo>
                <a:cubicBezTo>
                  <a:pt x="0" y="263538"/>
                  <a:pt x="588957" y="0"/>
                  <a:pt x="1315224" y="0"/>
                </a:cubicBezTo>
                <a:close/>
              </a:path>
            </a:pathLst>
          </a:custGeom>
          <a:solidFill>
            <a:srgbClr val="282828"/>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600"/>
              </a:spcAft>
            </a:pPr>
            <a:endParaRPr lang="en-US" sz="8000" dirty="0">
              <a:gradFill>
                <a:gsLst>
                  <a:gs pos="2917">
                    <a:schemeClr val="tx1"/>
                  </a:gs>
                  <a:gs pos="30000">
                    <a:schemeClr val="tx1"/>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81" name="Left Bracket 80"/>
          <p:cNvSpPr/>
          <p:nvPr/>
        </p:nvSpPr>
        <p:spPr>
          <a:xfrm flipH="1">
            <a:off x="6582432" y="2006422"/>
            <a:ext cx="184802" cy="2942710"/>
          </a:xfrm>
          <a:prstGeom prst="leftBracket">
            <a:avLst/>
          </a:prstGeom>
          <a:ln w="19050">
            <a:solidFill>
              <a:srgbClr val="EDC30D"/>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836" b="1" dirty="0"/>
          </a:p>
        </p:txBody>
      </p:sp>
      <p:sp>
        <p:nvSpPr>
          <p:cNvPr id="83" name="TextBox 82"/>
          <p:cNvSpPr txBox="1"/>
          <p:nvPr/>
        </p:nvSpPr>
        <p:spPr>
          <a:xfrm>
            <a:off x="7568611" y="4328450"/>
            <a:ext cx="396262" cy="26161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82828"/>
                </a:solidFill>
                <a:effectLst/>
                <a:uLnTx/>
                <a:uFillTx/>
              </a:rPr>
              <a:t>1,N</a:t>
            </a:r>
          </a:p>
        </p:txBody>
      </p:sp>
      <p:sp>
        <p:nvSpPr>
          <p:cNvPr id="84" name="Left Arrow 83"/>
          <p:cNvSpPr/>
          <p:nvPr/>
        </p:nvSpPr>
        <p:spPr>
          <a:xfrm>
            <a:off x="6879512" y="3256433"/>
            <a:ext cx="441771" cy="221344"/>
          </a:xfrm>
          <a:prstGeom prst="lef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5" name="Down Arrow 84"/>
          <p:cNvSpPr/>
          <p:nvPr/>
        </p:nvSpPr>
        <p:spPr>
          <a:xfrm>
            <a:off x="7921209" y="1615291"/>
            <a:ext cx="221343" cy="430834"/>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6" name="TextBox 85"/>
          <p:cNvSpPr txBox="1"/>
          <p:nvPr/>
        </p:nvSpPr>
        <p:spPr>
          <a:xfrm>
            <a:off x="6655316" y="999637"/>
            <a:ext cx="396262" cy="26161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82828"/>
                </a:solidFill>
                <a:effectLst/>
                <a:uLnTx/>
                <a:uFillTx/>
              </a:rPr>
              <a:t>1,N</a:t>
            </a:r>
          </a:p>
        </p:txBody>
      </p:sp>
      <p:sp>
        <p:nvSpPr>
          <p:cNvPr id="87" name="Down Arrow 86"/>
          <p:cNvSpPr/>
          <p:nvPr/>
        </p:nvSpPr>
        <p:spPr>
          <a:xfrm rot="-5400000">
            <a:off x="6838794" y="952935"/>
            <a:ext cx="221343" cy="731520"/>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7" name="TextBox 76"/>
          <p:cNvSpPr txBox="1"/>
          <p:nvPr/>
        </p:nvSpPr>
        <p:spPr>
          <a:xfrm>
            <a:off x="5448017" y="4686168"/>
            <a:ext cx="1226044" cy="230832"/>
          </a:xfrm>
          <a:prstGeom prst="rect">
            <a:avLst/>
          </a:prstGeom>
          <a:noFill/>
        </p:spPr>
        <p:txBody>
          <a:bodyPr wrap="square" rtlCol="0">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lang="en-US" sz="900" kern="0" noProof="0" dirty="0">
                <a:solidFill>
                  <a:srgbClr val="282828"/>
                </a:solidFill>
                <a:latin typeface="Segoe UI Semibold" panose="020B0702040204020203" pitchFamily="34" charset="0"/>
                <a:cs typeface="Segoe UI Semibold" panose="020B0702040204020203" pitchFamily="34" charset="0"/>
              </a:rPr>
              <a:t>o</a:t>
            </a:r>
            <a:r>
              <a:rPr kumimoji="0" lang="en-US" sz="9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n Azure HDInsight</a:t>
            </a:r>
          </a:p>
        </p:txBody>
      </p:sp>
      <p:pic>
        <p:nvPicPr>
          <p:cNvPr id="42" name="Picture 4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75258" y="4282602"/>
            <a:ext cx="771559" cy="403566"/>
          </a:xfrm>
          <a:prstGeom prst="rect">
            <a:avLst/>
          </a:prstGeom>
        </p:spPr>
      </p:pic>
    </p:spTree>
    <p:extLst>
      <p:ext uri="{BB962C8B-B14F-4D97-AF65-F5344CB8AC3E}">
        <p14:creationId xmlns:p14="http://schemas.microsoft.com/office/powerpoint/2010/main" val="16249290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356896" y="2484523"/>
            <a:ext cx="4320544" cy="3785652"/>
          </a:xfrm>
        </p:spPr>
        <p:txBody>
          <a:bodyPr bIns="91440">
            <a:normAutofit/>
          </a:bodyPr>
          <a:lstStyle/>
          <a:p>
            <a:pPr marL="342900" indent="-342900">
              <a:spcAft>
                <a:spcPts val="1800"/>
              </a:spcAft>
              <a:defRPr/>
            </a:pPr>
            <a:r>
              <a:rPr lang="zh-TW" altLang="en-US" kern="0" dirty="0">
                <a:solidFill>
                  <a:srgbClr val="EDC30D"/>
                </a:solidFill>
                <a:latin typeface="Segoe UI Light" panose="020B0502040204020203" pitchFamily="34" charset="0"/>
                <a:cs typeface="Segoe UI Light" panose="020B0502040204020203" pitchFamily="34" charset="0"/>
              </a:rPr>
              <a:t>使用 </a:t>
            </a:r>
            <a:r>
              <a:rPr lang="en-US" altLang="zh-TW" kern="0" dirty="0">
                <a:solidFill>
                  <a:srgbClr val="EDC30D"/>
                </a:solidFill>
                <a:latin typeface="Segoe UI Light" panose="020B0502040204020203" pitchFamily="34" charset="0"/>
                <a:cs typeface="Segoe UI Light" panose="020B0502040204020203" pitchFamily="34" charset="0"/>
              </a:rPr>
              <a:t>Power BI Desktop </a:t>
            </a:r>
            <a:r>
              <a:rPr lang="zh-TW" altLang="en-US" kern="0" dirty="0">
                <a:solidFill>
                  <a:srgbClr val="EDC30D"/>
                </a:solidFill>
                <a:latin typeface="Segoe UI Light" panose="020B0502040204020203" pitchFamily="34" charset="0"/>
                <a:cs typeface="Segoe UI Light" panose="020B0502040204020203" pitchFamily="34" charset="0"/>
              </a:rPr>
              <a:t>操作報表</a:t>
            </a:r>
            <a:br>
              <a:rPr lang="en-US" altLang="zh-TW" kern="0" dirty="0">
                <a:solidFill>
                  <a:srgbClr val="EDC30D"/>
                </a:solidFill>
                <a:latin typeface="Segoe UI Light" panose="020B0502040204020203" pitchFamily="34" charset="0"/>
                <a:cs typeface="Segoe UI Light" panose="020B0502040204020203" pitchFamily="34" charset="0"/>
              </a:rPr>
            </a:br>
            <a:r>
              <a:rPr lang="zh-TW" altLang="en-US" kern="0" dirty="0">
                <a:solidFill>
                  <a:srgbClr val="EDC30D"/>
                </a:solidFill>
                <a:latin typeface="Segoe UI Light" panose="020B0502040204020203" pitchFamily="34" charset="0"/>
                <a:cs typeface="Segoe UI Light" panose="020B0502040204020203" pitchFamily="34" charset="0"/>
              </a:rPr>
              <a:t>完全免費</a:t>
            </a:r>
            <a:endParaRPr lang="en-US" kern="0" dirty="0">
              <a:solidFill>
                <a:srgbClr val="EDC30D"/>
              </a:solidFill>
              <a:latin typeface="Segoe UI Light" panose="020B0502040204020203" pitchFamily="34" charset="0"/>
              <a:cs typeface="Segoe UI Light" panose="020B0502040204020203" pitchFamily="34" charset="0"/>
            </a:endParaRPr>
          </a:p>
          <a:p>
            <a:pPr marL="342900" indent="-342900">
              <a:spcBef>
                <a:spcPts val="600"/>
              </a:spcBef>
              <a:spcAft>
                <a:spcPts val="600"/>
              </a:spcAft>
              <a:defRPr/>
            </a:pPr>
            <a:r>
              <a:rPr lang="zh-TW" altLang="en-US" kern="0" dirty="0">
                <a:solidFill>
                  <a:srgbClr val="EDC30D"/>
                </a:solidFill>
                <a:latin typeface="Segoe UI Light" panose="020B0502040204020203" pitchFamily="34" charset="0"/>
                <a:cs typeface="Segoe UI Light" panose="020B0502040204020203" pitchFamily="34" charset="0"/>
              </a:rPr>
              <a:t>計算成本更輕鬆直覺</a:t>
            </a:r>
            <a:endParaRPr lang="en-US" kern="0" dirty="0">
              <a:solidFill>
                <a:srgbClr val="EDC30D"/>
              </a:solidFill>
              <a:latin typeface="Segoe UI Light" panose="020B0502040204020203" pitchFamily="34" charset="0"/>
              <a:cs typeface="Segoe UI Light" panose="020B0502040204020203" pitchFamily="34" charset="0"/>
            </a:endParaRPr>
          </a:p>
          <a:p>
            <a:pPr marL="342900" indent="-342900">
              <a:spcBef>
                <a:spcPts val="600"/>
              </a:spcBef>
              <a:spcAft>
                <a:spcPts val="600"/>
              </a:spcAft>
              <a:defRPr/>
            </a:pPr>
            <a:endParaRPr lang="en-US" kern="0" dirty="0">
              <a:solidFill>
                <a:srgbClr val="EDC30D"/>
              </a:solidFill>
              <a:latin typeface="Segoe UI Light" panose="020B0502040204020203" pitchFamily="34" charset="0"/>
              <a:cs typeface="Segoe UI Light" panose="020B0502040204020203" pitchFamily="34" charset="0"/>
            </a:endParaRPr>
          </a:p>
          <a:p>
            <a:pPr marL="342900" indent="-342900">
              <a:spcBef>
                <a:spcPts val="600"/>
              </a:spcBef>
              <a:spcAft>
                <a:spcPts val="600"/>
              </a:spcAft>
              <a:defRPr/>
            </a:pPr>
            <a:endParaRPr lang="en-US" kern="0" dirty="0">
              <a:solidFill>
                <a:srgbClr val="EDC30D"/>
              </a:solidFill>
              <a:latin typeface="Segoe UI Light" panose="020B0502040204020203" pitchFamily="34" charset="0"/>
              <a:cs typeface="Segoe UI Light" panose="020B0502040204020203" pitchFamily="34" charset="0"/>
            </a:endParaRPr>
          </a:p>
        </p:txBody>
      </p:sp>
      <p:sp>
        <p:nvSpPr>
          <p:cNvPr id="3" name="Title 2"/>
          <p:cNvSpPr>
            <a:spLocks noGrp="1"/>
          </p:cNvSpPr>
          <p:nvPr>
            <p:ph type="title"/>
          </p:nvPr>
        </p:nvSpPr>
        <p:spPr>
          <a:xfrm>
            <a:off x="364602" y="592633"/>
            <a:ext cx="4643916" cy="1181862"/>
          </a:xfrm>
        </p:spPr>
        <p:txBody>
          <a:bodyPr/>
          <a:lstStyle/>
          <a:p>
            <a:r>
              <a:rPr lang="zh-TW" altLang="en-US" b="1" kern="0" dirty="0">
                <a:solidFill>
                  <a:srgbClr val="EDC30D"/>
                </a:solidFill>
                <a:latin typeface="Segoe UI Black" panose="020B0A02040204020203" pitchFamily="34" charset="0"/>
                <a:ea typeface="Segoe UI Black" panose="020B0A02040204020203" pitchFamily="34" charset="0"/>
                <a:cs typeface="Segoe UI Black" panose="020B0A02040204020203" pitchFamily="34" charset="0"/>
              </a:rPr>
              <a:t>隨用即付</a:t>
            </a:r>
            <a:r>
              <a:rPr lang="en-US" kern="0" dirty="0">
                <a:solidFill>
                  <a:srgbClr val="EDC30D"/>
                </a:solidFill>
                <a:latin typeface="Segoe UI Black" panose="020B0A02040204020203" pitchFamily="34" charset="0"/>
                <a:ea typeface="Segoe UI Black" panose="020B0A02040204020203" pitchFamily="34" charset="0"/>
                <a:cs typeface="Segoe UI Black" panose="020B0A02040204020203" pitchFamily="34" charset="0"/>
              </a:rPr>
              <a:t>,</a:t>
            </a:r>
            <a:r>
              <a:rPr lang="en-US" kern="0" dirty="0">
                <a:solidFill>
                  <a:srgbClr val="EDC30D"/>
                </a:solidFill>
              </a:rPr>
              <a:t> </a:t>
            </a:r>
            <a:r>
              <a:rPr lang="zh-TW" altLang="en-US" kern="0" dirty="0">
                <a:solidFill>
                  <a:srgbClr val="EDC30D"/>
                </a:solidFill>
              </a:rPr>
              <a:t>依照 </a:t>
            </a:r>
            <a:r>
              <a:rPr lang="en-US" kern="0" dirty="0">
                <a:solidFill>
                  <a:srgbClr val="EDC30D"/>
                </a:solidFill>
              </a:rPr>
              <a:t>session </a:t>
            </a:r>
            <a:r>
              <a:rPr lang="zh-TW" altLang="en-US" kern="0" dirty="0">
                <a:solidFill>
                  <a:srgbClr val="EDC30D"/>
                </a:solidFill>
              </a:rPr>
              <a:t>數計價</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4169932815"/>
              </p:ext>
            </p:extLst>
          </p:nvPr>
        </p:nvGraphicFramePr>
        <p:xfrm>
          <a:off x="5651890" y="1255653"/>
          <a:ext cx="5903808" cy="1586136"/>
        </p:xfrm>
        <a:graphic>
          <a:graphicData uri="http://schemas.openxmlformats.org/drawingml/2006/table">
            <a:tbl>
              <a:tblPr>
                <a:tableStyleId>{073A0DAA-6AF3-43AB-8588-CEC1D06C72B9}</a:tableStyleId>
              </a:tblPr>
              <a:tblGrid>
                <a:gridCol w="2951904">
                  <a:extLst>
                    <a:ext uri="{9D8B030D-6E8A-4147-A177-3AD203B41FA5}">
                      <a16:colId xmlns:a16="http://schemas.microsoft.com/office/drawing/2014/main" val="20000"/>
                    </a:ext>
                  </a:extLst>
                </a:gridCol>
                <a:gridCol w="2951904">
                  <a:extLst>
                    <a:ext uri="{9D8B030D-6E8A-4147-A177-3AD203B41FA5}">
                      <a16:colId xmlns:a16="http://schemas.microsoft.com/office/drawing/2014/main" val="3925403586"/>
                    </a:ext>
                  </a:extLst>
                </a:gridCol>
              </a:tblGrid>
              <a:tr h="763176">
                <a:tc>
                  <a:txBody>
                    <a:bodyPr/>
                    <a:lstStyle/>
                    <a:p>
                      <a:pPr marL="0" marR="0" indent="0" algn="l" defTabSz="914400" rtl="0" eaLnBrk="1" fontAlgn="auto" latinLnBrk="0" hangingPunct="1">
                        <a:lnSpc>
                          <a:spcPct val="200000"/>
                        </a:lnSpc>
                        <a:spcBef>
                          <a:spcPts val="0"/>
                        </a:spcBef>
                        <a:spcAft>
                          <a:spcPts val="0"/>
                        </a:spcAft>
                        <a:buClrTx/>
                        <a:buSzTx/>
                        <a:buFontTx/>
                        <a:buNone/>
                        <a:tabLst/>
                        <a:defRPr/>
                      </a:pPr>
                      <a:r>
                        <a:rPr lang="en-US" sz="2400" b="1" cap="none" dirty="0">
                          <a:solidFill>
                            <a:srgbClr val="282828"/>
                          </a:solidFill>
                          <a:effectLst/>
                          <a:latin typeface="+mn-lt"/>
                          <a:ea typeface="Segoe UI Black" panose="020B0A02040204020203" pitchFamily="34" charset="0"/>
                          <a:cs typeface="Segoe UI Black" panose="020B0A02040204020203" pitchFamily="34" charset="0"/>
                        </a:rPr>
                        <a:t>0-</a:t>
                      </a:r>
                      <a:r>
                        <a:rPr lang="en-US" sz="2400" b="1" cap="none" dirty="0">
                          <a:solidFill>
                            <a:srgbClr val="282828"/>
                          </a:solidFill>
                          <a:effectLst/>
                          <a:latin typeface="+mn-lt"/>
                          <a:ea typeface="+mn-ea"/>
                          <a:cs typeface="Segoe UI Light" panose="020B0502040204020203" pitchFamily="34" charset="0"/>
                        </a:rPr>
                        <a:t>100</a:t>
                      </a:r>
                      <a:endParaRPr lang="en-US" sz="2000" b="0" dirty="0">
                        <a:solidFill>
                          <a:srgbClr val="282828"/>
                        </a:solidFill>
                        <a:effectLst/>
                        <a:latin typeface="+mn-lt"/>
                        <a:ea typeface="Calibri" panose="020F0502020204030204" pitchFamily="34" charset="0"/>
                        <a:cs typeface="Segoe UI Semibold" panose="020B0702040204020203" pitchFamily="34" charset="0"/>
                      </a:endParaRPr>
                    </a:p>
                  </a:txBody>
                  <a:tcPr marL="274320" marR="0" marT="0" marB="91440" anchor="ctr">
                    <a:lnL w="12700" cmpd="sng">
                      <a:noFill/>
                    </a:lnL>
                    <a:lnR w="9525" cap="flat" cmpd="sng" algn="ctr">
                      <a:solidFill>
                        <a:schemeClr val="bg1"/>
                      </a:solid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C30D"/>
                    </a:solidFill>
                  </a:tcPr>
                </a:tc>
                <a:tc>
                  <a:txBody>
                    <a:bodyPr/>
                    <a:lstStyle/>
                    <a:p>
                      <a:pPr marL="0" marR="0" indent="0" algn="l" defTabSz="914400" rtl="0" eaLnBrk="1" fontAlgn="auto" latinLnBrk="0" hangingPunct="1">
                        <a:lnSpc>
                          <a:spcPct val="200000"/>
                        </a:lnSpc>
                        <a:spcBef>
                          <a:spcPts val="0"/>
                        </a:spcBef>
                        <a:spcAft>
                          <a:spcPts val="0"/>
                        </a:spcAft>
                        <a:buClrTx/>
                        <a:buSzTx/>
                        <a:buFontTx/>
                        <a:buNone/>
                        <a:tabLst/>
                        <a:defRPr/>
                      </a:pPr>
                      <a:r>
                        <a:rPr lang="zh-TW" altLang="en-US" sz="2400" b="1" kern="1200" cap="none" dirty="0">
                          <a:solidFill>
                            <a:srgbClr val="282828"/>
                          </a:solidFill>
                          <a:effectLst/>
                          <a:latin typeface="+mn-lt"/>
                          <a:ea typeface="+mn-ea"/>
                          <a:cs typeface="Segoe UI Light" panose="020B0502040204020203" pitchFamily="34" charset="0"/>
                        </a:rPr>
                        <a:t>免費</a:t>
                      </a:r>
                      <a:endParaRPr lang="en-US" sz="2400" b="0" kern="1200" cap="none" dirty="0">
                        <a:solidFill>
                          <a:srgbClr val="282828"/>
                        </a:solidFill>
                        <a:effectLst/>
                        <a:latin typeface="Segoe UI Black" panose="020B0A02040204020203" pitchFamily="34" charset="0"/>
                        <a:ea typeface="Segoe UI Black" panose="020B0A02040204020203" pitchFamily="34" charset="0"/>
                        <a:cs typeface="Segoe UI Black" panose="020B0A02040204020203" pitchFamily="34" charset="0"/>
                      </a:endParaRPr>
                    </a:p>
                  </a:txBody>
                  <a:tcPr marL="274320" marR="0" marT="0" marB="9144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C30D"/>
                    </a:solidFill>
                  </a:tcPr>
                </a:tc>
                <a:extLst>
                  <a:ext uri="{0D108BD9-81ED-4DB2-BD59-A6C34878D82A}">
                    <a16:rowId xmlns:a16="http://schemas.microsoft.com/office/drawing/2014/main" val="10000"/>
                  </a:ext>
                </a:extLst>
              </a:tr>
              <a:tr h="763176">
                <a:tc>
                  <a:txBody>
                    <a:bodyPr/>
                    <a:lstStyle/>
                    <a:p>
                      <a:pPr marL="0" marR="0" algn="l">
                        <a:lnSpc>
                          <a:spcPct val="100000"/>
                        </a:lnSpc>
                        <a:spcBef>
                          <a:spcPts val="0"/>
                        </a:spcBef>
                        <a:spcAft>
                          <a:spcPts val="0"/>
                        </a:spcAft>
                      </a:pPr>
                      <a:r>
                        <a:rPr lang="en-US" sz="2400" b="1" cap="none" dirty="0">
                          <a:solidFill>
                            <a:srgbClr val="EDC30D"/>
                          </a:solidFill>
                          <a:effectLst/>
                          <a:latin typeface="+mn-lt"/>
                          <a:ea typeface="+mn-ea"/>
                          <a:cs typeface="Segoe UI Light" panose="020B0502040204020203" pitchFamily="34" charset="0"/>
                        </a:rPr>
                        <a:t>100+</a:t>
                      </a:r>
                      <a:endParaRPr lang="en-US" sz="1800" b="1" dirty="0">
                        <a:solidFill>
                          <a:srgbClr val="EDC30D"/>
                        </a:solidFill>
                        <a:effectLst/>
                        <a:latin typeface="+mn-lt"/>
                        <a:ea typeface="Calibri" panose="020F0502020204030204" pitchFamily="34" charset="0"/>
                        <a:cs typeface="Segoe UI Semibold" panose="020B0702040204020203" pitchFamily="34" charset="0"/>
                      </a:endParaRPr>
                    </a:p>
                  </a:txBody>
                  <a:tcPr marL="274320" marR="0" marT="0" marB="0" anchor="ctr">
                    <a:lnL w="12700" cmpd="sng">
                      <a:noFill/>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282828"/>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400" b="1" cap="none" dirty="0">
                          <a:solidFill>
                            <a:srgbClr val="EDC30D"/>
                          </a:solidFill>
                          <a:effectLst/>
                          <a:latin typeface="+mn-lt"/>
                          <a:ea typeface="+mn-ea"/>
                          <a:cs typeface="Segoe UI Light" panose="020B0502040204020203" pitchFamily="34" charset="0"/>
                        </a:rPr>
                        <a:t>$0.05/</a:t>
                      </a:r>
                      <a:r>
                        <a:rPr lang="en-US" sz="2400" b="0" cap="none" baseline="0" dirty="0">
                          <a:solidFill>
                            <a:srgbClr val="EDC30D"/>
                          </a:solidFill>
                          <a:effectLst/>
                          <a:latin typeface="+mj-lt"/>
                          <a:ea typeface="+mn-ea"/>
                          <a:cs typeface="Segoe UI Light" panose="020B0502040204020203" pitchFamily="34" charset="0"/>
                        </a:rPr>
                        <a:t>session</a:t>
                      </a:r>
                      <a:endParaRPr lang="en-US" sz="1400" b="0" dirty="0">
                        <a:solidFill>
                          <a:srgbClr val="EDC30D"/>
                        </a:solidFill>
                        <a:effectLst/>
                        <a:latin typeface="+mj-lt"/>
                        <a:ea typeface="Calibri" panose="020F0502020204030204" pitchFamily="34" charset="0"/>
                        <a:cs typeface="Segoe UI Semibold" panose="020B0702040204020203" pitchFamily="34" charset="0"/>
                      </a:endParaRPr>
                    </a:p>
                  </a:txBody>
                  <a:tcPr marL="27432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282828"/>
                    </a:solidFill>
                  </a:tcPr>
                </a:tc>
                <a:extLst>
                  <a:ext uri="{0D108BD9-81ED-4DB2-BD59-A6C34878D82A}">
                    <a16:rowId xmlns:a16="http://schemas.microsoft.com/office/drawing/2014/main" val="10001"/>
                  </a:ext>
                </a:extLst>
              </a:tr>
            </a:tbl>
          </a:graphicData>
        </a:graphic>
      </p:graphicFrame>
      <p:sp>
        <p:nvSpPr>
          <p:cNvPr id="31" name="Rectangle 30"/>
          <p:cNvSpPr/>
          <p:nvPr/>
        </p:nvSpPr>
        <p:spPr>
          <a:xfrm>
            <a:off x="5625002" y="3005842"/>
            <a:ext cx="3494569" cy="1031051"/>
          </a:xfrm>
          <a:prstGeom prst="rect">
            <a:avLst/>
          </a:prstGeom>
        </p:spPr>
        <p:txBody>
          <a:bodyPr wrap="square" lIns="91440">
            <a:spAutoFit/>
          </a:bodyPr>
          <a:lstStyle/>
          <a:p>
            <a:pPr lvl="0">
              <a:spcAft>
                <a:spcPts val="600"/>
              </a:spcAft>
              <a:defRPr/>
            </a:pPr>
            <a:r>
              <a:rPr lang="en-US" sz="2800" kern="0"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Session </a:t>
            </a:r>
            <a:r>
              <a:rPr lang="zh-TW" altLang="en-US" sz="2800" kern="0"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如何計算</a:t>
            </a:r>
            <a:r>
              <a:rPr lang="en-US" sz="2800" kern="0"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a:t>
            </a:r>
          </a:p>
          <a:p>
            <a:pPr marL="0" lvl="1">
              <a:spcAft>
                <a:spcPts val="600"/>
              </a:spcAft>
              <a:defRPr/>
            </a:pPr>
            <a:r>
              <a:rPr lang="zh-TW" altLang="en-US" sz="1400" kern="0" dirty="0">
                <a:solidFill>
                  <a:srgbClr val="282828"/>
                </a:solidFill>
                <a:latin typeface="Segoe UI" panose="020B0502040204020203" pitchFamily="34" charset="0"/>
                <a:cs typeface="Segoe UI" panose="020B0502040204020203" pitchFamily="34" charset="0"/>
              </a:rPr>
              <a:t>當用戶讀取報表時會註冊一個 </a:t>
            </a:r>
            <a:r>
              <a:rPr lang="en-US" altLang="zh-TW" sz="1400" kern="0" dirty="0">
                <a:solidFill>
                  <a:srgbClr val="282828"/>
                </a:solidFill>
                <a:latin typeface="Segoe UI" panose="020B0502040204020203" pitchFamily="34" charset="0"/>
                <a:cs typeface="Segoe UI" panose="020B0502040204020203" pitchFamily="34" charset="0"/>
              </a:rPr>
              <a:t>session</a:t>
            </a:r>
            <a:r>
              <a:rPr lang="zh-TW" altLang="en-US" sz="1400" kern="0" dirty="0">
                <a:solidFill>
                  <a:srgbClr val="282828"/>
                </a:solidFill>
                <a:latin typeface="Segoe UI" panose="020B0502040204020203" pitchFamily="34" charset="0"/>
                <a:cs typeface="Segoe UI" panose="020B0502040204020203" pitchFamily="34" charset="0"/>
              </a:rPr>
              <a:t>，這個 </a:t>
            </a:r>
            <a:r>
              <a:rPr lang="en-US" altLang="zh-TW" sz="1400" kern="0" dirty="0">
                <a:solidFill>
                  <a:srgbClr val="282828"/>
                </a:solidFill>
                <a:latin typeface="Segoe UI" panose="020B0502040204020203" pitchFamily="34" charset="0"/>
                <a:cs typeface="Segoe UI" panose="020B0502040204020203" pitchFamily="34" charset="0"/>
              </a:rPr>
              <a:t>session 60 </a:t>
            </a:r>
            <a:r>
              <a:rPr lang="zh-TW" altLang="en-US" sz="1400" kern="0" dirty="0">
                <a:solidFill>
                  <a:srgbClr val="282828"/>
                </a:solidFill>
                <a:latin typeface="Segoe UI" panose="020B0502040204020203" pitchFamily="34" charset="0"/>
                <a:cs typeface="Segoe UI" panose="020B0502040204020203" pitchFamily="34" charset="0"/>
              </a:rPr>
              <a:t>分鐘有效。</a:t>
            </a:r>
            <a:endParaRPr lang="en-US" sz="1400" kern="0" dirty="0">
              <a:solidFill>
                <a:srgbClr val="282828"/>
              </a:solidFill>
              <a:latin typeface="Segoe UI" panose="020B0502040204020203" pitchFamily="34" charset="0"/>
              <a:cs typeface="Segoe UI" panose="020B0502040204020203" pitchFamily="34" charset="0"/>
            </a:endParaRPr>
          </a:p>
        </p:txBody>
      </p:sp>
      <p:grpSp>
        <p:nvGrpSpPr>
          <p:cNvPr id="32" name="Group 31"/>
          <p:cNvGrpSpPr/>
          <p:nvPr/>
        </p:nvGrpSpPr>
        <p:grpSpPr>
          <a:xfrm>
            <a:off x="5935503" y="4493464"/>
            <a:ext cx="5349232" cy="2034897"/>
            <a:chOff x="8158337" y="4808637"/>
            <a:chExt cx="4078228" cy="1551395"/>
          </a:xfrm>
        </p:grpSpPr>
        <p:sp>
          <p:nvSpPr>
            <p:cNvPr id="33" name="TextBox 32"/>
            <p:cNvSpPr txBox="1"/>
            <p:nvPr/>
          </p:nvSpPr>
          <p:spPr>
            <a:xfrm>
              <a:off x="8158337" y="5483055"/>
              <a:ext cx="1377057" cy="199450"/>
            </a:xfrm>
            <a:prstGeom prst="rect">
              <a:avLst/>
            </a:prstGeom>
            <a:noFill/>
          </p:spPr>
          <p:txBody>
            <a:bodyPr wrap="square" rtlCol="0">
              <a:spAutoFit/>
            </a:bodyPr>
            <a:lstStyle/>
            <a:p>
              <a:pPr algn="ctr">
                <a:defRPr/>
              </a:pPr>
              <a:r>
                <a:rPr lang="en-US" sz="1100" kern="0" dirty="0">
                  <a:solidFill>
                    <a:srgbClr val="282828"/>
                  </a:solidFill>
                  <a:latin typeface="Segoe UI Semibold" panose="020B0702040204020203" pitchFamily="34" charset="0"/>
                  <a:cs typeface="Segoe UI Semibold" panose="020B0702040204020203" pitchFamily="34" charset="0"/>
                </a:rPr>
                <a:t>Your data</a:t>
              </a:r>
            </a:p>
          </p:txBody>
        </p:sp>
        <p:sp>
          <p:nvSpPr>
            <p:cNvPr id="34" name="Freeform 5"/>
            <p:cNvSpPr>
              <a:spLocks noEditPoints="1"/>
            </p:cNvSpPr>
            <p:nvPr/>
          </p:nvSpPr>
          <p:spPr bwMode="black">
            <a:xfrm>
              <a:off x="8567083" y="4979803"/>
              <a:ext cx="559566" cy="434247"/>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rgbClr val="282828"/>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765" kern="0">
                <a:solidFill>
                  <a:srgbClr val="FFFFFF"/>
                </a:solidFill>
                <a:latin typeface="Segoe UI"/>
              </a:endParaRPr>
            </a:p>
          </p:txBody>
        </p:sp>
        <p:sp>
          <p:nvSpPr>
            <p:cNvPr id="35" name="TextBox 34"/>
            <p:cNvSpPr txBox="1"/>
            <p:nvPr/>
          </p:nvSpPr>
          <p:spPr>
            <a:xfrm>
              <a:off x="9217320" y="4901953"/>
              <a:ext cx="645033" cy="199450"/>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100" b="0" i="0" u="none" strike="noStrike" kern="0" cap="none" spc="0" normalizeH="0" baseline="0">
                  <a:ln>
                    <a:noFill/>
                  </a:ln>
                  <a:solidFill>
                    <a:schemeClr val="tx2"/>
                  </a:solidFill>
                  <a:effectLst/>
                  <a:uLnTx/>
                  <a:uFillTx/>
                </a:defRPr>
              </a:lvl1pPr>
            </a:lstStyle>
            <a:p>
              <a:pPr>
                <a:defRPr/>
              </a:pPr>
              <a:r>
                <a:rPr lang="en-US" dirty="0">
                  <a:solidFill>
                    <a:srgbClr val="282828"/>
                  </a:solidFill>
                  <a:latin typeface="Segoe UI Semibold" panose="020B0702040204020203" pitchFamily="34" charset="0"/>
                  <a:cs typeface="Segoe UI Semibold" panose="020B0702040204020203" pitchFamily="34" charset="0"/>
                </a:rPr>
                <a:t>Query</a:t>
              </a:r>
            </a:p>
          </p:txBody>
        </p:sp>
        <p:sp>
          <p:nvSpPr>
            <p:cNvPr id="36" name="Freeform 35"/>
            <p:cNvSpPr/>
            <p:nvPr/>
          </p:nvSpPr>
          <p:spPr>
            <a:xfrm>
              <a:off x="11442198" y="4808637"/>
              <a:ext cx="530343" cy="605413"/>
            </a:xfrm>
            <a:custGeom>
              <a:avLst/>
              <a:gdLst>
                <a:gd name="connsiteX0" fmla="*/ 599650 w 1199300"/>
                <a:gd name="connsiteY0" fmla="*/ 88729 h 1369060"/>
                <a:gd name="connsiteX1" fmla="*/ 270362 w 1199300"/>
                <a:gd name="connsiteY1" fmla="*/ 418017 h 1369060"/>
                <a:gd name="connsiteX2" fmla="*/ 599650 w 1199300"/>
                <a:gd name="connsiteY2" fmla="*/ 747305 h 1369060"/>
                <a:gd name="connsiteX3" fmla="*/ 928938 w 1199300"/>
                <a:gd name="connsiteY3" fmla="*/ 418017 h 1369060"/>
                <a:gd name="connsiteX4" fmla="*/ 599650 w 1199300"/>
                <a:gd name="connsiteY4" fmla="*/ 88729 h 1369060"/>
                <a:gd name="connsiteX5" fmla="*/ 599651 w 1199300"/>
                <a:gd name="connsiteY5" fmla="*/ 0 h 1369060"/>
                <a:gd name="connsiteX6" fmla="*/ 1017668 w 1199300"/>
                <a:gd name="connsiteY6" fmla="*/ 418017 h 1369060"/>
                <a:gd name="connsiteX7" fmla="*/ 833368 w 1199300"/>
                <a:gd name="connsiteY7" fmla="*/ 764643 h 1369060"/>
                <a:gd name="connsiteX8" fmla="*/ 772437 w 1199300"/>
                <a:gd name="connsiteY8" fmla="*/ 797716 h 1369060"/>
                <a:gd name="connsiteX9" fmla="*/ 833061 w 1199300"/>
                <a:gd name="connsiteY9" fmla="*/ 816535 h 1369060"/>
                <a:gd name="connsiteX10" fmla="*/ 1199300 w 1199300"/>
                <a:gd name="connsiteY10" fmla="*/ 1369060 h 1369060"/>
                <a:gd name="connsiteX11" fmla="*/ 1092443 w 1199300"/>
                <a:gd name="connsiteY11" fmla="*/ 1369060 h 1369060"/>
                <a:gd name="connsiteX12" fmla="*/ 599650 w 1199300"/>
                <a:gd name="connsiteY12" fmla="*/ 876268 h 1369060"/>
                <a:gd name="connsiteX13" fmla="*/ 106857 w 1199300"/>
                <a:gd name="connsiteY13" fmla="*/ 1369060 h 1369060"/>
                <a:gd name="connsiteX14" fmla="*/ 0 w 1199300"/>
                <a:gd name="connsiteY14" fmla="*/ 1369060 h 1369060"/>
                <a:gd name="connsiteX15" fmla="*/ 366239 w 1199300"/>
                <a:gd name="connsiteY15" fmla="*/ 816535 h 1369060"/>
                <a:gd name="connsiteX16" fmla="*/ 426865 w 1199300"/>
                <a:gd name="connsiteY16" fmla="*/ 797716 h 1369060"/>
                <a:gd name="connsiteX17" fmla="*/ 365934 w 1199300"/>
                <a:gd name="connsiteY17" fmla="*/ 764643 h 1369060"/>
                <a:gd name="connsiteX18" fmla="*/ 181634 w 1199300"/>
                <a:gd name="connsiteY18" fmla="*/ 418017 h 1369060"/>
                <a:gd name="connsiteX19" fmla="*/ 599651 w 1199300"/>
                <a:gd name="connsiteY19" fmla="*/ 0 h 136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9300" h="1369060">
                  <a:moveTo>
                    <a:pt x="599650" y="88729"/>
                  </a:moveTo>
                  <a:cubicBezTo>
                    <a:pt x="417789" y="88729"/>
                    <a:pt x="270362" y="236156"/>
                    <a:pt x="270362" y="418017"/>
                  </a:cubicBezTo>
                  <a:cubicBezTo>
                    <a:pt x="270362" y="599878"/>
                    <a:pt x="417789" y="747305"/>
                    <a:pt x="599650" y="747305"/>
                  </a:cubicBezTo>
                  <a:cubicBezTo>
                    <a:pt x="781511" y="747305"/>
                    <a:pt x="928938" y="599878"/>
                    <a:pt x="928938" y="418017"/>
                  </a:cubicBezTo>
                  <a:cubicBezTo>
                    <a:pt x="928938" y="236156"/>
                    <a:pt x="781511" y="88729"/>
                    <a:pt x="599650" y="88729"/>
                  </a:cubicBezTo>
                  <a:close/>
                  <a:moveTo>
                    <a:pt x="599651" y="0"/>
                  </a:moveTo>
                  <a:cubicBezTo>
                    <a:pt x="830515" y="0"/>
                    <a:pt x="1017668" y="187153"/>
                    <a:pt x="1017668" y="418017"/>
                  </a:cubicBezTo>
                  <a:cubicBezTo>
                    <a:pt x="1017668" y="562307"/>
                    <a:pt x="944561" y="689522"/>
                    <a:pt x="833368" y="764643"/>
                  </a:cubicBezTo>
                  <a:lnTo>
                    <a:pt x="772437" y="797716"/>
                  </a:lnTo>
                  <a:lnTo>
                    <a:pt x="833061" y="816535"/>
                  </a:lnTo>
                  <a:cubicBezTo>
                    <a:pt x="1048285" y="907566"/>
                    <a:pt x="1199300" y="1120678"/>
                    <a:pt x="1199300" y="1369060"/>
                  </a:cubicBezTo>
                  <a:lnTo>
                    <a:pt x="1092443" y="1369060"/>
                  </a:lnTo>
                  <a:cubicBezTo>
                    <a:pt x="1092443" y="1096898"/>
                    <a:pt x="871812" y="876268"/>
                    <a:pt x="599650" y="876268"/>
                  </a:cubicBezTo>
                  <a:cubicBezTo>
                    <a:pt x="327488" y="876268"/>
                    <a:pt x="106857" y="1096898"/>
                    <a:pt x="106857" y="1369060"/>
                  </a:cubicBezTo>
                  <a:lnTo>
                    <a:pt x="0" y="1369060"/>
                  </a:lnTo>
                  <a:cubicBezTo>
                    <a:pt x="0" y="1120678"/>
                    <a:pt x="151016" y="907566"/>
                    <a:pt x="366239" y="816535"/>
                  </a:cubicBezTo>
                  <a:lnTo>
                    <a:pt x="426865" y="797716"/>
                  </a:lnTo>
                  <a:lnTo>
                    <a:pt x="365934" y="764643"/>
                  </a:lnTo>
                  <a:cubicBezTo>
                    <a:pt x="254741" y="689522"/>
                    <a:pt x="181634" y="562307"/>
                    <a:pt x="181634" y="418017"/>
                  </a:cubicBezTo>
                  <a:cubicBezTo>
                    <a:pt x="181634" y="187153"/>
                    <a:pt x="368787" y="0"/>
                    <a:pt x="599651" y="0"/>
                  </a:cubicBezTo>
                  <a:close/>
                </a:path>
              </a:pathLst>
            </a:cu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a:solidFill>
                  <a:prstClr val="black"/>
                </a:solidFill>
              </a:endParaRPr>
            </a:p>
          </p:txBody>
        </p:sp>
        <p:sp>
          <p:nvSpPr>
            <p:cNvPr id="37" name="Right Arrow 36"/>
            <p:cNvSpPr/>
            <p:nvPr/>
          </p:nvSpPr>
          <p:spPr>
            <a:xfrm flipH="1">
              <a:off x="10892122" y="5089326"/>
              <a:ext cx="476043" cy="221344"/>
            </a:xfrm>
            <a:prstGeom prst="rightArrow">
              <a:avLst/>
            </a:prstGeom>
            <a:solidFill>
              <a:srgbClr val="EDC30D"/>
            </a:solidFill>
            <a:ln w="12700" cap="flat" cmpd="sng" algn="ctr">
              <a:noFill/>
              <a:prstDash val="solid"/>
              <a:miter lim="800000"/>
            </a:ln>
            <a:effectLst/>
          </p:spPr>
          <p:txBody>
            <a:bodyPr rtlCol="0" anchor="ctr"/>
            <a:lstStyle/>
            <a:p>
              <a:pPr algn="ctr">
                <a:defRPr/>
              </a:pPr>
              <a:endParaRPr lang="en-US" kern="0">
                <a:solidFill>
                  <a:sysClr val="windowText" lastClr="000000"/>
                </a:solidFill>
                <a:latin typeface="Segoe UI"/>
              </a:endParaRPr>
            </a:p>
          </p:txBody>
        </p:sp>
        <p:sp>
          <p:nvSpPr>
            <p:cNvPr id="38" name="TextBox 37"/>
            <p:cNvSpPr txBox="1"/>
            <p:nvPr/>
          </p:nvSpPr>
          <p:spPr>
            <a:xfrm>
              <a:off x="11178173" y="5483055"/>
              <a:ext cx="1058392" cy="199450"/>
            </a:xfrm>
            <a:prstGeom prst="rect">
              <a:avLst/>
            </a:prstGeom>
            <a:noFill/>
          </p:spPr>
          <p:txBody>
            <a:bodyPr wrap="square" rtlCol="0">
              <a:spAutoFit/>
            </a:bodyPr>
            <a:lstStyle/>
            <a:p>
              <a:pPr algn="ctr">
                <a:defRPr/>
              </a:pPr>
              <a:r>
                <a:rPr lang="en-US" sz="1100" kern="0" dirty="0">
                  <a:solidFill>
                    <a:srgbClr val="282828"/>
                  </a:solidFill>
                  <a:latin typeface="Segoe UI Semibold" panose="020B0702040204020203" pitchFamily="34" charset="0"/>
                  <a:cs typeface="Segoe UI Semibold" panose="020B0702040204020203" pitchFamily="34" charset="0"/>
                </a:rPr>
                <a:t>Your users</a:t>
              </a:r>
            </a:p>
          </p:txBody>
        </p:sp>
        <p:sp>
          <p:nvSpPr>
            <p:cNvPr id="39" name="Freeform 128"/>
            <p:cNvSpPr>
              <a:spLocks noEditPoints="1"/>
            </p:cNvSpPr>
            <p:nvPr/>
          </p:nvSpPr>
          <p:spPr bwMode="black">
            <a:xfrm>
              <a:off x="10377838" y="6030103"/>
              <a:ext cx="374873" cy="329929"/>
            </a:xfrm>
            <a:custGeom>
              <a:avLst/>
              <a:gdLst>
                <a:gd name="T0" fmla="*/ 49 w 71"/>
                <a:gd name="T1" fmla="*/ 21 h 62"/>
                <a:gd name="T2" fmla="*/ 49 w 71"/>
                <a:gd name="T3" fmla="*/ 19 h 62"/>
                <a:gd name="T4" fmla="*/ 49 w 71"/>
                <a:gd name="T5" fmla="*/ 19 h 62"/>
                <a:gd name="T6" fmla="*/ 48 w 71"/>
                <a:gd name="T7" fmla="*/ 17 h 62"/>
                <a:gd name="T8" fmla="*/ 32 w 71"/>
                <a:gd name="T9" fmla="*/ 2 h 62"/>
                <a:gd name="T10" fmla="*/ 28 w 71"/>
                <a:gd name="T11" fmla="*/ 0 h 62"/>
                <a:gd name="T12" fmla="*/ 28 w 71"/>
                <a:gd name="T13" fmla="*/ 0 h 62"/>
                <a:gd name="T14" fmla="*/ 28 w 71"/>
                <a:gd name="T15" fmla="*/ 0 h 62"/>
                <a:gd name="T16" fmla="*/ 6 w 71"/>
                <a:gd name="T17" fmla="*/ 0 h 62"/>
                <a:gd name="T18" fmla="*/ 0 w 71"/>
                <a:gd name="T19" fmla="*/ 5 h 62"/>
                <a:gd name="T20" fmla="*/ 0 w 71"/>
                <a:gd name="T21" fmla="*/ 56 h 62"/>
                <a:gd name="T22" fmla="*/ 6 w 71"/>
                <a:gd name="T23" fmla="*/ 62 h 62"/>
                <a:gd name="T24" fmla="*/ 44 w 71"/>
                <a:gd name="T25" fmla="*/ 62 h 62"/>
                <a:gd name="T26" fmla="*/ 50 w 71"/>
                <a:gd name="T27" fmla="*/ 56 h 62"/>
                <a:gd name="T28" fmla="*/ 50 w 71"/>
                <a:gd name="T29" fmla="*/ 21 h 62"/>
                <a:gd name="T30" fmla="*/ 49 w 71"/>
                <a:gd name="T31" fmla="*/ 21 h 62"/>
                <a:gd name="T32" fmla="*/ 28 w 71"/>
                <a:gd name="T33" fmla="*/ 5 h 62"/>
                <a:gd name="T34" fmla="*/ 44 w 71"/>
                <a:gd name="T35" fmla="*/ 21 h 62"/>
                <a:gd name="T36" fmla="*/ 28 w 71"/>
                <a:gd name="T37" fmla="*/ 21 h 62"/>
                <a:gd name="T38" fmla="*/ 28 w 71"/>
                <a:gd name="T39" fmla="*/ 5 h 62"/>
                <a:gd name="T40" fmla="*/ 44 w 71"/>
                <a:gd name="T41" fmla="*/ 56 h 62"/>
                <a:gd name="T42" fmla="*/ 6 w 71"/>
                <a:gd name="T43" fmla="*/ 56 h 62"/>
                <a:gd name="T44" fmla="*/ 6 w 71"/>
                <a:gd name="T45" fmla="*/ 5 h 62"/>
                <a:gd name="T46" fmla="*/ 23 w 71"/>
                <a:gd name="T47" fmla="*/ 5 h 62"/>
                <a:gd name="T48" fmla="*/ 23 w 71"/>
                <a:gd name="T49" fmla="*/ 21 h 62"/>
                <a:gd name="T50" fmla="*/ 28 w 71"/>
                <a:gd name="T51" fmla="*/ 27 h 62"/>
                <a:gd name="T52" fmla="*/ 44 w 71"/>
                <a:gd name="T53" fmla="*/ 27 h 62"/>
                <a:gd name="T54" fmla="*/ 44 w 71"/>
                <a:gd name="T55" fmla="*/ 56 h 62"/>
                <a:gd name="T56" fmla="*/ 58 w 71"/>
                <a:gd name="T57" fmla="*/ 14 h 62"/>
                <a:gd name="T58" fmla="*/ 60 w 71"/>
                <a:gd name="T59" fmla="*/ 19 h 62"/>
                <a:gd name="T60" fmla="*/ 60 w 71"/>
                <a:gd name="T61" fmla="*/ 56 h 62"/>
                <a:gd name="T62" fmla="*/ 55 w 71"/>
                <a:gd name="T63" fmla="*/ 62 h 62"/>
                <a:gd name="T64" fmla="*/ 53 w 71"/>
                <a:gd name="T65" fmla="*/ 62 h 62"/>
                <a:gd name="T66" fmla="*/ 55 w 71"/>
                <a:gd name="T67" fmla="*/ 57 h 62"/>
                <a:gd name="T68" fmla="*/ 55 w 71"/>
                <a:gd name="T69" fmla="*/ 21 h 62"/>
                <a:gd name="T70" fmla="*/ 53 w 71"/>
                <a:gd name="T71" fmla="*/ 15 h 62"/>
                <a:gd name="T72" fmla="*/ 37 w 71"/>
                <a:gd name="T73" fmla="*/ 0 h 62"/>
                <a:gd name="T74" fmla="*/ 37 w 71"/>
                <a:gd name="T75" fmla="*/ 0 h 62"/>
                <a:gd name="T76" fmla="*/ 39 w 71"/>
                <a:gd name="T77" fmla="*/ 0 h 62"/>
                <a:gd name="T78" fmla="*/ 40 w 71"/>
                <a:gd name="T79" fmla="*/ 0 h 62"/>
                <a:gd name="T80" fmla="*/ 47 w 71"/>
                <a:gd name="T81" fmla="*/ 3 h 62"/>
                <a:gd name="T82" fmla="*/ 58 w 71"/>
                <a:gd name="T83" fmla="*/ 14 h 62"/>
                <a:gd name="T84" fmla="*/ 69 w 71"/>
                <a:gd name="T85" fmla="*/ 13 h 62"/>
                <a:gd name="T86" fmla="*/ 71 w 71"/>
                <a:gd name="T87" fmla="*/ 17 h 62"/>
                <a:gd name="T88" fmla="*/ 71 w 71"/>
                <a:gd name="T89" fmla="*/ 56 h 62"/>
                <a:gd name="T90" fmla="*/ 65 w 71"/>
                <a:gd name="T91" fmla="*/ 62 h 62"/>
                <a:gd name="T92" fmla="*/ 64 w 71"/>
                <a:gd name="T93" fmla="*/ 62 h 62"/>
                <a:gd name="T94" fmla="*/ 65 w 71"/>
                <a:gd name="T95" fmla="*/ 57 h 62"/>
                <a:gd name="T96" fmla="*/ 65 w 71"/>
                <a:gd name="T97" fmla="*/ 18 h 62"/>
                <a:gd name="T98" fmla="*/ 64 w 71"/>
                <a:gd name="T99" fmla="*/ 14 h 62"/>
                <a:gd name="T100" fmla="*/ 50 w 71"/>
                <a:gd name="T101" fmla="*/ 0 h 62"/>
                <a:gd name="T102" fmla="*/ 50 w 71"/>
                <a:gd name="T103" fmla="*/ 0 h 62"/>
                <a:gd name="T104" fmla="*/ 51 w 71"/>
                <a:gd name="T105" fmla="*/ 0 h 62"/>
                <a:gd name="T106" fmla="*/ 52 w 71"/>
                <a:gd name="T107" fmla="*/ 0 h 62"/>
                <a:gd name="T108" fmla="*/ 59 w 71"/>
                <a:gd name="T109" fmla="*/ 3 h 62"/>
                <a:gd name="T110" fmla="*/ 69 w 71"/>
                <a:gd name="T11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 h="62">
                  <a:moveTo>
                    <a:pt x="49" y="21"/>
                  </a:moveTo>
                  <a:cubicBezTo>
                    <a:pt x="49" y="20"/>
                    <a:pt x="49" y="20"/>
                    <a:pt x="49" y="19"/>
                  </a:cubicBezTo>
                  <a:cubicBezTo>
                    <a:pt x="49" y="19"/>
                    <a:pt x="49" y="19"/>
                    <a:pt x="49" y="19"/>
                  </a:cubicBezTo>
                  <a:cubicBezTo>
                    <a:pt x="49" y="18"/>
                    <a:pt x="48" y="18"/>
                    <a:pt x="48" y="17"/>
                  </a:cubicBezTo>
                  <a:cubicBezTo>
                    <a:pt x="32" y="2"/>
                    <a:pt x="32" y="2"/>
                    <a:pt x="32" y="2"/>
                  </a:cubicBezTo>
                  <a:cubicBezTo>
                    <a:pt x="31" y="0"/>
                    <a:pt x="30" y="0"/>
                    <a:pt x="28" y="0"/>
                  </a:cubicBezTo>
                  <a:cubicBezTo>
                    <a:pt x="28" y="0"/>
                    <a:pt x="28" y="0"/>
                    <a:pt x="28" y="0"/>
                  </a:cubicBezTo>
                  <a:cubicBezTo>
                    <a:pt x="28" y="0"/>
                    <a:pt x="28" y="0"/>
                    <a:pt x="28" y="0"/>
                  </a:cubicBezTo>
                  <a:cubicBezTo>
                    <a:pt x="6" y="0"/>
                    <a:pt x="6" y="0"/>
                    <a:pt x="6" y="0"/>
                  </a:cubicBezTo>
                  <a:cubicBezTo>
                    <a:pt x="3" y="0"/>
                    <a:pt x="0" y="2"/>
                    <a:pt x="0" y="5"/>
                  </a:cubicBezTo>
                  <a:cubicBezTo>
                    <a:pt x="0" y="56"/>
                    <a:pt x="0" y="56"/>
                    <a:pt x="0" y="56"/>
                  </a:cubicBezTo>
                  <a:cubicBezTo>
                    <a:pt x="0" y="59"/>
                    <a:pt x="3" y="62"/>
                    <a:pt x="6" y="62"/>
                  </a:cubicBezTo>
                  <a:cubicBezTo>
                    <a:pt x="44" y="62"/>
                    <a:pt x="44" y="62"/>
                    <a:pt x="44" y="62"/>
                  </a:cubicBezTo>
                  <a:cubicBezTo>
                    <a:pt x="47" y="62"/>
                    <a:pt x="50" y="59"/>
                    <a:pt x="50" y="56"/>
                  </a:cubicBezTo>
                  <a:cubicBezTo>
                    <a:pt x="50" y="21"/>
                    <a:pt x="50" y="21"/>
                    <a:pt x="50" y="21"/>
                  </a:cubicBezTo>
                  <a:cubicBezTo>
                    <a:pt x="50" y="21"/>
                    <a:pt x="49" y="21"/>
                    <a:pt x="49" y="21"/>
                  </a:cubicBezTo>
                  <a:close/>
                  <a:moveTo>
                    <a:pt x="28" y="5"/>
                  </a:moveTo>
                  <a:cubicBezTo>
                    <a:pt x="44" y="21"/>
                    <a:pt x="44" y="21"/>
                    <a:pt x="44" y="21"/>
                  </a:cubicBezTo>
                  <a:cubicBezTo>
                    <a:pt x="28" y="21"/>
                    <a:pt x="28" y="21"/>
                    <a:pt x="28" y="21"/>
                  </a:cubicBezTo>
                  <a:lnTo>
                    <a:pt x="28" y="5"/>
                  </a:lnTo>
                  <a:close/>
                  <a:moveTo>
                    <a:pt x="44" y="56"/>
                  </a:moveTo>
                  <a:cubicBezTo>
                    <a:pt x="6" y="56"/>
                    <a:pt x="6" y="56"/>
                    <a:pt x="6" y="56"/>
                  </a:cubicBezTo>
                  <a:cubicBezTo>
                    <a:pt x="6" y="5"/>
                    <a:pt x="6" y="5"/>
                    <a:pt x="6" y="5"/>
                  </a:cubicBezTo>
                  <a:cubicBezTo>
                    <a:pt x="23" y="5"/>
                    <a:pt x="23" y="5"/>
                    <a:pt x="23" y="5"/>
                  </a:cubicBezTo>
                  <a:cubicBezTo>
                    <a:pt x="23" y="21"/>
                    <a:pt x="23" y="21"/>
                    <a:pt x="23" y="21"/>
                  </a:cubicBezTo>
                  <a:cubicBezTo>
                    <a:pt x="23" y="24"/>
                    <a:pt x="25" y="27"/>
                    <a:pt x="28" y="27"/>
                  </a:cubicBezTo>
                  <a:cubicBezTo>
                    <a:pt x="44" y="27"/>
                    <a:pt x="44" y="27"/>
                    <a:pt x="44" y="27"/>
                  </a:cubicBezTo>
                  <a:lnTo>
                    <a:pt x="44" y="56"/>
                  </a:lnTo>
                  <a:close/>
                  <a:moveTo>
                    <a:pt x="58" y="14"/>
                  </a:moveTo>
                  <a:cubicBezTo>
                    <a:pt x="59" y="15"/>
                    <a:pt x="60" y="17"/>
                    <a:pt x="60" y="19"/>
                  </a:cubicBezTo>
                  <a:cubicBezTo>
                    <a:pt x="60" y="56"/>
                    <a:pt x="60" y="56"/>
                    <a:pt x="60" y="56"/>
                  </a:cubicBezTo>
                  <a:cubicBezTo>
                    <a:pt x="60" y="59"/>
                    <a:pt x="58" y="62"/>
                    <a:pt x="55" y="62"/>
                  </a:cubicBezTo>
                  <a:cubicBezTo>
                    <a:pt x="53" y="62"/>
                    <a:pt x="53" y="62"/>
                    <a:pt x="53" y="62"/>
                  </a:cubicBezTo>
                  <a:cubicBezTo>
                    <a:pt x="54" y="60"/>
                    <a:pt x="55" y="59"/>
                    <a:pt x="55" y="57"/>
                  </a:cubicBezTo>
                  <a:cubicBezTo>
                    <a:pt x="55" y="21"/>
                    <a:pt x="55" y="21"/>
                    <a:pt x="55" y="21"/>
                  </a:cubicBezTo>
                  <a:cubicBezTo>
                    <a:pt x="55" y="19"/>
                    <a:pt x="54" y="17"/>
                    <a:pt x="53" y="15"/>
                  </a:cubicBezTo>
                  <a:cubicBezTo>
                    <a:pt x="37" y="0"/>
                    <a:pt x="37" y="0"/>
                    <a:pt x="37" y="0"/>
                  </a:cubicBezTo>
                  <a:cubicBezTo>
                    <a:pt x="37" y="0"/>
                    <a:pt x="37" y="0"/>
                    <a:pt x="37" y="0"/>
                  </a:cubicBezTo>
                  <a:cubicBezTo>
                    <a:pt x="39" y="0"/>
                    <a:pt x="39" y="0"/>
                    <a:pt x="39" y="0"/>
                  </a:cubicBezTo>
                  <a:cubicBezTo>
                    <a:pt x="40" y="0"/>
                    <a:pt x="40" y="0"/>
                    <a:pt x="40" y="0"/>
                  </a:cubicBezTo>
                  <a:cubicBezTo>
                    <a:pt x="41" y="0"/>
                    <a:pt x="44" y="0"/>
                    <a:pt x="47" y="3"/>
                  </a:cubicBezTo>
                  <a:cubicBezTo>
                    <a:pt x="58" y="14"/>
                    <a:pt x="58" y="14"/>
                    <a:pt x="58" y="14"/>
                  </a:cubicBezTo>
                  <a:moveTo>
                    <a:pt x="69" y="13"/>
                  </a:moveTo>
                  <a:cubicBezTo>
                    <a:pt x="70" y="14"/>
                    <a:pt x="71" y="16"/>
                    <a:pt x="71" y="17"/>
                  </a:cubicBezTo>
                  <a:cubicBezTo>
                    <a:pt x="71" y="56"/>
                    <a:pt x="71" y="56"/>
                    <a:pt x="71" y="56"/>
                  </a:cubicBezTo>
                  <a:cubicBezTo>
                    <a:pt x="71" y="59"/>
                    <a:pt x="68" y="62"/>
                    <a:pt x="65" y="62"/>
                  </a:cubicBezTo>
                  <a:cubicBezTo>
                    <a:pt x="64" y="62"/>
                    <a:pt x="64" y="62"/>
                    <a:pt x="64" y="62"/>
                  </a:cubicBezTo>
                  <a:cubicBezTo>
                    <a:pt x="65" y="60"/>
                    <a:pt x="65" y="59"/>
                    <a:pt x="65" y="57"/>
                  </a:cubicBezTo>
                  <a:cubicBezTo>
                    <a:pt x="65" y="18"/>
                    <a:pt x="65" y="18"/>
                    <a:pt x="65" y="18"/>
                  </a:cubicBezTo>
                  <a:cubicBezTo>
                    <a:pt x="65" y="17"/>
                    <a:pt x="65" y="15"/>
                    <a:pt x="64" y="14"/>
                  </a:cubicBezTo>
                  <a:cubicBezTo>
                    <a:pt x="50" y="0"/>
                    <a:pt x="50" y="0"/>
                    <a:pt x="50" y="0"/>
                  </a:cubicBezTo>
                  <a:cubicBezTo>
                    <a:pt x="50" y="0"/>
                    <a:pt x="50" y="0"/>
                    <a:pt x="50" y="0"/>
                  </a:cubicBezTo>
                  <a:cubicBezTo>
                    <a:pt x="51" y="0"/>
                    <a:pt x="51" y="0"/>
                    <a:pt x="51" y="0"/>
                  </a:cubicBezTo>
                  <a:cubicBezTo>
                    <a:pt x="52" y="0"/>
                    <a:pt x="52" y="0"/>
                    <a:pt x="52" y="0"/>
                  </a:cubicBezTo>
                  <a:cubicBezTo>
                    <a:pt x="54" y="0"/>
                    <a:pt x="56" y="0"/>
                    <a:pt x="59" y="3"/>
                  </a:cubicBezTo>
                  <a:cubicBezTo>
                    <a:pt x="69" y="13"/>
                    <a:pt x="69" y="13"/>
                    <a:pt x="69" y="13"/>
                  </a:cubicBezTo>
                </a:path>
              </a:pathLst>
            </a:custGeom>
            <a:solidFill>
              <a:srgbClr val="282828"/>
            </a:solidFill>
            <a:ln>
              <a:noFill/>
            </a:ln>
            <a:extLst/>
          </p:spPr>
          <p:txBody>
            <a:bodyPr vert="horz" wrap="square" lIns="121920" tIns="60960" rIns="121920" bIns="60960" numCol="1" anchor="t" anchorCtr="0" compatLnSpc="1">
              <a:prstTxWarp prst="textNoShape">
                <a:avLst/>
              </a:prstTxWarp>
            </a:bodyPr>
            <a:lstStyle/>
            <a:p>
              <a:pPr defTabSz="1219170">
                <a:defRPr/>
              </a:pPr>
              <a:endParaRPr lang="en-US" sz="2400" kern="0">
                <a:solidFill>
                  <a:srgbClr val="FFFFFF"/>
                </a:solidFill>
              </a:endParaRPr>
            </a:p>
          </p:txBody>
        </p:sp>
        <p:sp>
          <p:nvSpPr>
            <p:cNvPr id="40" name="Rounded Rectangle 39"/>
            <p:cNvSpPr/>
            <p:nvPr/>
          </p:nvSpPr>
          <p:spPr>
            <a:xfrm>
              <a:off x="10373352" y="5015105"/>
              <a:ext cx="341657" cy="341657"/>
            </a:xfrm>
            <a:prstGeom prst="roundRect">
              <a:avLst>
                <a:gd name="adj" fmla="val 0"/>
              </a:avLst>
            </a:prstGeom>
            <a:noFill/>
            <a:ln w="12700">
              <a:solidFill>
                <a:srgbClr val="1E1E1E"/>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a:solidFill>
                  <a:sysClr val="windowText" lastClr="000000"/>
                </a:solidFill>
              </a:endParaRPr>
            </a:p>
          </p:txBody>
        </p:sp>
        <p:sp>
          <p:nvSpPr>
            <p:cNvPr id="41" name="Freeform 40"/>
            <p:cNvSpPr/>
            <p:nvPr/>
          </p:nvSpPr>
          <p:spPr bwMode="auto">
            <a:xfrm>
              <a:off x="10445934" y="5085297"/>
              <a:ext cx="196492" cy="207676"/>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Freeform 41"/>
            <p:cNvSpPr/>
            <p:nvPr/>
          </p:nvSpPr>
          <p:spPr>
            <a:xfrm>
              <a:off x="9794820" y="4840908"/>
              <a:ext cx="1024720" cy="767340"/>
            </a:xfrm>
            <a:custGeom>
              <a:avLst/>
              <a:gdLst>
                <a:gd name="connsiteX0" fmla="*/ 95091 w 1344068"/>
                <a:gd name="connsiteY0" fmla="*/ 183749 h 1006476"/>
                <a:gd name="connsiteX1" fmla="*/ 1234463 w 1344068"/>
                <a:gd name="connsiteY1" fmla="*/ 183749 h 1006476"/>
                <a:gd name="connsiteX2" fmla="*/ 1234463 w 1344068"/>
                <a:gd name="connsiteY2" fmla="*/ 912133 h 1006476"/>
                <a:gd name="connsiteX3" fmla="*/ 95091 w 1344068"/>
                <a:gd name="connsiteY3" fmla="*/ 912133 h 1006476"/>
                <a:gd name="connsiteX4" fmla="*/ 36697 w 1344068"/>
                <a:gd name="connsiteY4" fmla="*/ 138779 h 1006476"/>
                <a:gd name="connsiteX5" fmla="*/ 36697 w 1344068"/>
                <a:gd name="connsiteY5" fmla="*/ 979442 h 1006476"/>
                <a:gd name="connsiteX6" fmla="*/ 1307371 w 1344068"/>
                <a:gd name="connsiteY6" fmla="*/ 979442 h 1006476"/>
                <a:gd name="connsiteX7" fmla="*/ 1307371 w 1344068"/>
                <a:gd name="connsiteY7" fmla="*/ 138779 h 1006476"/>
                <a:gd name="connsiteX8" fmla="*/ 1239333 w 1344068"/>
                <a:gd name="connsiteY8" fmla="*/ 37932 h 1006476"/>
                <a:gd name="connsiteX9" fmla="*/ 1239333 w 1344068"/>
                <a:gd name="connsiteY9" fmla="*/ 105968 h 1006476"/>
                <a:gd name="connsiteX10" fmla="*/ 1307371 w 1344068"/>
                <a:gd name="connsiteY10" fmla="*/ 105968 h 1006476"/>
                <a:gd name="connsiteX11" fmla="*/ 1307371 w 1344068"/>
                <a:gd name="connsiteY11" fmla="*/ 37932 h 1006476"/>
                <a:gd name="connsiteX12" fmla="*/ 839679 w 1344068"/>
                <a:gd name="connsiteY12" fmla="*/ 37932 h 1006476"/>
                <a:gd name="connsiteX13" fmla="*/ 839679 w 1344068"/>
                <a:gd name="connsiteY13" fmla="*/ 105968 h 1006476"/>
                <a:gd name="connsiteX14" fmla="*/ 1173745 w 1344068"/>
                <a:gd name="connsiteY14" fmla="*/ 105968 h 1006476"/>
                <a:gd name="connsiteX15" fmla="*/ 1173745 w 1344068"/>
                <a:gd name="connsiteY15" fmla="*/ 37932 h 1006476"/>
                <a:gd name="connsiteX16" fmla="*/ 170323 w 1344068"/>
                <a:gd name="connsiteY16" fmla="*/ 37932 h 1006476"/>
                <a:gd name="connsiteX17" fmla="*/ 170323 w 1344068"/>
                <a:gd name="connsiteY17" fmla="*/ 105968 h 1006476"/>
                <a:gd name="connsiteX18" fmla="*/ 504389 w 1344068"/>
                <a:gd name="connsiteY18" fmla="*/ 105968 h 1006476"/>
                <a:gd name="connsiteX19" fmla="*/ 504389 w 1344068"/>
                <a:gd name="connsiteY19" fmla="*/ 37932 h 1006476"/>
                <a:gd name="connsiteX20" fmla="*/ 36697 w 1344068"/>
                <a:gd name="connsiteY20" fmla="*/ 37932 h 1006476"/>
                <a:gd name="connsiteX21" fmla="*/ 36697 w 1344068"/>
                <a:gd name="connsiteY21" fmla="*/ 105968 h 1006476"/>
                <a:gd name="connsiteX22" fmla="*/ 104736 w 1344068"/>
                <a:gd name="connsiteY22" fmla="*/ 105968 h 1006476"/>
                <a:gd name="connsiteX23" fmla="*/ 104736 w 1344068"/>
                <a:gd name="connsiteY23" fmla="*/ 37932 h 1006476"/>
                <a:gd name="connsiteX24" fmla="*/ 0 w 1344068"/>
                <a:gd name="connsiteY24" fmla="*/ 0 h 1006476"/>
                <a:gd name="connsiteX25" fmla="*/ 1344068 w 1344068"/>
                <a:gd name="connsiteY25" fmla="*/ 0 h 1006476"/>
                <a:gd name="connsiteX26" fmla="*/ 1344068 w 1344068"/>
                <a:gd name="connsiteY26" fmla="*/ 1006476 h 1006476"/>
                <a:gd name="connsiteX27" fmla="*/ 0 w 1344068"/>
                <a:gd name="connsiteY27" fmla="*/ 1006476 h 1006476"/>
                <a:gd name="connsiteX0" fmla="*/ 95091 w 1344068"/>
                <a:gd name="connsiteY0" fmla="*/ 912133 h 1006476"/>
                <a:gd name="connsiteX1" fmla="*/ 1234463 w 1344068"/>
                <a:gd name="connsiteY1" fmla="*/ 183749 h 1006476"/>
                <a:gd name="connsiteX2" fmla="*/ 1234463 w 1344068"/>
                <a:gd name="connsiteY2" fmla="*/ 912133 h 1006476"/>
                <a:gd name="connsiteX3" fmla="*/ 95091 w 1344068"/>
                <a:gd name="connsiteY3" fmla="*/ 912133 h 1006476"/>
                <a:gd name="connsiteX4" fmla="*/ 36697 w 1344068"/>
                <a:gd name="connsiteY4" fmla="*/ 138779 h 1006476"/>
                <a:gd name="connsiteX5" fmla="*/ 36697 w 1344068"/>
                <a:gd name="connsiteY5" fmla="*/ 979442 h 1006476"/>
                <a:gd name="connsiteX6" fmla="*/ 1307371 w 1344068"/>
                <a:gd name="connsiteY6" fmla="*/ 979442 h 1006476"/>
                <a:gd name="connsiteX7" fmla="*/ 1307371 w 1344068"/>
                <a:gd name="connsiteY7" fmla="*/ 138779 h 1006476"/>
                <a:gd name="connsiteX8" fmla="*/ 36697 w 1344068"/>
                <a:gd name="connsiteY8" fmla="*/ 138779 h 1006476"/>
                <a:gd name="connsiteX9" fmla="*/ 1239333 w 1344068"/>
                <a:gd name="connsiteY9" fmla="*/ 37932 h 1006476"/>
                <a:gd name="connsiteX10" fmla="*/ 1239333 w 1344068"/>
                <a:gd name="connsiteY10" fmla="*/ 105968 h 1006476"/>
                <a:gd name="connsiteX11" fmla="*/ 1307371 w 1344068"/>
                <a:gd name="connsiteY11" fmla="*/ 105968 h 1006476"/>
                <a:gd name="connsiteX12" fmla="*/ 1307371 w 1344068"/>
                <a:gd name="connsiteY12" fmla="*/ 37932 h 1006476"/>
                <a:gd name="connsiteX13" fmla="*/ 1239333 w 1344068"/>
                <a:gd name="connsiteY13" fmla="*/ 37932 h 1006476"/>
                <a:gd name="connsiteX14" fmla="*/ 839679 w 1344068"/>
                <a:gd name="connsiteY14" fmla="*/ 37932 h 1006476"/>
                <a:gd name="connsiteX15" fmla="*/ 839679 w 1344068"/>
                <a:gd name="connsiteY15" fmla="*/ 105968 h 1006476"/>
                <a:gd name="connsiteX16" fmla="*/ 1173745 w 1344068"/>
                <a:gd name="connsiteY16" fmla="*/ 105968 h 1006476"/>
                <a:gd name="connsiteX17" fmla="*/ 1173745 w 1344068"/>
                <a:gd name="connsiteY17" fmla="*/ 37932 h 1006476"/>
                <a:gd name="connsiteX18" fmla="*/ 839679 w 1344068"/>
                <a:gd name="connsiteY18" fmla="*/ 37932 h 1006476"/>
                <a:gd name="connsiteX19" fmla="*/ 170323 w 1344068"/>
                <a:gd name="connsiteY19" fmla="*/ 37932 h 1006476"/>
                <a:gd name="connsiteX20" fmla="*/ 170323 w 1344068"/>
                <a:gd name="connsiteY20" fmla="*/ 105968 h 1006476"/>
                <a:gd name="connsiteX21" fmla="*/ 504389 w 1344068"/>
                <a:gd name="connsiteY21" fmla="*/ 105968 h 1006476"/>
                <a:gd name="connsiteX22" fmla="*/ 504389 w 1344068"/>
                <a:gd name="connsiteY22" fmla="*/ 37932 h 1006476"/>
                <a:gd name="connsiteX23" fmla="*/ 170323 w 1344068"/>
                <a:gd name="connsiteY23" fmla="*/ 37932 h 1006476"/>
                <a:gd name="connsiteX24" fmla="*/ 36697 w 1344068"/>
                <a:gd name="connsiteY24" fmla="*/ 37932 h 1006476"/>
                <a:gd name="connsiteX25" fmla="*/ 36697 w 1344068"/>
                <a:gd name="connsiteY25" fmla="*/ 105968 h 1006476"/>
                <a:gd name="connsiteX26" fmla="*/ 104736 w 1344068"/>
                <a:gd name="connsiteY26" fmla="*/ 105968 h 1006476"/>
                <a:gd name="connsiteX27" fmla="*/ 104736 w 1344068"/>
                <a:gd name="connsiteY27" fmla="*/ 37932 h 1006476"/>
                <a:gd name="connsiteX28" fmla="*/ 36697 w 1344068"/>
                <a:gd name="connsiteY28" fmla="*/ 37932 h 1006476"/>
                <a:gd name="connsiteX29" fmla="*/ 0 w 1344068"/>
                <a:gd name="connsiteY29" fmla="*/ 0 h 1006476"/>
                <a:gd name="connsiteX30" fmla="*/ 1344068 w 1344068"/>
                <a:gd name="connsiteY30" fmla="*/ 0 h 1006476"/>
                <a:gd name="connsiteX31" fmla="*/ 1344068 w 1344068"/>
                <a:gd name="connsiteY31" fmla="*/ 1006476 h 1006476"/>
                <a:gd name="connsiteX32" fmla="*/ 0 w 1344068"/>
                <a:gd name="connsiteY32" fmla="*/ 1006476 h 1006476"/>
                <a:gd name="connsiteX33" fmla="*/ 0 w 1344068"/>
                <a:gd name="connsiteY33" fmla="*/ 0 h 1006476"/>
                <a:gd name="connsiteX0" fmla="*/ 1234463 w 1344068"/>
                <a:gd name="connsiteY0" fmla="*/ 912133 h 1006476"/>
                <a:gd name="connsiteX1" fmla="*/ 1234463 w 1344068"/>
                <a:gd name="connsiteY1" fmla="*/ 183749 h 1006476"/>
                <a:gd name="connsiteX2" fmla="*/ 1234463 w 1344068"/>
                <a:gd name="connsiteY2" fmla="*/ 912133 h 1006476"/>
                <a:gd name="connsiteX3" fmla="*/ 36697 w 1344068"/>
                <a:gd name="connsiteY3" fmla="*/ 138779 h 1006476"/>
                <a:gd name="connsiteX4" fmla="*/ 36697 w 1344068"/>
                <a:gd name="connsiteY4" fmla="*/ 979442 h 1006476"/>
                <a:gd name="connsiteX5" fmla="*/ 1307371 w 1344068"/>
                <a:gd name="connsiteY5" fmla="*/ 979442 h 1006476"/>
                <a:gd name="connsiteX6" fmla="*/ 1307371 w 1344068"/>
                <a:gd name="connsiteY6" fmla="*/ 138779 h 1006476"/>
                <a:gd name="connsiteX7" fmla="*/ 36697 w 1344068"/>
                <a:gd name="connsiteY7" fmla="*/ 138779 h 1006476"/>
                <a:gd name="connsiteX8" fmla="*/ 1239333 w 1344068"/>
                <a:gd name="connsiteY8" fmla="*/ 37932 h 1006476"/>
                <a:gd name="connsiteX9" fmla="*/ 1239333 w 1344068"/>
                <a:gd name="connsiteY9" fmla="*/ 105968 h 1006476"/>
                <a:gd name="connsiteX10" fmla="*/ 1307371 w 1344068"/>
                <a:gd name="connsiteY10" fmla="*/ 105968 h 1006476"/>
                <a:gd name="connsiteX11" fmla="*/ 1307371 w 1344068"/>
                <a:gd name="connsiteY11" fmla="*/ 37932 h 1006476"/>
                <a:gd name="connsiteX12" fmla="*/ 1239333 w 1344068"/>
                <a:gd name="connsiteY12" fmla="*/ 37932 h 1006476"/>
                <a:gd name="connsiteX13" fmla="*/ 839679 w 1344068"/>
                <a:gd name="connsiteY13" fmla="*/ 37932 h 1006476"/>
                <a:gd name="connsiteX14" fmla="*/ 839679 w 1344068"/>
                <a:gd name="connsiteY14" fmla="*/ 105968 h 1006476"/>
                <a:gd name="connsiteX15" fmla="*/ 1173745 w 1344068"/>
                <a:gd name="connsiteY15" fmla="*/ 105968 h 1006476"/>
                <a:gd name="connsiteX16" fmla="*/ 1173745 w 1344068"/>
                <a:gd name="connsiteY16" fmla="*/ 37932 h 1006476"/>
                <a:gd name="connsiteX17" fmla="*/ 839679 w 1344068"/>
                <a:gd name="connsiteY17" fmla="*/ 37932 h 1006476"/>
                <a:gd name="connsiteX18" fmla="*/ 170323 w 1344068"/>
                <a:gd name="connsiteY18" fmla="*/ 37932 h 1006476"/>
                <a:gd name="connsiteX19" fmla="*/ 170323 w 1344068"/>
                <a:gd name="connsiteY19" fmla="*/ 105968 h 1006476"/>
                <a:gd name="connsiteX20" fmla="*/ 504389 w 1344068"/>
                <a:gd name="connsiteY20" fmla="*/ 105968 h 1006476"/>
                <a:gd name="connsiteX21" fmla="*/ 504389 w 1344068"/>
                <a:gd name="connsiteY21" fmla="*/ 37932 h 1006476"/>
                <a:gd name="connsiteX22" fmla="*/ 170323 w 1344068"/>
                <a:gd name="connsiteY22" fmla="*/ 37932 h 1006476"/>
                <a:gd name="connsiteX23" fmla="*/ 36697 w 1344068"/>
                <a:gd name="connsiteY23" fmla="*/ 37932 h 1006476"/>
                <a:gd name="connsiteX24" fmla="*/ 36697 w 1344068"/>
                <a:gd name="connsiteY24" fmla="*/ 105968 h 1006476"/>
                <a:gd name="connsiteX25" fmla="*/ 104736 w 1344068"/>
                <a:gd name="connsiteY25" fmla="*/ 105968 h 1006476"/>
                <a:gd name="connsiteX26" fmla="*/ 104736 w 1344068"/>
                <a:gd name="connsiteY26" fmla="*/ 37932 h 1006476"/>
                <a:gd name="connsiteX27" fmla="*/ 36697 w 1344068"/>
                <a:gd name="connsiteY27" fmla="*/ 37932 h 1006476"/>
                <a:gd name="connsiteX28" fmla="*/ 0 w 1344068"/>
                <a:gd name="connsiteY28" fmla="*/ 0 h 1006476"/>
                <a:gd name="connsiteX29" fmla="*/ 1344068 w 1344068"/>
                <a:gd name="connsiteY29" fmla="*/ 0 h 1006476"/>
                <a:gd name="connsiteX30" fmla="*/ 1344068 w 1344068"/>
                <a:gd name="connsiteY30" fmla="*/ 1006476 h 1006476"/>
                <a:gd name="connsiteX31" fmla="*/ 0 w 1344068"/>
                <a:gd name="connsiteY31" fmla="*/ 1006476 h 1006476"/>
                <a:gd name="connsiteX32" fmla="*/ 0 w 1344068"/>
                <a:gd name="connsiteY32" fmla="*/ 0 h 1006476"/>
                <a:gd name="connsiteX0" fmla="*/ 36697 w 1344068"/>
                <a:gd name="connsiteY0" fmla="*/ 138779 h 1006476"/>
                <a:gd name="connsiteX1" fmla="*/ 36697 w 1344068"/>
                <a:gd name="connsiteY1" fmla="*/ 979442 h 1006476"/>
                <a:gd name="connsiteX2" fmla="*/ 1307371 w 1344068"/>
                <a:gd name="connsiteY2" fmla="*/ 979442 h 1006476"/>
                <a:gd name="connsiteX3" fmla="*/ 1307371 w 1344068"/>
                <a:gd name="connsiteY3" fmla="*/ 138779 h 1006476"/>
                <a:gd name="connsiteX4" fmla="*/ 36697 w 1344068"/>
                <a:gd name="connsiteY4" fmla="*/ 138779 h 1006476"/>
                <a:gd name="connsiteX5" fmla="*/ 1239333 w 1344068"/>
                <a:gd name="connsiteY5" fmla="*/ 37932 h 1006476"/>
                <a:gd name="connsiteX6" fmla="*/ 1239333 w 1344068"/>
                <a:gd name="connsiteY6" fmla="*/ 105968 h 1006476"/>
                <a:gd name="connsiteX7" fmla="*/ 1307371 w 1344068"/>
                <a:gd name="connsiteY7" fmla="*/ 105968 h 1006476"/>
                <a:gd name="connsiteX8" fmla="*/ 1307371 w 1344068"/>
                <a:gd name="connsiteY8" fmla="*/ 37932 h 1006476"/>
                <a:gd name="connsiteX9" fmla="*/ 1239333 w 1344068"/>
                <a:gd name="connsiteY9" fmla="*/ 37932 h 1006476"/>
                <a:gd name="connsiteX10" fmla="*/ 839679 w 1344068"/>
                <a:gd name="connsiteY10" fmla="*/ 37932 h 1006476"/>
                <a:gd name="connsiteX11" fmla="*/ 839679 w 1344068"/>
                <a:gd name="connsiteY11" fmla="*/ 105968 h 1006476"/>
                <a:gd name="connsiteX12" fmla="*/ 1173745 w 1344068"/>
                <a:gd name="connsiteY12" fmla="*/ 105968 h 1006476"/>
                <a:gd name="connsiteX13" fmla="*/ 1173745 w 1344068"/>
                <a:gd name="connsiteY13" fmla="*/ 37932 h 1006476"/>
                <a:gd name="connsiteX14" fmla="*/ 839679 w 1344068"/>
                <a:gd name="connsiteY14" fmla="*/ 37932 h 1006476"/>
                <a:gd name="connsiteX15" fmla="*/ 170323 w 1344068"/>
                <a:gd name="connsiteY15" fmla="*/ 37932 h 1006476"/>
                <a:gd name="connsiteX16" fmla="*/ 170323 w 1344068"/>
                <a:gd name="connsiteY16" fmla="*/ 105968 h 1006476"/>
                <a:gd name="connsiteX17" fmla="*/ 504389 w 1344068"/>
                <a:gd name="connsiteY17" fmla="*/ 105968 h 1006476"/>
                <a:gd name="connsiteX18" fmla="*/ 504389 w 1344068"/>
                <a:gd name="connsiteY18" fmla="*/ 37932 h 1006476"/>
                <a:gd name="connsiteX19" fmla="*/ 170323 w 1344068"/>
                <a:gd name="connsiteY19" fmla="*/ 37932 h 1006476"/>
                <a:gd name="connsiteX20" fmla="*/ 36697 w 1344068"/>
                <a:gd name="connsiteY20" fmla="*/ 37932 h 1006476"/>
                <a:gd name="connsiteX21" fmla="*/ 36697 w 1344068"/>
                <a:gd name="connsiteY21" fmla="*/ 105968 h 1006476"/>
                <a:gd name="connsiteX22" fmla="*/ 104736 w 1344068"/>
                <a:gd name="connsiteY22" fmla="*/ 105968 h 1006476"/>
                <a:gd name="connsiteX23" fmla="*/ 104736 w 1344068"/>
                <a:gd name="connsiteY23" fmla="*/ 37932 h 1006476"/>
                <a:gd name="connsiteX24" fmla="*/ 36697 w 1344068"/>
                <a:gd name="connsiteY24" fmla="*/ 37932 h 1006476"/>
                <a:gd name="connsiteX25" fmla="*/ 0 w 1344068"/>
                <a:gd name="connsiteY25" fmla="*/ 0 h 1006476"/>
                <a:gd name="connsiteX26" fmla="*/ 1344068 w 1344068"/>
                <a:gd name="connsiteY26" fmla="*/ 0 h 1006476"/>
                <a:gd name="connsiteX27" fmla="*/ 1344068 w 1344068"/>
                <a:gd name="connsiteY27" fmla="*/ 1006476 h 1006476"/>
                <a:gd name="connsiteX28" fmla="*/ 0 w 1344068"/>
                <a:gd name="connsiteY28" fmla="*/ 1006476 h 1006476"/>
                <a:gd name="connsiteX29" fmla="*/ 0 w 1344068"/>
                <a:gd name="connsiteY29" fmla="*/ 0 h 1006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344068" h="1006476">
                  <a:moveTo>
                    <a:pt x="36697" y="138779"/>
                  </a:moveTo>
                  <a:lnTo>
                    <a:pt x="36697" y="979442"/>
                  </a:lnTo>
                  <a:lnTo>
                    <a:pt x="1307371" y="979442"/>
                  </a:lnTo>
                  <a:lnTo>
                    <a:pt x="1307371" y="138779"/>
                  </a:lnTo>
                  <a:lnTo>
                    <a:pt x="36697" y="138779"/>
                  </a:lnTo>
                  <a:close/>
                  <a:moveTo>
                    <a:pt x="1239333" y="37932"/>
                  </a:moveTo>
                  <a:lnTo>
                    <a:pt x="1239333" y="105968"/>
                  </a:lnTo>
                  <a:lnTo>
                    <a:pt x="1307371" y="105968"/>
                  </a:lnTo>
                  <a:lnTo>
                    <a:pt x="1307371" y="37932"/>
                  </a:lnTo>
                  <a:lnTo>
                    <a:pt x="1239333" y="37932"/>
                  </a:lnTo>
                  <a:close/>
                  <a:moveTo>
                    <a:pt x="839679" y="37932"/>
                  </a:moveTo>
                  <a:lnTo>
                    <a:pt x="839679" y="105968"/>
                  </a:lnTo>
                  <a:lnTo>
                    <a:pt x="1173745" y="105968"/>
                  </a:lnTo>
                  <a:lnTo>
                    <a:pt x="1173745" y="37932"/>
                  </a:lnTo>
                  <a:lnTo>
                    <a:pt x="839679" y="37932"/>
                  </a:lnTo>
                  <a:close/>
                  <a:moveTo>
                    <a:pt x="170323" y="37932"/>
                  </a:moveTo>
                  <a:lnTo>
                    <a:pt x="170323" y="105968"/>
                  </a:lnTo>
                  <a:lnTo>
                    <a:pt x="504389" y="105968"/>
                  </a:lnTo>
                  <a:lnTo>
                    <a:pt x="504389" y="37932"/>
                  </a:lnTo>
                  <a:lnTo>
                    <a:pt x="170323" y="37932"/>
                  </a:lnTo>
                  <a:close/>
                  <a:moveTo>
                    <a:pt x="36697" y="37932"/>
                  </a:moveTo>
                  <a:lnTo>
                    <a:pt x="36697" y="105968"/>
                  </a:lnTo>
                  <a:lnTo>
                    <a:pt x="104736" y="105968"/>
                  </a:lnTo>
                  <a:lnTo>
                    <a:pt x="104736" y="37932"/>
                  </a:lnTo>
                  <a:lnTo>
                    <a:pt x="36697" y="37932"/>
                  </a:lnTo>
                  <a:close/>
                  <a:moveTo>
                    <a:pt x="0" y="0"/>
                  </a:moveTo>
                  <a:lnTo>
                    <a:pt x="1344068" y="0"/>
                  </a:lnTo>
                  <a:lnTo>
                    <a:pt x="1344068" y="1006476"/>
                  </a:lnTo>
                  <a:lnTo>
                    <a:pt x="0" y="1006476"/>
                  </a:lnTo>
                  <a:lnTo>
                    <a:pt x="0" y="0"/>
                  </a:lnTo>
                  <a:close/>
                </a:path>
              </a:pathLst>
            </a:custGeom>
            <a:solidFill>
              <a:srgbClr val="282828"/>
            </a:solidFill>
            <a:ln w="12700" cap="flat" cmpd="sng" algn="ctr">
              <a:noFill/>
              <a:prstDash val="solid"/>
              <a:miter lim="800000"/>
            </a:ln>
            <a:effectLst/>
          </p:spPr>
          <p:txBody>
            <a:bodyPr rtlCol="0" anchor="ctr"/>
            <a:lstStyle/>
            <a:p>
              <a:pPr algn="ctr">
                <a:defRPr/>
              </a:pPr>
              <a:endParaRPr lang="en-US" kern="0">
                <a:solidFill>
                  <a:prstClr val="white"/>
                </a:solidFill>
                <a:latin typeface="Segoe UI"/>
              </a:endParaRPr>
            </a:p>
          </p:txBody>
        </p:sp>
        <p:sp>
          <p:nvSpPr>
            <p:cNvPr id="44" name="Left Arrow 43"/>
            <p:cNvSpPr/>
            <p:nvPr/>
          </p:nvSpPr>
          <p:spPr>
            <a:xfrm rot="5400000" flipH="1">
              <a:off x="10274522" y="5577381"/>
              <a:ext cx="568508" cy="221344"/>
            </a:xfrm>
            <a:prstGeom prst="leftArrow">
              <a:avLst/>
            </a:prstGeom>
            <a:solidFill>
              <a:srgbClr val="EDC30D"/>
            </a:solidFill>
            <a:ln w="12700" cap="flat" cmpd="sng" algn="ctr">
              <a:noFill/>
              <a:prstDash val="solid"/>
              <a:miter lim="800000"/>
            </a:ln>
            <a:effectLst/>
          </p:spPr>
          <p:txBody>
            <a:bodyPr rtlCol="0" anchor="ctr"/>
            <a:lstStyle/>
            <a:p>
              <a:pPr algn="ctr">
                <a:defRPr/>
              </a:pPr>
              <a:endParaRPr lang="en-US" kern="0">
                <a:solidFill>
                  <a:sysClr val="windowText" lastClr="000000"/>
                </a:solidFill>
                <a:latin typeface="Segoe UI"/>
              </a:endParaRPr>
            </a:p>
          </p:txBody>
        </p:sp>
        <p:sp>
          <p:nvSpPr>
            <p:cNvPr id="45" name="TextBox 44"/>
            <p:cNvSpPr txBox="1"/>
            <p:nvPr/>
          </p:nvSpPr>
          <p:spPr>
            <a:xfrm>
              <a:off x="9939379" y="5640394"/>
              <a:ext cx="645033" cy="199450"/>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100" b="0" i="0" u="none" strike="noStrike" kern="0" cap="none" spc="0" normalizeH="0" baseline="0">
                  <a:ln>
                    <a:noFill/>
                  </a:ln>
                  <a:solidFill>
                    <a:schemeClr val="tx2"/>
                  </a:solidFill>
                  <a:effectLst/>
                  <a:uLnTx/>
                  <a:uFillTx/>
                </a:defRPr>
              </a:lvl1pPr>
            </a:lstStyle>
            <a:p>
              <a:pPr>
                <a:defRPr/>
              </a:pPr>
              <a:r>
                <a:rPr lang="en-US" dirty="0">
                  <a:solidFill>
                    <a:srgbClr val="282828"/>
                  </a:solidFill>
                  <a:latin typeface="Segoe UI Semibold" panose="020B0702040204020203" pitchFamily="34" charset="0"/>
                  <a:cs typeface="Segoe UI Semibold" panose="020B0702040204020203" pitchFamily="34" charset="0"/>
                </a:rPr>
                <a:t>Cache</a:t>
              </a:r>
            </a:p>
          </p:txBody>
        </p:sp>
        <p:sp>
          <p:nvSpPr>
            <p:cNvPr id="47" name="Right Arrow 46"/>
            <p:cNvSpPr/>
            <p:nvPr/>
          </p:nvSpPr>
          <p:spPr>
            <a:xfrm flipH="1">
              <a:off x="9199230" y="5089326"/>
              <a:ext cx="1101539" cy="221344"/>
            </a:xfrm>
            <a:prstGeom prst="rightArrow">
              <a:avLst/>
            </a:prstGeom>
            <a:solidFill>
              <a:srgbClr val="EDC30D"/>
            </a:solidFill>
            <a:ln w="12700" cap="flat" cmpd="sng" algn="ctr">
              <a:noFill/>
              <a:prstDash val="solid"/>
              <a:miter lim="800000"/>
            </a:ln>
            <a:effectLst/>
          </p:spPr>
          <p:txBody>
            <a:bodyPr rtlCol="0" anchor="ctr"/>
            <a:lstStyle/>
            <a:p>
              <a:pPr algn="ctr">
                <a:defRPr/>
              </a:pPr>
              <a:endParaRPr lang="en-US" kern="0">
                <a:solidFill>
                  <a:sysClr val="windowText" lastClr="000000"/>
                </a:solidFill>
                <a:latin typeface="Segoe UI"/>
              </a:endParaRPr>
            </a:p>
          </p:txBody>
        </p:sp>
      </p:grpSp>
      <p:sp>
        <p:nvSpPr>
          <p:cNvPr id="22" name="Rectangle 21"/>
          <p:cNvSpPr/>
          <p:nvPr/>
        </p:nvSpPr>
        <p:spPr>
          <a:xfrm>
            <a:off x="5625002" y="657862"/>
            <a:ext cx="5903808" cy="523220"/>
          </a:xfrm>
          <a:prstGeom prst="rect">
            <a:avLst/>
          </a:prstGeom>
          <a:noFill/>
        </p:spPr>
        <p:txBody>
          <a:bodyPr wrap="square" lIns="91440">
            <a:spAutoFit/>
          </a:bodyPr>
          <a:lstStyle/>
          <a:p>
            <a:pPr>
              <a:defRPr/>
            </a:pPr>
            <a:r>
              <a:rPr lang="zh-TW" altLang="en-US" sz="2800" kern="0" dirty="0">
                <a:solidFill>
                  <a:srgbClr val="262626"/>
                </a:solidFill>
                <a:latin typeface="Segoe UI Light" panose="020B0502040204020203" pitchFamily="34" charset="0"/>
                <a:ea typeface="Segoe UI Black" panose="020B0A02040204020203" pitchFamily="34" charset="0"/>
                <a:cs typeface="Segoe UI Light" panose="020B0502040204020203" pitchFamily="34" charset="0"/>
              </a:rPr>
              <a:t>每個月根據 </a:t>
            </a:r>
            <a:r>
              <a:rPr lang="en-US" altLang="zh-TW" sz="2800" kern="0" dirty="0">
                <a:solidFill>
                  <a:srgbClr val="262626"/>
                </a:solidFill>
                <a:latin typeface="Segoe UI Light" panose="020B0502040204020203" pitchFamily="34" charset="0"/>
                <a:ea typeface="Segoe UI Black" panose="020B0A02040204020203" pitchFamily="34" charset="0"/>
                <a:cs typeface="Segoe UI Light" panose="020B0502040204020203" pitchFamily="34" charset="0"/>
              </a:rPr>
              <a:t>session </a:t>
            </a:r>
            <a:r>
              <a:rPr lang="zh-TW" altLang="en-US" sz="2800" kern="0" dirty="0">
                <a:solidFill>
                  <a:srgbClr val="262626"/>
                </a:solidFill>
                <a:latin typeface="Segoe UI Light" panose="020B0502040204020203" pitchFamily="34" charset="0"/>
                <a:ea typeface="Segoe UI Black" panose="020B0A02040204020203" pitchFamily="34" charset="0"/>
                <a:cs typeface="Segoe UI Light" panose="020B0502040204020203" pitchFamily="34" charset="0"/>
              </a:rPr>
              <a:t>計費</a:t>
            </a:r>
            <a:endParaRPr lang="en-US" sz="2800" kern="0" dirty="0">
              <a:solidFill>
                <a:srgbClr val="262626"/>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3139042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a:t>今天就開始使用 </a:t>
            </a:r>
            <a:r>
              <a:rPr lang="en-US" altLang="zh-TW" dirty="0"/>
              <a:t>PowerBI.com</a:t>
            </a:r>
            <a:endParaRPr lang="zh-TW" altLang="en-US" dirty="0"/>
          </a:p>
        </p:txBody>
      </p:sp>
      <p:sp>
        <p:nvSpPr>
          <p:cNvPr id="3" name="內容版面配置區 2"/>
          <p:cNvSpPr>
            <a:spLocks noGrp="1"/>
          </p:cNvSpPr>
          <p:nvPr>
            <p:ph sz="quarter" idx="10"/>
          </p:nvPr>
        </p:nvSpPr>
        <p:spPr/>
        <p:txBody>
          <a:bodyPr/>
          <a:lstStyle/>
          <a:p>
            <a:endParaRPr lang="zh-TW" altLang="en-US"/>
          </a:p>
        </p:txBody>
      </p:sp>
      <p:pic>
        <p:nvPicPr>
          <p:cNvPr id="8" name="圖片 7"/>
          <p:cNvPicPr>
            <a:picLocks noChangeAspect="1"/>
          </p:cNvPicPr>
          <p:nvPr/>
        </p:nvPicPr>
        <p:blipFill>
          <a:blip r:embed="rId2"/>
          <a:stretch>
            <a:fillRect/>
          </a:stretch>
        </p:blipFill>
        <p:spPr>
          <a:xfrm>
            <a:off x="269240" y="1169988"/>
            <a:ext cx="11655840" cy="7037837"/>
          </a:xfrm>
          <a:prstGeom prst="rect">
            <a:avLst/>
          </a:prstGeom>
        </p:spPr>
      </p:pic>
    </p:spTree>
    <p:extLst>
      <p:ext uri="{BB962C8B-B14F-4D97-AF65-F5344CB8AC3E}">
        <p14:creationId xmlns:p14="http://schemas.microsoft.com/office/powerpoint/2010/main" val="4094912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ltLang="zh-TW" dirty="0"/>
              <a:t>Power BI </a:t>
            </a:r>
            <a:r>
              <a:rPr lang="zh-TW" altLang="en-US" dirty="0"/>
              <a:t>概觀</a:t>
            </a:r>
            <a:endParaRPr lang="en-US" dirty="0"/>
          </a:p>
        </p:txBody>
      </p:sp>
      <p:sp>
        <p:nvSpPr>
          <p:cNvPr id="3" name="Content Placeholder 2"/>
          <p:cNvSpPr>
            <a:spLocks noGrp="1"/>
          </p:cNvSpPr>
          <p:nvPr>
            <p:ph sz="quarter" idx="10"/>
          </p:nvPr>
        </p:nvSpPr>
        <p:spPr/>
        <p:txBody>
          <a:bodyPr/>
          <a:lstStyle/>
          <a:p>
            <a:r>
              <a:rPr lang="zh-TW" altLang="en-US" dirty="0"/>
              <a:t>不論身處何種產業、擔任何種職位，</a:t>
            </a:r>
            <a:r>
              <a:rPr lang="en-AU" dirty="0"/>
              <a:t>Power BI </a:t>
            </a:r>
            <a:r>
              <a:rPr lang="zh-TW" altLang="en-US" dirty="0"/>
              <a:t>都與您有關</a:t>
            </a:r>
            <a:endParaRPr lang="en-US" dirty="0"/>
          </a:p>
        </p:txBody>
      </p:sp>
      <p:sp>
        <p:nvSpPr>
          <p:cNvPr id="4" name="Text Placeholder 3"/>
          <p:cNvSpPr>
            <a:spLocks noGrp="1"/>
          </p:cNvSpPr>
          <p:nvPr>
            <p:ph type="body" sz="quarter" idx="11"/>
          </p:nvPr>
        </p:nvSpPr>
        <p:spPr/>
        <p:txBody>
          <a:bodyPr>
            <a:normAutofit fontScale="85000" lnSpcReduction="20000"/>
          </a:bodyPr>
          <a:lstStyle/>
          <a:p>
            <a:r>
              <a:rPr lang="zh-TW" altLang="en-US" dirty="0"/>
              <a:t>商務人士</a:t>
            </a:r>
            <a:endParaRPr lang="en-AU" dirty="0"/>
          </a:p>
          <a:p>
            <a:pPr lvl="1"/>
            <a:r>
              <a:rPr lang="zh-TW" altLang="en-US" dirty="0"/>
              <a:t>從 </a:t>
            </a:r>
            <a:r>
              <a:rPr lang="en-US" altLang="zh-TW" dirty="0"/>
              <a:t>SaaS </a:t>
            </a:r>
            <a:r>
              <a:rPr lang="zh-TW" altLang="en-US" dirty="0"/>
              <a:t>服務中匯入資料，並且操作報表及儀表板</a:t>
            </a:r>
            <a:endParaRPr lang="en-AU" dirty="0"/>
          </a:p>
          <a:p>
            <a:r>
              <a:rPr lang="zh-TW" altLang="en-US"/>
              <a:t>商業分析師</a:t>
            </a:r>
            <a:endParaRPr lang="en-AU" dirty="0"/>
          </a:p>
          <a:p>
            <a:pPr lvl="1"/>
            <a:r>
              <a:rPr lang="en-AU" dirty="0"/>
              <a:t>Import, reshape, integrate and model data</a:t>
            </a:r>
          </a:p>
          <a:p>
            <a:pPr lvl="1"/>
            <a:r>
              <a:rPr lang="en-AU" dirty="0"/>
              <a:t>Create compelling reports and visualizations</a:t>
            </a:r>
          </a:p>
          <a:p>
            <a:pPr lvl="1"/>
            <a:r>
              <a:rPr lang="en-AU" dirty="0"/>
              <a:t>Create content packs to share insights</a:t>
            </a:r>
          </a:p>
          <a:p>
            <a:r>
              <a:rPr lang="en-AU" dirty="0"/>
              <a:t>BI professional</a:t>
            </a:r>
          </a:p>
          <a:p>
            <a:pPr lvl="1"/>
            <a:r>
              <a:rPr lang="en-AU" dirty="0"/>
              <a:t>Connect to live Azure data services</a:t>
            </a:r>
          </a:p>
          <a:p>
            <a:pPr lvl="1"/>
            <a:r>
              <a:rPr lang="en-AU" dirty="0"/>
              <a:t>Connect to on-premises Analysis Services databases</a:t>
            </a:r>
          </a:p>
          <a:p>
            <a:pPr lvl="1"/>
            <a:r>
              <a:rPr lang="en-AU" dirty="0"/>
              <a:t>Empower colleagues to create their own reports</a:t>
            </a:r>
          </a:p>
          <a:p>
            <a:r>
              <a:rPr lang="en-AU" dirty="0"/>
              <a:t>Developer</a:t>
            </a:r>
          </a:p>
          <a:p>
            <a:pPr lvl="1"/>
            <a:r>
              <a:rPr lang="en-AU" dirty="0"/>
              <a:t>Integrate applications with Power BI</a:t>
            </a:r>
          </a:p>
          <a:p>
            <a:pPr lvl="1"/>
            <a:r>
              <a:rPr lang="en-AU" dirty="0"/>
              <a:t>Create real-time dashboards</a:t>
            </a:r>
          </a:p>
          <a:p>
            <a:pPr lvl="1"/>
            <a:r>
              <a:rPr lang="en-AU" dirty="0"/>
              <a:t>Develop custom visuals</a:t>
            </a:r>
            <a:endParaRPr lang="en-US" dirty="0"/>
          </a:p>
          <a:p>
            <a:pPr lvl="1"/>
            <a:endParaRPr lang="en-US" dirty="0"/>
          </a:p>
        </p:txBody>
      </p:sp>
    </p:spTree>
    <p:extLst>
      <p:ext uri="{BB962C8B-B14F-4D97-AF65-F5344CB8AC3E}">
        <p14:creationId xmlns:p14="http://schemas.microsoft.com/office/powerpoint/2010/main" val="1094633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a:xfrm>
            <a:off x="865" y="487"/>
            <a:ext cx="12190271" cy="68570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srgbClr val="282828"/>
              </a:solidFill>
              <a:latin typeface="Segoe UI"/>
            </a:endParaRPr>
          </a:p>
        </p:txBody>
      </p:sp>
      <p:sp>
        <p:nvSpPr>
          <p:cNvPr id="5" name="Rectangle 4"/>
          <p:cNvSpPr/>
          <p:nvPr/>
        </p:nvSpPr>
        <p:spPr bwMode="auto">
          <a:xfrm>
            <a:off x="458173" y="2838995"/>
            <a:ext cx="3180247" cy="639989"/>
          </a:xfrm>
          <a:prstGeom prst="rect">
            <a:avLst/>
          </a:prstGeom>
          <a:solidFill>
            <a:srgbClr val="EDC30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89616" defTabSz="913794" fontAlgn="base">
              <a:spcBef>
                <a:spcPct val="0"/>
              </a:spcBef>
              <a:spcAft>
                <a:spcPct val="0"/>
              </a:spcAft>
              <a:defRPr/>
            </a:pPr>
            <a:r>
              <a:rPr lang="en-US" sz="2400" dirty="0">
                <a:solidFill>
                  <a:srgbClr val="282828"/>
                </a:solidFill>
                <a:latin typeface="Segoe UI Light" panose="020B0502040204020203" pitchFamily="34" charset="0"/>
                <a:cs typeface="Segoe UI Light" panose="020B0502040204020203" pitchFamily="34" charset="0"/>
              </a:rPr>
              <a:t>Power BI </a:t>
            </a:r>
            <a:r>
              <a:rPr lang="zh-TW" altLang="en-US" sz="2400" dirty="0">
                <a:solidFill>
                  <a:srgbClr val="282828"/>
                </a:solidFill>
                <a:latin typeface="Segoe UI Light" panose="020B0502040204020203" pitchFamily="34" charset="0"/>
                <a:cs typeface="Segoe UI Light" panose="020B0502040204020203" pitchFamily="34" charset="0"/>
              </a:rPr>
              <a:t>開發部落格</a:t>
            </a:r>
            <a:endParaRPr lang="en-US" sz="2400" dirty="0">
              <a:solidFill>
                <a:srgbClr val="282828"/>
              </a:solidFill>
              <a:latin typeface="Segoe UI Light" panose="020B0502040204020203" pitchFamily="34" charset="0"/>
              <a:cs typeface="Segoe UI Light" panose="020B0502040204020203" pitchFamily="34" charset="0"/>
            </a:endParaRPr>
          </a:p>
        </p:txBody>
      </p:sp>
      <p:sp>
        <p:nvSpPr>
          <p:cNvPr id="6" name="Rectangle 5"/>
          <p:cNvSpPr/>
          <p:nvPr/>
        </p:nvSpPr>
        <p:spPr bwMode="auto">
          <a:xfrm>
            <a:off x="458173" y="3562379"/>
            <a:ext cx="3180247" cy="639989"/>
          </a:xfrm>
          <a:prstGeom prst="rect">
            <a:avLst/>
          </a:prstGeom>
          <a:solidFill>
            <a:srgbClr val="EDC30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89616" defTabSz="913794" fontAlgn="base">
              <a:spcBef>
                <a:spcPct val="0"/>
              </a:spcBef>
              <a:spcAft>
                <a:spcPct val="0"/>
              </a:spcAft>
              <a:defRPr/>
            </a:pPr>
            <a:r>
              <a:rPr lang="zh-TW" altLang="en-US" sz="2400" dirty="0">
                <a:solidFill>
                  <a:srgbClr val="282828"/>
                </a:solidFill>
                <a:latin typeface="Segoe UI Light" panose="020B0502040204020203" pitchFamily="34" charset="0"/>
                <a:cs typeface="Segoe UI Light" panose="020B0502040204020203" pitchFamily="34" charset="0"/>
              </a:rPr>
              <a:t>範例程式碼</a:t>
            </a:r>
            <a:endParaRPr lang="en-US" sz="2400" dirty="0">
              <a:solidFill>
                <a:srgbClr val="282828"/>
              </a:solidFill>
              <a:latin typeface="Segoe UI Light" panose="020B0502040204020203" pitchFamily="34" charset="0"/>
              <a:cs typeface="Segoe UI Light" panose="020B0502040204020203" pitchFamily="34" charset="0"/>
            </a:endParaRPr>
          </a:p>
        </p:txBody>
      </p:sp>
      <p:sp>
        <p:nvSpPr>
          <p:cNvPr id="10" name="Rectangle 9"/>
          <p:cNvSpPr/>
          <p:nvPr/>
        </p:nvSpPr>
        <p:spPr bwMode="auto">
          <a:xfrm>
            <a:off x="3772201" y="3562379"/>
            <a:ext cx="7866115" cy="639989"/>
          </a:xfrm>
          <a:prstGeom prst="rect">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91427" tIns="44802" rIns="89604" bIns="44802" numCol="1" spcCol="0" rtlCol="0" fromWordArt="0" anchor="ctr" anchorCtr="0" forceAA="0" compatLnSpc="1">
            <a:prstTxWarp prst="textNoShape">
              <a:avLst/>
            </a:prstTxWarp>
            <a:noAutofit/>
          </a:bodyPr>
          <a:lstStyle/>
          <a:p>
            <a:pPr marL="89616" lvl="1" defTabSz="914367">
              <a:defRPr/>
            </a:pPr>
            <a:r>
              <a:rPr lang="en-US" dirty="0">
                <a:solidFill>
                  <a:srgbClr val="282828"/>
                </a:solidFill>
                <a:latin typeface="Segoe UI" panose="020B0502040204020203" pitchFamily="34" charset="0"/>
                <a:cs typeface="Segoe UI" panose="020B0502040204020203" pitchFamily="34" charset="0"/>
                <a:hlinkClick r:id="rId2"/>
              </a:rPr>
              <a:t>http://github.com/PowerBI</a:t>
            </a:r>
            <a:endParaRPr lang="en-US" dirty="0">
              <a:solidFill>
                <a:srgbClr val="282828"/>
              </a:solidFill>
              <a:latin typeface="Segoe UI" panose="020B0502040204020203" pitchFamily="34" charset="0"/>
              <a:cs typeface="Segoe UI" panose="020B0502040204020203" pitchFamily="34" charset="0"/>
            </a:endParaRPr>
          </a:p>
        </p:txBody>
      </p:sp>
      <p:sp>
        <p:nvSpPr>
          <p:cNvPr id="11" name="Rectangle 10"/>
          <p:cNvSpPr/>
          <p:nvPr/>
        </p:nvSpPr>
        <p:spPr bwMode="auto">
          <a:xfrm>
            <a:off x="458173" y="5009148"/>
            <a:ext cx="3180247" cy="639989"/>
          </a:xfrm>
          <a:prstGeom prst="rect">
            <a:avLst/>
          </a:prstGeom>
          <a:solidFill>
            <a:srgbClr val="EDC30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89616" defTabSz="913794" fontAlgn="base">
              <a:spcBef>
                <a:spcPct val="0"/>
              </a:spcBef>
              <a:spcAft>
                <a:spcPct val="0"/>
              </a:spcAft>
              <a:defRPr/>
            </a:pPr>
            <a:r>
              <a:rPr lang="en-US" sz="2400" dirty="0">
                <a:solidFill>
                  <a:srgbClr val="282828"/>
                </a:solidFill>
                <a:latin typeface="Segoe UI Light" panose="020B0502040204020203" pitchFamily="34" charset="0"/>
                <a:cs typeface="Segoe UI Light" panose="020B0502040204020203" pitchFamily="34" charset="0"/>
              </a:rPr>
              <a:t>Visuals gallery</a:t>
            </a:r>
          </a:p>
        </p:txBody>
      </p:sp>
      <p:sp>
        <p:nvSpPr>
          <p:cNvPr id="12" name="Rectangle 11"/>
          <p:cNvSpPr/>
          <p:nvPr/>
        </p:nvSpPr>
        <p:spPr bwMode="auto">
          <a:xfrm>
            <a:off x="3772201" y="5009148"/>
            <a:ext cx="7866115" cy="639989"/>
          </a:xfrm>
          <a:prstGeom prst="rect">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91427" tIns="44802" rIns="89604" bIns="44802" numCol="1" spcCol="0" rtlCol="0" fromWordArt="0" anchor="ctr" anchorCtr="0" forceAA="0" compatLnSpc="1">
            <a:prstTxWarp prst="textNoShape">
              <a:avLst/>
            </a:prstTxWarp>
            <a:noAutofit/>
          </a:bodyPr>
          <a:lstStyle/>
          <a:p>
            <a:pPr marL="89616" defTabSz="914367">
              <a:defRPr/>
            </a:pPr>
            <a:r>
              <a:rPr lang="en-US" dirty="0">
                <a:solidFill>
                  <a:srgbClr val="282828"/>
                </a:solidFill>
                <a:latin typeface="Segoe UI" panose="020B0502040204020203" pitchFamily="34" charset="0"/>
                <a:cs typeface="Segoe UI" panose="020B0502040204020203" pitchFamily="34" charset="0"/>
                <a:hlinkClick r:id="rId3"/>
              </a:rPr>
              <a:t>http://visuals.powerbi.com</a:t>
            </a:r>
            <a:endParaRPr lang="en-US" dirty="0">
              <a:solidFill>
                <a:srgbClr val="282828"/>
              </a:solidFill>
              <a:latin typeface="Segoe UI" panose="020B0502040204020203" pitchFamily="34" charset="0"/>
              <a:cs typeface="Segoe UI" panose="020B0502040204020203" pitchFamily="34" charset="0"/>
            </a:endParaRPr>
          </a:p>
        </p:txBody>
      </p:sp>
      <p:sp>
        <p:nvSpPr>
          <p:cNvPr id="13" name="Rectangle 12"/>
          <p:cNvSpPr/>
          <p:nvPr/>
        </p:nvSpPr>
        <p:spPr bwMode="auto">
          <a:xfrm>
            <a:off x="458173" y="2115610"/>
            <a:ext cx="3180247" cy="639989"/>
          </a:xfrm>
          <a:prstGeom prst="rect">
            <a:avLst/>
          </a:prstGeom>
          <a:solidFill>
            <a:srgbClr val="EDC30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89616" defTabSz="913794" fontAlgn="base">
              <a:spcBef>
                <a:spcPct val="0"/>
              </a:spcBef>
              <a:spcAft>
                <a:spcPct val="0"/>
              </a:spcAft>
              <a:defRPr/>
            </a:pPr>
            <a:r>
              <a:rPr lang="en-US" sz="2400" dirty="0">
                <a:solidFill>
                  <a:srgbClr val="282828"/>
                </a:solidFill>
                <a:latin typeface="Segoe UI Light" panose="020B0502040204020203" pitchFamily="34" charset="0"/>
                <a:cs typeface="Segoe UI Light" panose="020B0502040204020203" pitchFamily="34" charset="0"/>
              </a:rPr>
              <a:t>Power BI </a:t>
            </a:r>
            <a:r>
              <a:rPr lang="zh-TW" altLang="en-US" sz="2400" dirty="0">
                <a:solidFill>
                  <a:srgbClr val="282828"/>
                </a:solidFill>
                <a:latin typeface="Segoe UI Light" panose="020B0502040204020203" pitchFamily="34" charset="0"/>
                <a:cs typeface="Segoe UI Light" panose="020B0502040204020203" pitchFamily="34" charset="0"/>
              </a:rPr>
              <a:t>開發中心</a:t>
            </a:r>
            <a:endParaRPr lang="en-US" sz="2400" dirty="0">
              <a:solidFill>
                <a:srgbClr val="282828"/>
              </a:solidFill>
              <a:latin typeface="Segoe UI Light" panose="020B0502040204020203" pitchFamily="34" charset="0"/>
              <a:cs typeface="Segoe UI Light" panose="020B0502040204020203" pitchFamily="34" charset="0"/>
            </a:endParaRPr>
          </a:p>
        </p:txBody>
      </p:sp>
      <p:sp>
        <p:nvSpPr>
          <p:cNvPr id="14" name="Rectangle 13"/>
          <p:cNvSpPr/>
          <p:nvPr/>
        </p:nvSpPr>
        <p:spPr bwMode="auto">
          <a:xfrm>
            <a:off x="3772201" y="2115610"/>
            <a:ext cx="7866115" cy="639989"/>
          </a:xfrm>
          <a:prstGeom prst="rect">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91427" tIns="44802" rIns="89604" bIns="44802" numCol="1" spcCol="0" rtlCol="0" fromWordArt="0" anchor="ctr" anchorCtr="0" forceAA="0" compatLnSpc="1">
            <a:prstTxWarp prst="textNoShape">
              <a:avLst/>
            </a:prstTxWarp>
            <a:noAutofit/>
          </a:bodyPr>
          <a:lstStyle/>
          <a:p>
            <a:pPr defTabSz="914367">
              <a:defRPr/>
            </a:pPr>
            <a:r>
              <a:rPr lang="en-US" dirty="0">
                <a:solidFill>
                  <a:srgbClr val="282828"/>
                </a:solidFill>
                <a:latin typeface="Segoe UI" panose="020B0502040204020203" pitchFamily="34" charset="0"/>
                <a:cs typeface="Segoe UI" panose="020B0502040204020203" pitchFamily="34" charset="0"/>
                <a:hlinkClick r:id="rId4"/>
              </a:rPr>
              <a:t> http://dev.powerbi.com</a:t>
            </a:r>
            <a:endParaRPr lang="en-US" dirty="0">
              <a:solidFill>
                <a:srgbClr val="282828"/>
              </a:solidFill>
              <a:latin typeface="Segoe UI" panose="020B0502040204020203" pitchFamily="34" charset="0"/>
              <a:cs typeface="Segoe UI" panose="020B0502040204020203" pitchFamily="34" charset="0"/>
            </a:endParaRPr>
          </a:p>
        </p:txBody>
      </p:sp>
      <p:sp>
        <p:nvSpPr>
          <p:cNvPr id="15" name="Rectangle 14"/>
          <p:cNvSpPr/>
          <p:nvPr/>
        </p:nvSpPr>
        <p:spPr bwMode="auto">
          <a:xfrm>
            <a:off x="458173" y="4285764"/>
            <a:ext cx="3180247" cy="639989"/>
          </a:xfrm>
          <a:prstGeom prst="rect">
            <a:avLst/>
          </a:prstGeom>
          <a:solidFill>
            <a:srgbClr val="EDC30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89616" defTabSz="913794" fontAlgn="base">
              <a:spcBef>
                <a:spcPct val="0"/>
              </a:spcBef>
              <a:spcAft>
                <a:spcPct val="0"/>
              </a:spcAft>
              <a:defRPr/>
            </a:pPr>
            <a:r>
              <a:rPr lang="en-US" sz="2400" dirty="0">
                <a:solidFill>
                  <a:srgbClr val="282828"/>
                </a:solidFill>
                <a:latin typeface="Segoe UI Light" panose="020B0502040204020203" pitchFamily="34" charset="0"/>
                <a:cs typeface="Segoe UI Light" panose="020B0502040204020203" pitchFamily="34" charset="0"/>
              </a:rPr>
              <a:t>Power BI Embedded Explorer</a:t>
            </a:r>
          </a:p>
        </p:txBody>
      </p:sp>
      <p:sp>
        <p:nvSpPr>
          <p:cNvPr id="16" name="Rectangle 15"/>
          <p:cNvSpPr/>
          <p:nvPr/>
        </p:nvSpPr>
        <p:spPr bwMode="auto">
          <a:xfrm>
            <a:off x="3772201" y="4285764"/>
            <a:ext cx="7866115" cy="639989"/>
          </a:xfrm>
          <a:prstGeom prst="rect">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91427" tIns="44802" rIns="89604" bIns="44802" numCol="1" spcCol="0" rtlCol="0" fromWordArt="0" anchor="ctr" anchorCtr="0" forceAA="0" compatLnSpc="1">
            <a:prstTxWarp prst="textNoShape">
              <a:avLst/>
            </a:prstTxWarp>
            <a:noAutofit/>
          </a:bodyPr>
          <a:lstStyle/>
          <a:p>
            <a:pPr marL="89616" defTabSz="914367">
              <a:defRPr/>
            </a:pPr>
            <a:r>
              <a:rPr lang="en-US" dirty="0">
                <a:solidFill>
                  <a:srgbClr val="282828"/>
                </a:solidFill>
                <a:latin typeface="Segoe UI" panose="020B0502040204020203" pitchFamily="34" charset="0"/>
                <a:cs typeface="Segoe UI" panose="020B0502040204020203" pitchFamily="34" charset="0"/>
                <a:hlinkClick r:id="rId5"/>
              </a:rPr>
              <a:t>https://github.com/Microsoft-DXTW/Power-BI-Embedded-Explorer</a:t>
            </a:r>
            <a:r>
              <a:rPr lang="en-US" dirty="0">
                <a:solidFill>
                  <a:srgbClr val="282828"/>
                </a:solidFill>
                <a:latin typeface="Segoe UI" panose="020B0502040204020203" pitchFamily="34" charset="0"/>
                <a:cs typeface="Segoe UI" panose="020B0502040204020203" pitchFamily="34" charset="0"/>
              </a:rPr>
              <a:t> </a:t>
            </a:r>
          </a:p>
        </p:txBody>
      </p:sp>
      <p:sp>
        <p:nvSpPr>
          <p:cNvPr id="17" name="Rectangle 16"/>
          <p:cNvSpPr/>
          <p:nvPr/>
        </p:nvSpPr>
        <p:spPr bwMode="auto">
          <a:xfrm>
            <a:off x="458173" y="5732532"/>
            <a:ext cx="3180247" cy="639989"/>
          </a:xfrm>
          <a:prstGeom prst="rect">
            <a:avLst/>
          </a:prstGeom>
          <a:solidFill>
            <a:srgbClr val="EDC30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89616" defTabSz="913794" fontAlgn="base">
              <a:spcBef>
                <a:spcPct val="0"/>
              </a:spcBef>
              <a:spcAft>
                <a:spcPct val="0"/>
              </a:spcAft>
              <a:defRPr/>
            </a:pPr>
            <a:r>
              <a:rPr lang="zh-TW" altLang="en-US" sz="2400" dirty="0">
                <a:solidFill>
                  <a:srgbClr val="282828"/>
                </a:solidFill>
                <a:latin typeface="Segoe UI Light" panose="020B0502040204020203" pitchFamily="34" charset="0"/>
                <a:cs typeface="Segoe UI Light" panose="020B0502040204020203" pitchFamily="34" charset="0"/>
              </a:rPr>
              <a:t>發問</a:t>
            </a:r>
            <a:endParaRPr lang="en-US" sz="2400" dirty="0">
              <a:solidFill>
                <a:srgbClr val="282828"/>
              </a:solidFill>
              <a:latin typeface="Segoe UI Light" panose="020B0502040204020203" pitchFamily="34" charset="0"/>
              <a:cs typeface="Segoe UI Light" panose="020B0502040204020203" pitchFamily="34" charset="0"/>
            </a:endParaRPr>
          </a:p>
        </p:txBody>
      </p:sp>
      <p:sp>
        <p:nvSpPr>
          <p:cNvPr id="18" name="Rectangle 17"/>
          <p:cNvSpPr/>
          <p:nvPr/>
        </p:nvSpPr>
        <p:spPr bwMode="auto">
          <a:xfrm>
            <a:off x="3772201" y="5732532"/>
            <a:ext cx="7866115" cy="639989"/>
          </a:xfrm>
          <a:prstGeom prst="rect">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91427" tIns="44802" rIns="89604" bIns="44802" numCol="1" spcCol="0" rtlCol="0" fromWordArt="0" anchor="ctr" anchorCtr="0" forceAA="0" compatLnSpc="1">
            <a:prstTxWarp prst="textNoShape">
              <a:avLst/>
            </a:prstTxWarp>
            <a:noAutofit/>
          </a:bodyPr>
          <a:lstStyle/>
          <a:p>
            <a:pPr marL="89616" defTabSz="914367">
              <a:defRPr/>
            </a:pPr>
            <a:r>
              <a:rPr lang="en-US" dirty="0">
                <a:solidFill>
                  <a:srgbClr val="282828"/>
                </a:solidFill>
                <a:latin typeface="Segoe UI" panose="020B0502040204020203" pitchFamily="34" charset="0"/>
                <a:cs typeface="Segoe UI" panose="020B0502040204020203" pitchFamily="34" charset="0"/>
                <a:hlinkClick r:id="rId6"/>
              </a:rPr>
              <a:t>http://stackoverflow.com/questions/tagged/powerbi</a:t>
            </a:r>
            <a:endParaRPr lang="en-US" dirty="0">
              <a:solidFill>
                <a:srgbClr val="282828"/>
              </a:solidFill>
              <a:latin typeface="Segoe UI" panose="020B0502040204020203" pitchFamily="34" charset="0"/>
              <a:cs typeface="Segoe UI" panose="020B0502040204020203" pitchFamily="34" charset="0"/>
            </a:endParaRPr>
          </a:p>
        </p:txBody>
      </p:sp>
      <p:sp>
        <p:nvSpPr>
          <p:cNvPr id="19" name="Rectangle 18"/>
          <p:cNvSpPr/>
          <p:nvPr/>
        </p:nvSpPr>
        <p:spPr bwMode="auto">
          <a:xfrm>
            <a:off x="458173" y="1392226"/>
            <a:ext cx="3180247" cy="639989"/>
          </a:xfrm>
          <a:prstGeom prst="rect">
            <a:avLst/>
          </a:prstGeom>
          <a:solidFill>
            <a:srgbClr val="EDC30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89616" defTabSz="913794" fontAlgn="base">
              <a:spcBef>
                <a:spcPct val="0"/>
              </a:spcBef>
              <a:spcAft>
                <a:spcPct val="0"/>
              </a:spcAft>
              <a:defRPr/>
            </a:pPr>
            <a:r>
              <a:rPr lang="en-US" sz="2400" dirty="0">
                <a:solidFill>
                  <a:srgbClr val="282828"/>
                </a:solidFill>
                <a:latin typeface="Segoe UI Light" panose="020B0502040204020203" pitchFamily="34" charset="0"/>
                <a:cs typeface="Segoe UI Light" panose="020B0502040204020203" pitchFamily="34" charset="0"/>
              </a:rPr>
              <a:t>Power BI Embedded</a:t>
            </a:r>
          </a:p>
        </p:txBody>
      </p:sp>
      <p:sp>
        <p:nvSpPr>
          <p:cNvPr id="20" name="Rectangle 19"/>
          <p:cNvSpPr/>
          <p:nvPr/>
        </p:nvSpPr>
        <p:spPr bwMode="auto">
          <a:xfrm>
            <a:off x="3772200" y="1392226"/>
            <a:ext cx="7866115" cy="639989"/>
          </a:xfrm>
          <a:prstGeom prst="rect">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91427" tIns="44802" rIns="89604" bIns="44802" numCol="1" spcCol="0" rtlCol="0" fromWordArt="0" anchor="ctr" anchorCtr="0" forceAA="0" compatLnSpc="1">
            <a:prstTxWarp prst="textNoShape">
              <a:avLst/>
            </a:prstTxWarp>
            <a:noAutofit/>
          </a:bodyPr>
          <a:lstStyle/>
          <a:p>
            <a:pPr defTabSz="914367">
              <a:defRPr/>
            </a:pPr>
            <a:r>
              <a:rPr lang="en-US" dirty="0">
                <a:solidFill>
                  <a:srgbClr val="282828"/>
                </a:solidFill>
                <a:latin typeface="Segoe UI" panose="020B0502040204020203" pitchFamily="34" charset="0"/>
                <a:cs typeface="Segoe UI" panose="020B0502040204020203" pitchFamily="34" charset="0"/>
                <a:hlinkClick r:id="rId7"/>
              </a:rPr>
              <a:t>https://azure.microsoft.com/services/power-bi-embedded</a:t>
            </a:r>
            <a:endParaRPr lang="en-US" dirty="0">
              <a:solidFill>
                <a:srgbClr val="282828"/>
              </a:solidFill>
              <a:latin typeface="Segoe UI" panose="020B0502040204020203" pitchFamily="34" charset="0"/>
              <a:cs typeface="Segoe UI" panose="020B0502040204020203" pitchFamily="34" charset="0"/>
            </a:endParaRPr>
          </a:p>
        </p:txBody>
      </p:sp>
      <p:sp>
        <p:nvSpPr>
          <p:cNvPr id="22" name="Rectangle 21"/>
          <p:cNvSpPr/>
          <p:nvPr/>
        </p:nvSpPr>
        <p:spPr bwMode="auto">
          <a:xfrm>
            <a:off x="3772201" y="2838995"/>
            <a:ext cx="7866115" cy="639989"/>
          </a:xfrm>
          <a:prstGeom prst="rect">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91427" tIns="44802" rIns="89604" bIns="44802" numCol="1" spcCol="0" rtlCol="0" fromWordArt="0" anchor="ctr" anchorCtr="0" forceAA="0" compatLnSpc="1">
            <a:prstTxWarp prst="textNoShape">
              <a:avLst/>
            </a:prstTxWarp>
            <a:noAutofit/>
          </a:bodyPr>
          <a:lstStyle/>
          <a:p>
            <a:pPr marL="89616" lvl="1" defTabSz="914367">
              <a:defRPr/>
            </a:pPr>
            <a:r>
              <a:rPr lang="en-US" dirty="0">
                <a:solidFill>
                  <a:srgbClr val="282828"/>
                </a:solidFill>
                <a:latin typeface="Segoe UI" panose="020B0502040204020203" pitchFamily="34" charset="0"/>
                <a:cs typeface="Segoe UI" panose="020B0502040204020203" pitchFamily="34" charset="0"/>
                <a:hlinkClick r:id="rId8"/>
              </a:rPr>
              <a:t>http://blogs.msdn.com/powerbidev</a:t>
            </a:r>
            <a:endParaRPr lang="en-US" dirty="0">
              <a:solidFill>
                <a:srgbClr val="282828"/>
              </a:solidFill>
              <a:latin typeface="Segoe UI" panose="020B0502040204020203" pitchFamily="34" charset="0"/>
              <a:cs typeface="Segoe UI" panose="020B0502040204020203" pitchFamily="34" charset="0"/>
            </a:endParaRPr>
          </a:p>
        </p:txBody>
      </p:sp>
      <p:sp>
        <p:nvSpPr>
          <p:cNvPr id="23" name="Rectangle 22"/>
          <p:cNvSpPr/>
          <p:nvPr/>
        </p:nvSpPr>
        <p:spPr>
          <a:xfrm>
            <a:off x="865" y="-13327"/>
            <a:ext cx="12190271" cy="15347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135" tIns="457135" rIns="457135" rtlCol="0" anchor="t"/>
          <a:lstStyle/>
          <a:p>
            <a:pPr defTabSz="914225">
              <a:defRPr/>
            </a:pPr>
            <a:r>
              <a:rPr lang="zh-TW" altLang="en-US" sz="4800" kern="0"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相關</a:t>
            </a:r>
            <a:r>
              <a:rPr lang="en-US" sz="4800" kern="0"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 Power BI </a:t>
            </a:r>
            <a:r>
              <a:rPr lang="zh-TW" altLang="en-US" sz="4800" kern="0"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開發參考資源</a:t>
            </a:r>
            <a:endParaRPr lang="en-US" sz="4800" kern="0" dirty="0">
              <a:solidFill>
                <a:srgbClr val="282828"/>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6187122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7945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B Product Families 2015">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alking Deck" id="{54E23AB9-3DBE-4A47-A984-5CA2F86BBB31}" vid="{BD38CEB1-68A3-47F2-A62B-A143A6AC584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39B7D4FC6671F4D91F7773764C6F554" ma:contentTypeVersion="5" ma:contentTypeDescription="Create a new document." ma:contentTypeScope="" ma:versionID="ce0c66c287e4d0eeefa45937bb67c7b9">
  <xsd:schema xmlns:xsd="http://www.w3.org/2001/XMLSchema" xmlns:xs="http://www.w3.org/2001/XMLSchema" xmlns:p="http://schemas.microsoft.com/office/2006/metadata/properties" xmlns:ns1="http://schemas.microsoft.com/sharepoint/v3" xmlns:ns2="63a6115b-20ca-44dd-8c64-5d31364cd456" targetNamespace="http://schemas.microsoft.com/office/2006/metadata/properties" ma:root="true" ma:fieldsID="90528d11efc8e16fe552eb9d0a028f17" ns1:_="" ns2:_="">
    <xsd:import namespace="http://schemas.microsoft.com/sharepoint/v3"/>
    <xsd:import namespace="63a6115b-20ca-44dd-8c64-5d31364cd456"/>
    <xsd:element name="properties">
      <xsd:complexType>
        <xsd:sequence>
          <xsd:element name="documentManagement">
            <xsd:complexType>
              <xsd:all>
                <xsd:element ref="ns2:SharedWithUsers" minOccurs="0"/>
                <xsd:element ref="ns2:SharingHintHash" minOccurs="0"/>
                <xsd:element ref="ns2:SharedWithDetail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1" nillable="true" ma:displayName="Unified Compliance Policy Properties" ma:hidden="true" ma:internalName="_ip_UnifiedCompliancePolicyProperties">
      <xsd:simpleType>
        <xsd:restriction base="dms:Note"/>
      </xsd:simpleType>
    </xsd:element>
    <xsd:element name="_ip_UnifiedCompliancePolicyUIAction" ma:index="1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3a6115b-20ca-44dd-8c64-5d31364cd456"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148A5D7-FD0D-4497-ADB2-773C6533B2F9}">
  <ds:schemaRefs>
    <ds:schemaRef ds:uri="http://purl.org/dc/dcmitype/"/>
    <ds:schemaRef ds:uri="http://schemas.microsoft.com/office/infopath/2007/PartnerControls"/>
    <ds:schemaRef ds:uri="http://schemas.microsoft.com/office/2006/documentManagement/types"/>
    <ds:schemaRef ds:uri="http://schemas.microsoft.com/office/2006/metadata/properties"/>
    <ds:schemaRef ds:uri="http://schemas.microsoft.com/sharepoint/v3"/>
    <ds:schemaRef ds:uri="http://purl.org/dc/terms/"/>
    <ds:schemaRef ds:uri="http://schemas.openxmlformats.org/package/2006/metadata/core-properties"/>
    <ds:schemaRef ds:uri="63a6115b-20ca-44dd-8c64-5d31364cd456"/>
    <ds:schemaRef ds:uri="http://www.w3.org/XML/1998/namespace"/>
    <ds:schemaRef ds:uri="http://purl.org/dc/elements/1.1/"/>
  </ds:schemaRefs>
</ds:datastoreItem>
</file>

<file path=customXml/itemProps2.xml><?xml version="1.0" encoding="utf-8"?>
<ds:datastoreItem xmlns:ds="http://schemas.openxmlformats.org/officeDocument/2006/customXml" ds:itemID="{DE526520-222D-4E7B-A419-9D8181B2C454}">
  <ds:schemaRefs>
    <ds:schemaRef ds:uri="http://schemas.microsoft.com/sharepoint/v3/contenttype/forms"/>
  </ds:schemaRefs>
</ds:datastoreItem>
</file>

<file path=customXml/itemProps3.xml><?xml version="1.0" encoding="utf-8"?>
<ds:datastoreItem xmlns:ds="http://schemas.openxmlformats.org/officeDocument/2006/customXml" ds:itemID="{5F301DBA-946C-40EB-A4DD-DC0025EAC58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3a6115b-20ca-44dd-8c64-5d31364cd45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6656</Words>
  <Application>Microsoft Office PowerPoint</Application>
  <PresentationFormat>寬螢幕</PresentationFormat>
  <Paragraphs>1024</Paragraphs>
  <Slides>91</Slides>
  <Notes>47</Notes>
  <HiddenSlides>0</HiddenSlides>
  <MMClips>0</MMClips>
  <ScaleCrop>false</ScaleCrop>
  <HeadingPairs>
    <vt:vector size="8" baseType="variant">
      <vt:variant>
        <vt:lpstr>使用字型</vt:lpstr>
      </vt:variant>
      <vt:variant>
        <vt:i4>12</vt:i4>
      </vt:variant>
      <vt:variant>
        <vt:lpstr>佈景主題</vt:lpstr>
      </vt:variant>
      <vt:variant>
        <vt:i4>1</vt:i4>
      </vt:variant>
      <vt:variant>
        <vt:lpstr>內嵌 OLE 伺服程式</vt:lpstr>
      </vt:variant>
      <vt:variant>
        <vt:i4>1</vt:i4>
      </vt:variant>
      <vt:variant>
        <vt:lpstr>投影片標題</vt:lpstr>
      </vt:variant>
      <vt:variant>
        <vt:i4>91</vt:i4>
      </vt:variant>
    </vt:vector>
  </HeadingPairs>
  <TitlesOfParts>
    <vt:vector size="105" baseType="lpstr">
      <vt:lpstr>MS PGothic</vt:lpstr>
      <vt:lpstr>Arial</vt:lpstr>
      <vt:lpstr>Calibri</vt:lpstr>
      <vt:lpstr>Calibri Light</vt:lpstr>
      <vt:lpstr>Consolas</vt:lpstr>
      <vt:lpstr>Courier New</vt:lpstr>
      <vt:lpstr>Segoe UI</vt:lpstr>
      <vt:lpstr>Segoe UI Black</vt:lpstr>
      <vt:lpstr>Segoe UI Historic</vt:lpstr>
      <vt:lpstr>Segoe UI Light</vt:lpstr>
      <vt:lpstr>Segoe UI Semibold</vt:lpstr>
      <vt:lpstr>Wingdings</vt:lpstr>
      <vt:lpstr>STB Product Families 2015</vt:lpstr>
      <vt:lpstr>think-cell Slide</vt:lpstr>
      <vt:lpstr>透過 Microsoft Power BI 將資料融入 生活 </vt:lpstr>
      <vt:lpstr>01 Power BI 簡介以及 Power BI 家族</vt:lpstr>
      <vt:lpstr>新一代的商業智慧 (BI) 工具</vt:lpstr>
      <vt:lpstr>新一化的商業智慧 (BI) 工具</vt:lpstr>
      <vt:lpstr>認識 Microsoft Power BI</vt:lpstr>
      <vt:lpstr>認識 Microsoft Power BI</vt:lpstr>
      <vt:lpstr>Power BI 概觀</vt:lpstr>
      <vt:lpstr>Power BI 概觀</vt:lpstr>
      <vt:lpstr>Power BI 概觀</vt:lpstr>
      <vt:lpstr>開始使用 Power BI</vt:lpstr>
      <vt:lpstr>行動裝置應用程式</vt:lpstr>
      <vt:lpstr>02 認識並建立資料集</vt:lpstr>
      <vt:lpstr>從 Power BI 連接資料來源</vt:lpstr>
      <vt:lpstr>從 Power BI 連接資料來源</vt:lpstr>
      <vt:lpstr>從 Power BI 連接資料來源</vt:lpstr>
      <vt:lpstr>從 Power BI 連接資料來源</vt:lpstr>
      <vt:lpstr>從 Power BI 連接資料來源</vt:lpstr>
      <vt:lpstr>從 Power BI 連接資料來源</vt:lpstr>
      <vt:lpstr>從 Power BI 連接資料來源</vt:lpstr>
      <vt:lpstr>與 Azure 服務整合</vt:lpstr>
      <vt:lpstr>與 Azure 服務整合</vt:lpstr>
      <vt:lpstr>與 Azure 服務整合</vt:lpstr>
      <vt:lpstr>與 Azure 服務整合</vt:lpstr>
      <vt:lpstr>03 從資料集拉出報表</vt:lpstr>
      <vt:lpstr>從 Power BI Desktop 開始</vt:lpstr>
      <vt:lpstr>從 Power BI Desktop 開始</vt:lpstr>
      <vt:lpstr>從 Power BI Desktop 開始</vt:lpstr>
      <vt:lpstr>Introducing Power BI Desktop</vt:lpstr>
      <vt:lpstr>Introducing Power BI Desktop</vt:lpstr>
      <vt:lpstr>Introducing Power BI Desktop</vt:lpstr>
      <vt:lpstr>Introducing Power BI Desktop</vt:lpstr>
      <vt:lpstr>建立查詢</vt:lpstr>
      <vt:lpstr>建立查詢</vt:lpstr>
      <vt:lpstr>建立查詢</vt:lpstr>
      <vt:lpstr>建立查詢</vt:lpstr>
      <vt:lpstr>建立查詢</vt:lpstr>
      <vt:lpstr>Creating queries</vt:lpstr>
      <vt:lpstr>Creating queries</vt:lpstr>
      <vt:lpstr>Creating queries</vt:lpstr>
      <vt:lpstr>Configuring relationships</vt:lpstr>
      <vt:lpstr>Configuring relationships</vt:lpstr>
      <vt:lpstr>Configuring relationships</vt:lpstr>
      <vt:lpstr>Enhancing the model</vt:lpstr>
      <vt:lpstr>Enhancing the model</vt:lpstr>
      <vt:lpstr>Enhancing the model</vt:lpstr>
      <vt:lpstr>Enhancing the model</vt:lpstr>
      <vt:lpstr>Enhancing the model</vt:lpstr>
      <vt:lpstr>Enhancing the model</vt:lpstr>
      <vt:lpstr>Enhancing the model</vt:lpstr>
      <vt:lpstr>Designing reports</vt:lpstr>
      <vt:lpstr>Designing reports</vt:lpstr>
      <vt:lpstr>Designing reports</vt:lpstr>
      <vt:lpstr>發佈至 Power BI</vt:lpstr>
      <vt:lpstr>Describing additional capabilities</vt:lpstr>
      <vt:lpstr>Describing additional capabilities</vt:lpstr>
      <vt:lpstr>Describing additional capabilities</vt:lpstr>
      <vt:lpstr>Creating and exploring reports</vt:lpstr>
      <vt:lpstr>Creating and exploring reports</vt:lpstr>
      <vt:lpstr>Creating and exploring reports</vt:lpstr>
      <vt:lpstr>Creating and exploring reports</vt:lpstr>
      <vt:lpstr>Assembling dashboards</vt:lpstr>
      <vt:lpstr>Assembling dashboards</vt:lpstr>
      <vt:lpstr>Assembling dashboards</vt:lpstr>
      <vt:lpstr>Assembling dashboards</vt:lpstr>
      <vt:lpstr>04 開發及擴充 Power BI</vt:lpstr>
      <vt:lpstr>擴充 Power BI</vt:lpstr>
      <vt:lpstr>Power BI REST API</vt:lpstr>
      <vt:lpstr>Power BI REST API</vt:lpstr>
      <vt:lpstr>Power BI REST API</vt:lpstr>
      <vt:lpstr>Power BI REST API</vt:lpstr>
      <vt:lpstr>Power BI REST API</vt:lpstr>
      <vt:lpstr>Power BI REST API</vt:lpstr>
      <vt:lpstr>Power BI REST API</vt:lpstr>
      <vt:lpstr>Power BI REST API</vt:lpstr>
      <vt:lpstr>Power BI REST API</vt:lpstr>
      <vt:lpstr>Power BI REST API</vt:lpstr>
      <vt:lpstr>Integrate Power BI</vt:lpstr>
      <vt:lpstr>Custom visuals</vt:lpstr>
      <vt:lpstr>05 Power BI Embedded</vt:lpstr>
      <vt:lpstr>輕鬆嵌入視覺化圖表</vt:lpstr>
      <vt:lpstr>Power BI Embedded 定位</vt:lpstr>
      <vt:lpstr>Power BI Embedded API 架構</vt:lpstr>
      <vt:lpstr>確保跨裝置體驗一致性</vt:lpstr>
      <vt:lpstr>PowerPoint 簡報</vt:lpstr>
      <vt:lpstr>PowerPoint 簡報</vt:lpstr>
      <vt:lpstr>PowerPoint 簡報</vt:lpstr>
      <vt:lpstr>Manage in a familiar environment—Azure </vt:lpstr>
      <vt:lpstr>隨用即付, 依照 session 數計價</vt:lpstr>
      <vt:lpstr>今天就開始使用 PowerBI.com</vt:lpstr>
      <vt:lpstr>PowerPoint 簡報</vt:lpstr>
      <vt:lpstr>PowerPoint 簡報</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BI PPE Presentation</dc:title>
  <dc:creator/>
  <cp:lastModifiedBy/>
  <cp:revision>1</cp:revision>
  <dcterms:created xsi:type="dcterms:W3CDTF">2015-07-15T22:35:55Z</dcterms:created>
  <dcterms:modified xsi:type="dcterms:W3CDTF">2016-09-04T14:34: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9B7D4FC6671F4D91F7773764C6F554</vt:lpwstr>
  </property>
</Properties>
</file>